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notesSlides/notesSlide1.xml" ContentType="application/vnd.openxmlformats-officedocument.presentationml.notesSlide+xml"/>
  <Override PartName="/ppt/tags/tag82.xml" ContentType="application/vnd.openxmlformats-officedocument.presentationml.tags+xml"/>
  <Override PartName="/ppt/notesSlides/notesSlide2.xml" ContentType="application/vnd.openxmlformats-officedocument.presentationml.notesSlide+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notesSlides/notesSlide4.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5.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715" r:id="rId5"/>
  </p:sldMasterIdLst>
  <p:notesMasterIdLst>
    <p:notesMasterId r:id="rId32"/>
  </p:notesMasterIdLst>
  <p:handoutMasterIdLst>
    <p:handoutMasterId r:id="rId33"/>
  </p:handoutMasterIdLst>
  <p:sldIdLst>
    <p:sldId id="2145706326" r:id="rId6"/>
    <p:sldId id="2145706255" r:id="rId7"/>
    <p:sldId id="269" r:id="rId8"/>
    <p:sldId id="316" r:id="rId9"/>
    <p:sldId id="284" r:id="rId10"/>
    <p:sldId id="2145706256" r:id="rId11"/>
    <p:sldId id="2147377281" r:id="rId12"/>
    <p:sldId id="2147377312" r:id="rId13"/>
    <p:sldId id="2147475317" r:id="rId14"/>
    <p:sldId id="2147377295" r:id="rId15"/>
    <p:sldId id="2147377297" r:id="rId16"/>
    <p:sldId id="2147377292" r:id="rId17"/>
    <p:sldId id="2147475326" r:id="rId18"/>
    <p:sldId id="2147475319" r:id="rId19"/>
    <p:sldId id="2147475325" r:id="rId20"/>
    <p:sldId id="2147475329" r:id="rId21"/>
    <p:sldId id="2147475328" r:id="rId22"/>
    <p:sldId id="2147475327" r:id="rId23"/>
    <p:sldId id="2147377273" r:id="rId24"/>
    <p:sldId id="2147377269" r:id="rId25"/>
    <p:sldId id="2147475321" r:id="rId26"/>
    <p:sldId id="2147475322" r:id="rId27"/>
    <p:sldId id="2147377266" r:id="rId28"/>
    <p:sldId id="2147377272" r:id="rId29"/>
    <p:sldId id="2147377318" r:id="rId30"/>
    <p:sldId id="2147475330" r:id="rId31"/>
  </p:sldIdLst>
  <p:sldSz cx="12192000" cy="6858000"/>
  <p:notesSz cx="6797675" cy="9926638"/>
  <p:custDataLst>
    <p:tags r:id="rId34"/>
  </p:custDataLst>
  <p:defaultTextStyle>
    <a:defPPr>
      <a:defRPr lang="en-US"/>
    </a:defPPr>
    <a:lvl1pPr marL="0" algn="l" defTabSz="548621" rtl="0" eaLnBrk="1" latinLnBrk="0" hangingPunct="1">
      <a:defRPr sz="2160" kern="1200">
        <a:solidFill>
          <a:schemeClr val="tx1"/>
        </a:solidFill>
        <a:latin typeface="+mn-lt"/>
        <a:ea typeface="+mn-ea"/>
        <a:cs typeface="+mn-cs"/>
      </a:defRPr>
    </a:lvl1pPr>
    <a:lvl2pPr marL="548621" algn="l" defTabSz="548621" rtl="0" eaLnBrk="1" latinLnBrk="0" hangingPunct="1">
      <a:defRPr sz="2160" kern="1200">
        <a:solidFill>
          <a:schemeClr val="tx1"/>
        </a:solidFill>
        <a:latin typeface="+mn-lt"/>
        <a:ea typeface="+mn-ea"/>
        <a:cs typeface="+mn-cs"/>
      </a:defRPr>
    </a:lvl2pPr>
    <a:lvl3pPr marL="1097242" algn="l" defTabSz="548621" rtl="0" eaLnBrk="1" latinLnBrk="0" hangingPunct="1">
      <a:defRPr sz="2160" kern="1200">
        <a:solidFill>
          <a:schemeClr val="tx1"/>
        </a:solidFill>
        <a:latin typeface="+mn-lt"/>
        <a:ea typeface="+mn-ea"/>
        <a:cs typeface="+mn-cs"/>
      </a:defRPr>
    </a:lvl3pPr>
    <a:lvl4pPr marL="1645862" algn="l" defTabSz="548621" rtl="0" eaLnBrk="1" latinLnBrk="0" hangingPunct="1">
      <a:defRPr sz="2160" kern="1200">
        <a:solidFill>
          <a:schemeClr val="tx1"/>
        </a:solidFill>
        <a:latin typeface="+mn-lt"/>
        <a:ea typeface="+mn-ea"/>
        <a:cs typeface="+mn-cs"/>
      </a:defRPr>
    </a:lvl4pPr>
    <a:lvl5pPr marL="2194484" algn="l" defTabSz="548621" rtl="0" eaLnBrk="1" latinLnBrk="0" hangingPunct="1">
      <a:defRPr sz="2160" kern="1200">
        <a:solidFill>
          <a:schemeClr val="tx1"/>
        </a:solidFill>
        <a:latin typeface="+mn-lt"/>
        <a:ea typeface="+mn-ea"/>
        <a:cs typeface="+mn-cs"/>
      </a:defRPr>
    </a:lvl5pPr>
    <a:lvl6pPr marL="2743103" algn="l" defTabSz="548621" rtl="0" eaLnBrk="1" latinLnBrk="0" hangingPunct="1">
      <a:defRPr sz="2160" kern="1200">
        <a:solidFill>
          <a:schemeClr val="tx1"/>
        </a:solidFill>
        <a:latin typeface="+mn-lt"/>
        <a:ea typeface="+mn-ea"/>
        <a:cs typeface="+mn-cs"/>
      </a:defRPr>
    </a:lvl6pPr>
    <a:lvl7pPr marL="3291726" algn="l" defTabSz="548621" rtl="0" eaLnBrk="1" latinLnBrk="0" hangingPunct="1">
      <a:defRPr sz="2160" kern="1200">
        <a:solidFill>
          <a:schemeClr val="tx1"/>
        </a:solidFill>
        <a:latin typeface="+mn-lt"/>
        <a:ea typeface="+mn-ea"/>
        <a:cs typeface="+mn-cs"/>
      </a:defRPr>
    </a:lvl7pPr>
    <a:lvl8pPr marL="3840347" algn="l" defTabSz="548621" rtl="0" eaLnBrk="1" latinLnBrk="0" hangingPunct="1">
      <a:defRPr sz="2160" kern="1200">
        <a:solidFill>
          <a:schemeClr val="tx1"/>
        </a:solidFill>
        <a:latin typeface="+mn-lt"/>
        <a:ea typeface="+mn-ea"/>
        <a:cs typeface="+mn-cs"/>
      </a:defRPr>
    </a:lvl8pPr>
    <a:lvl9pPr marL="4388966" algn="l" defTabSz="548621" rtl="0" eaLnBrk="1" latinLnBrk="0" hangingPunct="1">
      <a:defRPr sz="216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8A7B2"/>
    <a:srgbClr val="000000"/>
    <a:srgbClr val="595959"/>
    <a:srgbClr val="6E6E6E"/>
    <a:srgbClr val="0095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82A779-3ACD-5AB8-3570-B0A24AB7D211}" v="3" dt="2023-04-28T07:37:12.362"/>
    <p1510:client id="{7B32E424-DA43-11AB-DBF2-153493025F96}" v="48" dt="2023-04-28T06:48:37.286"/>
    <p1510:client id="{BBB299E0-0C58-420E-9534-9008543A098A}" v="3702" dt="2023-02-21T11:34:00.664"/>
    <p1510:client id="{E73DFAB1-2E65-A627-AB37-E680818EE640}" v="2" dt="2023-04-28T07:36:10.290"/>
  </p1510:revLst>
</p1510:revInfo>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66" autoAdjust="0"/>
    <p:restoredTop sz="94234" autoAdjust="0"/>
  </p:normalViewPr>
  <p:slideViewPr>
    <p:cSldViewPr snapToGrid="0" snapToObjects="1" showGuides="1">
      <p:cViewPr varScale="1">
        <p:scale>
          <a:sx n="81" d="100"/>
          <a:sy n="81" d="100"/>
        </p:scale>
        <p:origin x="797" y="53"/>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964"/>
    </p:cViewPr>
  </p:sorterViewPr>
  <p:notesViewPr>
    <p:cSldViewPr snapToGrid="0" snapToObjects="1" showGuides="1">
      <p:cViewPr varScale="1">
        <p:scale>
          <a:sx n="79" d="100"/>
          <a:sy n="79" d="100"/>
        </p:scale>
        <p:origin x="4572" y="12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6661" tIns="48331" rIns="96661" bIns="48331" rtlCol="0"/>
          <a:lstStyle>
            <a:lvl1pPr algn="l">
              <a:defRPr sz="1300"/>
            </a:lvl1pPr>
          </a:lstStyle>
          <a:p>
            <a:endParaRPr lang="en-US" sz="1100"/>
          </a:p>
        </p:txBody>
      </p:sp>
      <p:sp>
        <p:nvSpPr>
          <p:cNvPr id="3" name="Date Placeholder 2"/>
          <p:cNvSpPr>
            <a:spLocks noGrp="1"/>
          </p:cNvSpPr>
          <p:nvPr>
            <p:ph type="dt" sz="quarter" idx="1"/>
          </p:nvPr>
        </p:nvSpPr>
        <p:spPr>
          <a:xfrm>
            <a:off x="3850443" y="1"/>
            <a:ext cx="2945659" cy="496332"/>
          </a:xfrm>
          <a:prstGeom prst="rect">
            <a:avLst/>
          </a:prstGeom>
        </p:spPr>
        <p:txBody>
          <a:bodyPr vert="horz" lIns="96661" tIns="48331" rIns="96661" bIns="48331" rtlCol="0"/>
          <a:lstStyle>
            <a:lvl1pPr algn="r">
              <a:defRPr sz="1300"/>
            </a:lvl1pPr>
          </a:lstStyle>
          <a:p>
            <a:fld id="{F7239EF8-DB3E-49CC-93ED-040A7E57E32C}" type="datetime1">
              <a:rPr lang="en-GB" sz="1100"/>
              <a:t>02/05/2023</a:t>
            </a:fld>
            <a:endParaRPr lang="en-US" sz="1100"/>
          </a:p>
        </p:txBody>
      </p:sp>
      <p:sp>
        <p:nvSpPr>
          <p:cNvPr id="4" name="Footer Placeholder 3"/>
          <p:cNvSpPr>
            <a:spLocks noGrp="1"/>
          </p:cNvSpPr>
          <p:nvPr>
            <p:ph type="ftr" sz="quarter" idx="2"/>
          </p:nvPr>
        </p:nvSpPr>
        <p:spPr>
          <a:xfrm>
            <a:off x="0" y="9428584"/>
            <a:ext cx="2945659" cy="496332"/>
          </a:xfrm>
          <a:prstGeom prst="rect">
            <a:avLst/>
          </a:prstGeom>
        </p:spPr>
        <p:txBody>
          <a:bodyPr vert="horz" lIns="96661" tIns="48331" rIns="96661" bIns="48331" rtlCol="0" anchor="b"/>
          <a:lstStyle>
            <a:lvl1pPr algn="l">
              <a:defRPr sz="1300"/>
            </a:lvl1pPr>
          </a:lstStyle>
          <a:p>
            <a:endParaRPr lang="en-US" sz="1100"/>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6661" tIns="48331" rIns="96661" bIns="48331" rtlCol="0" anchor="b"/>
          <a:lstStyle>
            <a:lvl1pPr algn="r">
              <a:defRPr sz="1300"/>
            </a:lvl1pPr>
          </a:lstStyle>
          <a:p>
            <a:fld id="{202A19A6-3B51-4749-8262-104C6DE8CA64}" type="slidenum">
              <a:rPr lang="en-US" sz="1100"/>
              <a:pPr/>
              <a:t>‹#›</a:t>
            </a:fld>
            <a:endParaRPr lang="en-US" sz="1100"/>
          </a:p>
        </p:txBody>
      </p:sp>
    </p:spTree>
    <p:extLst>
      <p:ext uri="{BB962C8B-B14F-4D97-AF65-F5344CB8AC3E}">
        <p14:creationId xmlns:p14="http://schemas.microsoft.com/office/powerpoint/2010/main" val="135039835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6661" tIns="48331" rIns="96661" bIns="48331" rtlCol="0"/>
          <a:lstStyle>
            <a:lvl1pPr algn="l" eaLnBrk="1">
              <a:defRPr sz="1100"/>
            </a:lvl1pPr>
          </a:lstStyle>
          <a:p>
            <a:endParaRPr lang="en-GB" dirty="0"/>
          </a:p>
        </p:txBody>
      </p:sp>
      <p:sp>
        <p:nvSpPr>
          <p:cNvPr id="3" name="Date Placeholder 2"/>
          <p:cNvSpPr>
            <a:spLocks noGrp="1"/>
          </p:cNvSpPr>
          <p:nvPr>
            <p:ph type="dt" idx="1"/>
          </p:nvPr>
        </p:nvSpPr>
        <p:spPr>
          <a:xfrm>
            <a:off x="3850443" y="1"/>
            <a:ext cx="2945659" cy="496332"/>
          </a:xfrm>
          <a:prstGeom prst="rect">
            <a:avLst/>
          </a:prstGeom>
        </p:spPr>
        <p:txBody>
          <a:bodyPr vert="horz" lIns="96661" tIns="48331" rIns="96661" bIns="48331" rtlCol="0"/>
          <a:lstStyle>
            <a:lvl1pPr algn="r">
              <a:defRPr sz="1100"/>
            </a:lvl1pPr>
          </a:lstStyle>
          <a:p>
            <a:fld id="{894590AB-3AB4-4D9F-ABFC-AC859BEDD057}" type="datetime1">
              <a:rPr lang="en-GB" smtClean="0"/>
              <a:t>02/05/2023</a:t>
            </a:fld>
            <a:endParaRPr lang="en-GB" dirty="0"/>
          </a:p>
        </p:txBody>
      </p:sp>
      <p:sp>
        <p:nvSpPr>
          <p:cNvPr id="4" name="Slide Image Placeholder 3"/>
          <p:cNvSpPr>
            <a:spLocks noGrp="1" noRot="1" noChangeAspect="1"/>
          </p:cNvSpPr>
          <p:nvPr>
            <p:ph type="sldImg" idx="2"/>
          </p:nvPr>
        </p:nvSpPr>
        <p:spPr>
          <a:xfrm>
            <a:off x="90488" y="746125"/>
            <a:ext cx="6616700" cy="372110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6661" tIns="48331" rIns="96661" bIns="48331"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6661" tIns="48331" rIns="96661" bIns="48331" rtlCol="0" anchor="b"/>
          <a:lstStyle>
            <a:lvl1pPr algn="l" eaLnBrk="1">
              <a:defRPr sz="1100"/>
            </a:lvl1pPr>
          </a:lstStyle>
          <a:p>
            <a:endParaRPr lang="en-GB"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6661" tIns="48331" rIns="96661" bIns="48331" rtlCol="0" anchor="b"/>
          <a:lstStyle>
            <a:lvl1pPr algn="r">
              <a:defRPr sz="1100"/>
            </a:lvl1pPr>
          </a:lstStyle>
          <a:p>
            <a:fld id="{1BE41BEC-07AB-7146-9F1F-70C99F495112}" type="slidenum">
              <a:rPr lang="en-GB" smtClean="0"/>
              <a:pPr/>
              <a:t>‹#›</a:t>
            </a:fld>
            <a:endParaRPr lang="en-GB" dirty="0"/>
          </a:p>
        </p:txBody>
      </p:sp>
    </p:spTree>
    <p:extLst>
      <p:ext uri="{BB962C8B-B14F-4D97-AF65-F5344CB8AC3E}">
        <p14:creationId xmlns:p14="http://schemas.microsoft.com/office/powerpoint/2010/main" val="2861571590"/>
      </p:ext>
    </p:extLst>
  </p:cSld>
  <p:clrMap bg1="lt1" tx1="dk1" bg2="lt2" tx2="dk2" accent1="accent1" accent2="accent2" accent3="accent3" accent4="accent4" accent5="accent5" accent6="accent6" hlink="hlink" folHlink="folHlink"/>
  <p:hf hdr="0" ftr="0" dt="0"/>
  <p:notesStyle>
    <a:lvl1pPr marL="0" algn="l" defTabSz="548621" rtl="0" eaLnBrk="1" latinLnBrk="0" hangingPunct="1">
      <a:defRPr sz="1440" kern="1200">
        <a:solidFill>
          <a:schemeClr val="tx1"/>
        </a:solidFill>
        <a:latin typeface="+mn-lt"/>
        <a:ea typeface="+mn-ea"/>
        <a:cs typeface="+mn-cs"/>
      </a:defRPr>
    </a:lvl1pPr>
    <a:lvl2pPr marL="548621" indent="0" algn="l" defTabSz="548621" rtl="0" eaLnBrk="1" latinLnBrk="0" hangingPunct="1">
      <a:buFont typeface="Arial" pitchFamily="34" charset="0"/>
      <a:buNone/>
      <a:defRPr sz="1440" kern="1200">
        <a:solidFill>
          <a:schemeClr val="tx1"/>
        </a:solidFill>
        <a:latin typeface="+mn-lt"/>
        <a:ea typeface="+mn-ea"/>
        <a:cs typeface="+mn-cs"/>
      </a:defRPr>
    </a:lvl2pPr>
    <a:lvl3pPr marL="1097242" indent="0" algn="l" defTabSz="548621" rtl="0" eaLnBrk="1" latinLnBrk="0" hangingPunct="1">
      <a:buFont typeface="Arial" pitchFamily="34" charset="0"/>
      <a:buNone/>
      <a:defRPr sz="1200" kern="1200">
        <a:solidFill>
          <a:schemeClr val="tx1"/>
        </a:solidFill>
        <a:latin typeface="+mn-lt"/>
        <a:ea typeface="+mn-ea"/>
        <a:cs typeface="+mn-cs"/>
      </a:defRPr>
    </a:lvl3pPr>
    <a:lvl4pPr marL="1645862" indent="0" algn="l" defTabSz="548621" rtl="0" eaLnBrk="1" latinLnBrk="0" hangingPunct="1">
      <a:buFont typeface="Arial" pitchFamily="34" charset="0"/>
      <a:buNone/>
      <a:defRPr sz="1200" kern="1200">
        <a:solidFill>
          <a:schemeClr val="tx1"/>
        </a:solidFill>
        <a:latin typeface="+mn-lt"/>
        <a:ea typeface="+mn-ea"/>
        <a:cs typeface="+mn-cs"/>
      </a:defRPr>
    </a:lvl4pPr>
    <a:lvl5pPr marL="2194484" indent="0" algn="l" defTabSz="548621" rtl="0" eaLnBrk="1" latinLnBrk="0" hangingPunct="1">
      <a:buFont typeface="Arial" pitchFamily="34" charset="0"/>
      <a:buNone/>
      <a:defRPr sz="1200" kern="1200">
        <a:solidFill>
          <a:schemeClr val="tx1"/>
        </a:solidFill>
        <a:latin typeface="+mn-lt"/>
        <a:ea typeface="+mn-ea"/>
        <a:cs typeface="+mn-cs"/>
      </a:defRPr>
    </a:lvl5pPr>
    <a:lvl6pPr marL="2743103" algn="l" defTabSz="548621" rtl="0" eaLnBrk="1" latinLnBrk="0" hangingPunct="1">
      <a:defRPr sz="1440" kern="1200">
        <a:solidFill>
          <a:schemeClr val="tx1"/>
        </a:solidFill>
        <a:latin typeface="+mn-lt"/>
        <a:ea typeface="+mn-ea"/>
        <a:cs typeface="+mn-cs"/>
      </a:defRPr>
    </a:lvl6pPr>
    <a:lvl7pPr marL="3291726" algn="l" defTabSz="548621" rtl="0" eaLnBrk="1" latinLnBrk="0" hangingPunct="1">
      <a:defRPr sz="1440" kern="1200">
        <a:solidFill>
          <a:schemeClr val="tx1"/>
        </a:solidFill>
        <a:latin typeface="+mn-lt"/>
        <a:ea typeface="+mn-ea"/>
        <a:cs typeface="+mn-cs"/>
      </a:defRPr>
    </a:lvl7pPr>
    <a:lvl8pPr marL="3840347" algn="l" defTabSz="548621" rtl="0" eaLnBrk="1" latinLnBrk="0" hangingPunct="1">
      <a:defRPr sz="1440" kern="1200">
        <a:solidFill>
          <a:schemeClr val="tx1"/>
        </a:solidFill>
        <a:latin typeface="+mn-lt"/>
        <a:ea typeface="+mn-ea"/>
        <a:cs typeface="+mn-cs"/>
      </a:defRPr>
    </a:lvl8pPr>
    <a:lvl9pPr marL="4388966" algn="l" defTabSz="548621"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1BE41BEC-07AB-7146-9F1F-70C99F495112}" type="slidenum">
              <a:rPr lang="en-GB" smtClean="0"/>
              <a:pPr/>
              <a:t>1</a:t>
            </a:fld>
            <a:endParaRPr lang="en-GB"/>
          </a:p>
        </p:txBody>
      </p:sp>
      <p:sp>
        <p:nvSpPr>
          <p:cNvPr id="6" name="Slide Image Placeholder 5">
            <a:extLst>
              <a:ext uri="{FF2B5EF4-FFF2-40B4-BE49-F238E27FC236}">
                <a16:creationId xmlns:a16="http://schemas.microsoft.com/office/drawing/2014/main" id="{73BE9B25-2CB7-43B6-8A33-83F0EC7BB6AA}"/>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7244B7E0-2411-4CD0-A69F-987CFE0E856B}"/>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25321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12</a:t>
            </a:fld>
            <a:endParaRPr lang="en-GB"/>
          </a:p>
        </p:txBody>
      </p:sp>
    </p:spTree>
    <p:extLst>
      <p:ext uri="{BB962C8B-B14F-4D97-AF65-F5344CB8AC3E}">
        <p14:creationId xmlns:p14="http://schemas.microsoft.com/office/powerpoint/2010/main" val="3528622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a uns nicht alle genauen Angaben für das von Ihnen beabsichtige Poolgebiet vorliegen bzgl. der beplanten Flächen der Gemarkungen 12, haben wir das Gebiet des Flächenpools Eilte-Ahlden auf Basis unserer bisherigen Planung und unter Einbezug weniger weiterer Flächen der Gemarkung 12 definiert (siehe Abbildung 5). </a:t>
            </a:r>
          </a:p>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ies bedeutet aus raumplanerischen Gesichtspunkten, dass die Flächen bzgl. anderweitiger Nutzungen, im Gegensatz zu Vorranggebieten, der endgültigen Abwägung voll zugänglich sind und damit auch für die Windenergie in Plan- und Prüfverfahren berücksichtigt werden können. Diese Aspekte geben in Verbindung mit den aktuellen Rahmenbedingungen des LROP-Entwurfes gute Vorrausetzungen für eine perspektivische Schaffung des Planungsrechtes für die Windenergie an diesem Standort. </a:t>
            </a:r>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13</a:t>
            </a:fld>
            <a:endParaRPr lang="en-GB"/>
          </a:p>
        </p:txBody>
      </p:sp>
    </p:spTree>
    <p:extLst>
      <p:ext uri="{BB962C8B-B14F-4D97-AF65-F5344CB8AC3E}">
        <p14:creationId xmlns:p14="http://schemas.microsoft.com/office/powerpoint/2010/main" val="3812263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a uns nicht alle genauen Angaben für das von Ihnen beabsichtige Poolgebiet vorliegen bzgl. der beplanten Flächen der Gemarkungen 12, haben wir das Gebiet des Flächenpools Eilte-Ahlden auf Basis unserer bisherigen Planung und unter Einbezug weniger weiterer Flächen der Gemarkung 12 definiert (siehe Abbildung 5). </a:t>
            </a:r>
          </a:p>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ies bedeutet aus raumplanerischen Gesichtspunkten, dass die Flächen bzgl. anderweitiger Nutzungen, im Gegensatz zu Vorranggebieten, der endgültigen Abwägung voll zugänglich sind und damit auch für die Windenergie in Plan- und Prüfverfahren berücksichtigt werden können. Diese Aspekte geben in Verbindung mit den aktuellen Rahmenbedingungen des LROP-Entwurfes gute Vorrausetzungen für eine perspektivische Schaffung des Planungsrechtes für die Windenergie an diesem Standort. </a:t>
            </a:r>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15</a:t>
            </a:fld>
            <a:endParaRPr lang="en-GB"/>
          </a:p>
        </p:txBody>
      </p:sp>
    </p:spTree>
    <p:extLst>
      <p:ext uri="{BB962C8B-B14F-4D97-AF65-F5344CB8AC3E}">
        <p14:creationId xmlns:p14="http://schemas.microsoft.com/office/powerpoint/2010/main" val="1757106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a uns nicht alle genauen Angaben für das von Ihnen beabsichtige Poolgebiet vorliegen bzgl. der beplanten Flächen der Gemarkungen 12, haben wir das Gebiet des Flächenpools Eilte-Ahlden auf Basis unserer bisherigen Planung und unter Einbezug weniger weiterer Flächen der Gemarkung 12 definiert (siehe Abbildung 5). </a:t>
            </a:r>
          </a:p>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ies bedeutet aus raumplanerischen Gesichtspunkten, dass die Flächen bzgl. anderweitiger Nutzungen, im Gegensatz zu Vorranggebieten, der endgültigen Abwägung voll zugänglich sind und damit auch für die Windenergie in Plan- und Prüfverfahren berücksichtigt werden können. Diese Aspekte geben in Verbindung mit den aktuellen Rahmenbedingungen des LROP-Entwurfes gute Vorrausetzungen für eine perspektivische Schaffung des Planungsrechtes für die Windenergie an diesem Standort. </a:t>
            </a:r>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16</a:t>
            </a:fld>
            <a:endParaRPr lang="en-GB"/>
          </a:p>
        </p:txBody>
      </p:sp>
    </p:spTree>
    <p:extLst>
      <p:ext uri="{BB962C8B-B14F-4D97-AF65-F5344CB8AC3E}">
        <p14:creationId xmlns:p14="http://schemas.microsoft.com/office/powerpoint/2010/main" val="42395643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a uns nicht alle genauen Angaben für das von Ihnen beabsichtige Poolgebiet vorliegen bzgl. der beplanten Flächen der Gemarkungen 12, haben wir das Gebiet des Flächenpools Eilte-Ahlden auf Basis unserer bisherigen Planung und unter Einbezug weniger weiterer Flächen der Gemarkung 12 definiert (siehe Abbildung 5). </a:t>
            </a:r>
          </a:p>
          <a:p>
            <a:pPr marL="285750" indent="-285750">
              <a:buFontTx/>
              <a:buChar char="-"/>
            </a:pPr>
            <a:r>
              <a:rPr lang="de-DE" sz="1800" dirty="0">
                <a:solidFill>
                  <a:srgbClr val="636462"/>
                </a:solidFill>
                <a:effectLst/>
                <a:latin typeface="Arial" panose="020B0604020202020204" pitchFamily="34" charset="0"/>
                <a:ea typeface="Arial" panose="020B0604020202020204" pitchFamily="34" charset="0"/>
                <a:cs typeface="Mangal" panose="02040503050203030202" pitchFamily="18" charset="0"/>
              </a:rPr>
              <a:t>Dies bedeutet aus raumplanerischen Gesichtspunkten, dass die Flächen bzgl. anderweitiger Nutzungen, im Gegensatz zu Vorranggebieten, der endgültigen Abwägung voll zugänglich sind und damit auch für die Windenergie in Plan- und Prüfverfahren berücksichtigt werden können. Diese Aspekte geben in Verbindung mit den aktuellen Rahmenbedingungen des LROP-Entwurfes gute Vorrausetzungen für eine perspektivische Schaffung des Planungsrechtes für die Windenergie an diesem Standort. </a:t>
            </a:r>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17</a:t>
            </a:fld>
            <a:endParaRPr lang="en-GB"/>
          </a:p>
        </p:txBody>
      </p:sp>
    </p:spTree>
    <p:extLst>
      <p:ext uri="{BB962C8B-B14F-4D97-AF65-F5344CB8AC3E}">
        <p14:creationId xmlns:p14="http://schemas.microsoft.com/office/powerpoint/2010/main" val="2373228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18</a:t>
            </a:fld>
            <a:endParaRPr lang="en-GB" dirty="0"/>
          </a:p>
        </p:txBody>
      </p:sp>
    </p:spTree>
    <p:extLst>
      <p:ext uri="{BB962C8B-B14F-4D97-AF65-F5344CB8AC3E}">
        <p14:creationId xmlns:p14="http://schemas.microsoft.com/office/powerpoint/2010/main" val="2351420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BE41BEC-07AB-7146-9F1F-70C99F495112}" type="slidenum">
              <a:rPr lang="en-GB" smtClean="0"/>
              <a:pPr/>
              <a:t>23</a:t>
            </a:fld>
            <a:endParaRPr lang="en-GB" dirty="0"/>
          </a:p>
        </p:txBody>
      </p:sp>
    </p:spTree>
    <p:extLst>
      <p:ext uri="{BB962C8B-B14F-4D97-AF65-F5344CB8AC3E}">
        <p14:creationId xmlns:p14="http://schemas.microsoft.com/office/powerpoint/2010/main" val="1668026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1BE41BEC-07AB-7146-9F1F-70C99F495112}" type="slidenum">
              <a:rPr lang="en-GB" smtClean="0"/>
              <a:pPr/>
              <a:t>25</a:t>
            </a:fld>
            <a:endParaRPr lang="en-GB"/>
          </a:p>
        </p:txBody>
      </p:sp>
      <p:sp>
        <p:nvSpPr>
          <p:cNvPr id="6" name="Slide Image Placeholder 5">
            <a:extLst>
              <a:ext uri="{FF2B5EF4-FFF2-40B4-BE49-F238E27FC236}">
                <a16:creationId xmlns:a16="http://schemas.microsoft.com/office/drawing/2014/main" id="{73BE9B25-2CB7-43B6-8A33-83F0EC7BB6AA}"/>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7244B7E0-2411-4CD0-A69F-987CFE0E856B}"/>
              </a:ext>
            </a:extLst>
          </p:cNvPr>
          <p:cNvSpPr>
            <a:spLocks noGrp="1"/>
          </p:cNvSpPr>
          <p:nvPr>
            <p:ph type="body" idx="1"/>
          </p:nvPr>
        </p:nvSpPr>
        <p:spPr/>
        <p:txBody>
          <a:bodyPr/>
          <a:lstStyle/>
          <a:p>
            <a:pPr marL="0" marR="0" lvl="0" indent="0" algn="l" defTabSz="548621" rtl="0" eaLnBrk="1" fontAlgn="auto" latinLnBrk="0" hangingPunct="1">
              <a:lnSpc>
                <a:spcPct val="100000"/>
              </a:lnSpc>
              <a:spcBef>
                <a:spcPts val="0"/>
              </a:spcBef>
              <a:spcAft>
                <a:spcPts val="0"/>
              </a:spcAft>
              <a:buClrTx/>
              <a:buSzTx/>
              <a:buFontTx/>
              <a:buNone/>
              <a:tabLst/>
              <a:defRPr/>
            </a:pPr>
            <a:r>
              <a:rPr lang="en-GB" sz="1800" i="1">
                <a:solidFill>
                  <a:srgbClr val="999999"/>
                </a:solidFill>
                <a:effectLst/>
                <a:latin typeface="Georgia" panose="02040502050405020303" pitchFamily="18" charset="0"/>
                <a:ea typeface="Calibri" panose="020F0502020204030204" pitchFamily="34" charset="0"/>
              </a:rPr>
              <a:t>„Der ultimative Test einer moralischen Gesellschaft ist die Welt, die sie ihren Kindern hinterlässt. "</a:t>
            </a:r>
            <a:r>
              <a:rPr lang="en-GB" sz="1800">
                <a:effectLst/>
                <a:latin typeface="Calibri" panose="020F0502020204030204" pitchFamily="34" charset="0"/>
                <a:ea typeface="Calibri" panose="020F0502020204030204" pitchFamily="34" charset="0"/>
              </a:rPr>
              <a:t> </a:t>
            </a:r>
          </a:p>
          <a:p>
            <a:endParaRPr lang="en-GB"/>
          </a:p>
        </p:txBody>
      </p:sp>
    </p:spTree>
    <p:extLst>
      <p:ext uri="{BB962C8B-B14F-4D97-AF65-F5344CB8AC3E}">
        <p14:creationId xmlns:p14="http://schemas.microsoft.com/office/powerpoint/2010/main" val="30091980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1BE41BEC-07AB-7146-9F1F-70C99F495112}" type="slidenum">
              <a:rPr lang="en-GB" smtClean="0"/>
              <a:pPr/>
              <a:t>26</a:t>
            </a:fld>
            <a:endParaRPr lang="en-GB"/>
          </a:p>
        </p:txBody>
      </p:sp>
      <p:sp>
        <p:nvSpPr>
          <p:cNvPr id="6" name="Slide Image Placeholder 5">
            <a:extLst>
              <a:ext uri="{FF2B5EF4-FFF2-40B4-BE49-F238E27FC236}">
                <a16:creationId xmlns:a16="http://schemas.microsoft.com/office/drawing/2014/main" id="{73BE9B25-2CB7-43B6-8A33-83F0EC7BB6AA}"/>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7244B7E0-2411-4CD0-A69F-987CFE0E856B}"/>
              </a:ext>
            </a:extLst>
          </p:cNvPr>
          <p:cNvSpPr>
            <a:spLocks noGrp="1"/>
          </p:cNvSpPr>
          <p:nvPr>
            <p:ph type="body" idx="1"/>
          </p:nvPr>
        </p:nvSpPr>
        <p:spPr/>
        <p:txBody>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lang="en-GB"/>
          </a:p>
        </p:txBody>
      </p:sp>
    </p:spTree>
    <p:extLst>
      <p:ext uri="{BB962C8B-B14F-4D97-AF65-F5344CB8AC3E}">
        <p14:creationId xmlns:p14="http://schemas.microsoft.com/office/powerpoint/2010/main" val="1383220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00" b="0" i="1" dirty="0"/>
              <a:t>Mit 125 Jahren Erfahrung sind Erneuerbare Energie Teil unserer DNA. Wir machen eine klimaneutrale Zukunft möglich.</a:t>
            </a:r>
            <a:endParaRPr lang="de-DE" sz="1440" b="0" i="0" kern="1200" dirty="0">
              <a:solidFill>
                <a:schemeClr val="tx1"/>
              </a:solidFill>
              <a:effectLst/>
              <a:latin typeface="+mn-lt"/>
              <a:ea typeface="+mn-ea"/>
              <a:cs typeface="+mn-cs"/>
            </a:endParaRPr>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40" b="0" i="0" kern="1200" dirty="0" err="1">
                <a:solidFill>
                  <a:schemeClr val="tx1"/>
                </a:solidFill>
                <a:effectLst/>
                <a:latin typeface="+mn-lt"/>
                <a:ea typeface="+mn-ea"/>
                <a:cs typeface="+mn-cs"/>
              </a:rPr>
              <a:t>Statkraft</a:t>
            </a:r>
            <a:r>
              <a:rPr lang="de-DE" sz="1440" b="0" i="0" kern="1200" dirty="0">
                <a:solidFill>
                  <a:schemeClr val="tx1"/>
                </a:solidFill>
                <a:effectLst/>
                <a:latin typeface="+mn-lt"/>
                <a:ea typeface="+mn-ea"/>
                <a:cs typeface="+mn-cs"/>
              </a:rPr>
              <a:t> hat die Unternehmensstrategie ganz auf den Ausbau erneuerbarer Energien ausgerichtet. Denn erneuerbare Energien sind nicht nur ein Teil der Lösung hin zu einem CO2-freien Energiesystem, sondern sie sind DIE Lösung. </a:t>
            </a:r>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40" b="0" i="0" kern="1200" dirty="0">
                <a:solidFill>
                  <a:schemeClr val="tx1"/>
                </a:solidFill>
                <a:effectLst/>
                <a:latin typeface="+mn-lt"/>
                <a:ea typeface="+mn-ea"/>
                <a:cs typeface="+mn-cs"/>
              </a:rPr>
              <a:t>Daher hat sich </a:t>
            </a:r>
            <a:r>
              <a:rPr lang="de-DE" sz="1440" b="0" i="0" kern="1200" dirty="0" err="1">
                <a:solidFill>
                  <a:schemeClr val="tx1"/>
                </a:solidFill>
                <a:effectLst/>
                <a:latin typeface="+mn-lt"/>
                <a:ea typeface="+mn-ea"/>
                <a:cs typeface="+mn-cs"/>
              </a:rPr>
              <a:t>Statkraft</a:t>
            </a:r>
            <a:r>
              <a:rPr lang="de-DE" sz="1440" b="0" i="0" kern="1200" dirty="0">
                <a:solidFill>
                  <a:schemeClr val="tx1"/>
                </a:solidFill>
                <a:effectLst/>
                <a:latin typeface="+mn-lt"/>
                <a:ea typeface="+mn-ea"/>
                <a:cs typeface="+mn-cs"/>
              </a:rPr>
              <a:t> verpflichtet nachhaltige, grüne und wirtschaftliche Energielösungen zu entwickeln und umzusetzen. Dazu gehört es, neue Anlagen zu entwickeln und zu bauen, diese zu betreiben und den Strom daraus zielgruppengerecht zu vermarkten. </a:t>
            </a:r>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440" b="0" i="0" kern="1200" dirty="0">
              <a:solidFill>
                <a:schemeClr val="tx1"/>
              </a:solidFill>
              <a:effectLst/>
              <a:latin typeface="+mn-lt"/>
              <a:ea typeface="+mn-ea"/>
              <a:cs typeface="+mn-cs"/>
            </a:endParaRPr>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440" b="0" i="0" kern="1200" dirty="0">
              <a:solidFill>
                <a:schemeClr val="tx1"/>
              </a:solidFill>
              <a:effectLst/>
              <a:latin typeface="+mn-lt"/>
              <a:ea typeface="+mn-ea"/>
              <a:cs typeface="+mn-cs"/>
            </a:endParaRPr>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440" b="0" i="0" kern="1200" dirty="0">
                <a:solidFill>
                  <a:schemeClr val="tx1"/>
                </a:solidFill>
                <a:effectLst/>
                <a:latin typeface="+mn-lt"/>
                <a:ea typeface="+mn-ea"/>
                <a:cs typeface="+mn-cs"/>
              </a:rPr>
              <a:t>Wir kombinieren flexible Wasserkraft und fluktuierende Wind- und Solarkraft, um zuverlässig erneuerbare und kostengünstige Energie zu liefern, um den jetzigen und zukünftigen Energiebedarf unserer Kunden zu decken.</a:t>
            </a:r>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440" b="0" i="0" kern="1200" dirty="0">
              <a:solidFill>
                <a:schemeClr val="tx1"/>
              </a:solidFill>
              <a:effectLst/>
              <a:latin typeface="+mn-lt"/>
              <a:ea typeface="+mn-ea"/>
              <a:cs typeface="+mn-cs"/>
            </a:endParaRPr>
          </a:p>
          <a:p>
            <a:pPr marL="0" marR="0" lvl="0" indent="0" algn="l" defTabSz="548621"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600" b="0" i="1" dirty="0"/>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600" b="0" i="1" dirty="0"/>
          </a:p>
          <a:p>
            <a:pPr marL="0" indent="0">
              <a:buFont typeface="Arial" panose="020B0604020202020204" pitchFamily="34" charset="0"/>
              <a:buNone/>
            </a:pPr>
            <a:r>
              <a:rPr lang="de-DE" sz="1600" b="0" i="0" kern="1200" dirty="0">
                <a:solidFill>
                  <a:schemeClr val="tx1"/>
                </a:solidFill>
                <a:effectLst/>
                <a:latin typeface="+mn-lt"/>
                <a:ea typeface="+mn-ea"/>
                <a:cs typeface="+mn-cs"/>
              </a:rPr>
              <a:t>Unser wichtigstes Ziel ist es, den Wert unserer großen Wasserkraftflotte durch Renovierungen, optimierte Betriebsabläufe und langfristige Stromabnahmeverträge zu erhalten. Mit gezielten Akquisitionen bauen wir unser flexibles Portfolio weiter aus.</a:t>
            </a:r>
          </a:p>
          <a:p>
            <a:pPr marL="0" indent="0">
              <a:buFont typeface="Arial" panose="020B0604020202020204" pitchFamily="34" charset="0"/>
              <a:buNone/>
            </a:pPr>
            <a:endParaRPr lang="de-DE" sz="1600" b="0" i="0" kern="1200" dirty="0">
              <a:solidFill>
                <a:schemeClr val="tx1"/>
              </a:solidFill>
              <a:effectLst/>
              <a:latin typeface="+mn-lt"/>
              <a:ea typeface="+mn-ea"/>
              <a:cs typeface="+mn-cs"/>
            </a:endParaRPr>
          </a:p>
          <a:p>
            <a:pPr marL="0" indent="0">
              <a:buFont typeface="Arial" panose="020B0604020202020204" pitchFamily="34" charset="0"/>
              <a:buNone/>
            </a:pPr>
            <a:r>
              <a:rPr lang="de-DE" sz="1600" b="0" i="0" kern="1200" dirty="0">
                <a:solidFill>
                  <a:schemeClr val="tx1"/>
                </a:solidFill>
                <a:effectLst/>
                <a:latin typeface="+mn-lt"/>
                <a:ea typeface="+mn-ea"/>
                <a:cs typeface="+mn-cs"/>
              </a:rPr>
              <a:t>Unser Ziel ist es, ein führender Entwickler von profitablen </a:t>
            </a:r>
            <a:r>
              <a:rPr lang="de-DE" sz="1600" b="0" i="0" kern="1200" dirty="0" err="1">
                <a:solidFill>
                  <a:schemeClr val="tx1"/>
                </a:solidFill>
                <a:effectLst/>
                <a:latin typeface="+mn-lt"/>
                <a:ea typeface="+mn-ea"/>
                <a:cs typeface="+mn-cs"/>
              </a:rPr>
              <a:t>Onshore</a:t>
            </a:r>
            <a:r>
              <a:rPr lang="de-DE" sz="1600" b="0" i="0" kern="1200" dirty="0">
                <a:solidFill>
                  <a:schemeClr val="tx1"/>
                </a:solidFill>
                <a:effectLst/>
                <a:latin typeface="+mn-lt"/>
                <a:ea typeface="+mn-ea"/>
                <a:cs typeface="+mn-cs"/>
              </a:rPr>
              <a:t>-Wind- und Solarprojekten zu werden. Dies bedeutet die Umsetzung einer deutlich größeren Anzahl von Projekten. Nach Abschluss der Realisierung gibt es für uns unterschiedliche Alternativen. Entweder betreiben wir die Anlagen oder wir veräußern sie an interessierte Investoren und reinvestieren den Gewinn in die Entwicklung weiterer Anlagen.</a:t>
            </a:r>
          </a:p>
          <a:p>
            <a:pPr marL="0" indent="0">
              <a:buFont typeface="Arial" panose="020B0604020202020204" pitchFamily="34" charset="0"/>
              <a:buNone/>
            </a:pPr>
            <a:endParaRPr lang="de-DE" sz="1600" b="0" i="0" kern="1200" dirty="0">
              <a:solidFill>
                <a:schemeClr val="tx1"/>
              </a:solidFill>
              <a:effectLst/>
              <a:latin typeface="+mn-lt"/>
              <a:ea typeface="+mn-ea"/>
              <a:cs typeface="+mn-cs"/>
            </a:endParaRPr>
          </a:p>
          <a:p>
            <a:pPr marL="0" indent="0">
              <a:buFont typeface="Arial" panose="020B0604020202020204" pitchFamily="34" charset="0"/>
              <a:buNone/>
            </a:pPr>
            <a:r>
              <a:rPr lang="de-DE" sz="1600" b="0" i="0" kern="1200" dirty="0">
                <a:solidFill>
                  <a:schemeClr val="tx1"/>
                </a:solidFill>
                <a:effectLst/>
                <a:latin typeface="+mn-lt"/>
                <a:ea typeface="+mn-ea"/>
                <a:cs typeface="+mn-cs"/>
              </a:rPr>
              <a:t>Wir nutzen unsere fundierten Marktkenntnisse, um die Bedürfnisse unserer Kunden in einer immer komplexer werdenden Energiewelt zu bedienen. Mit unseren Produkten und Dienstleistungen sind wir entlang der gesamten Wertschöpfungskette aktiv: vom Marktzugang über Hedging bis hin zur Versorgung mit grünem Strom. Wir bauen kundenorientierte Aktivitäten wie Ladekonzepte für Elektrofahrzeuge und Fernwärme weiter aus.</a:t>
            </a:r>
          </a:p>
          <a:p>
            <a:pPr marL="0" indent="0">
              <a:buFont typeface="Arial" panose="020B0604020202020204" pitchFamily="34" charset="0"/>
              <a:buNone/>
            </a:pPr>
            <a:endParaRPr lang="de-DE" sz="1600" b="0" i="0" kern="1200" dirty="0">
              <a:solidFill>
                <a:schemeClr val="tx1"/>
              </a:solidFill>
              <a:effectLst/>
              <a:latin typeface="+mn-lt"/>
              <a:ea typeface="+mn-ea"/>
              <a:cs typeface="+mn-cs"/>
            </a:endParaRPr>
          </a:p>
          <a:p>
            <a:pPr fontAlgn="base"/>
            <a:r>
              <a:rPr lang="de-DE" sz="1600" b="0" i="0" kern="1200" dirty="0">
                <a:solidFill>
                  <a:schemeClr val="tx1"/>
                </a:solidFill>
                <a:effectLst/>
                <a:latin typeface="+mn-lt"/>
                <a:ea typeface="+mn-ea"/>
                <a:cs typeface="+mn-cs"/>
              </a:rPr>
              <a:t>Entwicklung neuer Initiativen im Bereich Dekarbonisierung und erneuerbare Energien</a:t>
            </a:r>
          </a:p>
          <a:p>
            <a:pPr fontAlgn="base"/>
            <a:r>
              <a:rPr lang="de-DE" sz="1600" b="0" i="0" kern="1200" dirty="0">
                <a:solidFill>
                  <a:schemeClr val="tx1"/>
                </a:solidFill>
                <a:effectLst/>
                <a:latin typeface="+mn-lt"/>
                <a:ea typeface="+mn-ea"/>
                <a:cs typeface="+mn-cs"/>
              </a:rPr>
              <a:t>Norwegen ist Vorreiter bei der Dekarbonisierung. Die Erfahrung wollen wir nutzen und ein bis zwei große Geschäftsideen mit internationalem Potenzial entwickeln, z.B. im Bereich Rechenzentren, Biokraftstoffe oder Wasserstoff.</a:t>
            </a:r>
          </a:p>
          <a:p>
            <a:pPr marL="0" indent="0">
              <a:buFont typeface="Arial" panose="020B0604020202020204" pitchFamily="34" charset="0"/>
              <a:buNone/>
            </a:pPr>
            <a:endParaRPr lang="en-GB" sz="1600" b="0" dirty="0"/>
          </a:p>
          <a:p>
            <a:pPr marL="285750" marR="0" lvl="0" indent="-285750" algn="l" defTabSz="5486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600" b="0" i="1" dirty="0"/>
          </a:p>
          <a:p>
            <a:endParaRPr lang="en-GB" b="0" dirty="0"/>
          </a:p>
        </p:txBody>
      </p:sp>
      <p:sp>
        <p:nvSpPr>
          <p:cNvPr id="4" name="Slide Number Placeholder 3"/>
          <p:cNvSpPr>
            <a:spLocks noGrp="1"/>
          </p:cNvSpPr>
          <p:nvPr>
            <p:ph type="sldNum" sz="quarter" idx="5"/>
          </p:nvPr>
        </p:nvSpPr>
        <p:spPr/>
        <p:txBody>
          <a:bodyPr/>
          <a:lstStyle/>
          <a:p>
            <a:fld id="{1BE41BEC-07AB-7146-9F1F-70C99F495112}" type="slidenum">
              <a:rPr lang="en-GB" smtClean="0"/>
              <a:pPr/>
              <a:t>2</a:t>
            </a:fld>
            <a:endParaRPr lang="en-GB"/>
          </a:p>
        </p:txBody>
      </p:sp>
    </p:spTree>
    <p:extLst>
      <p:ext uri="{BB962C8B-B14F-4D97-AF65-F5344CB8AC3E}">
        <p14:creationId xmlns:p14="http://schemas.microsoft.com/office/powerpoint/2010/main" val="232974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1BE41BEC-07AB-7146-9F1F-70C99F495112}" type="slidenum">
              <a:rPr lang="en-GB" smtClean="0"/>
              <a:pPr/>
              <a:t>3</a:t>
            </a:fld>
            <a:endParaRPr lang="en-GB"/>
          </a:p>
        </p:txBody>
      </p:sp>
      <p:sp>
        <p:nvSpPr>
          <p:cNvPr id="6" name="Slide Image Placeholder 5">
            <a:extLst>
              <a:ext uri="{FF2B5EF4-FFF2-40B4-BE49-F238E27FC236}">
                <a16:creationId xmlns:a16="http://schemas.microsoft.com/office/drawing/2014/main" id="{5A9335F6-8BB9-419E-A468-FFDF33BFB513}"/>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DAE81109-5DBC-487C-BA31-48F153C77A60}"/>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523235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BE41BEC-07AB-7146-9F1F-70C99F495112}" type="slidenum">
              <a:rPr lang="en-GB" smtClean="0"/>
              <a:pPr/>
              <a:t>4</a:t>
            </a:fld>
            <a:endParaRPr lang="en-GB" dirty="0"/>
          </a:p>
        </p:txBody>
      </p:sp>
    </p:spTree>
    <p:extLst>
      <p:ext uri="{BB962C8B-B14F-4D97-AF65-F5344CB8AC3E}">
        <p14:creationId xmlns:p14="http://schemas.microsoft.com/office/powerpoint/2010/main" val="3820378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0" hangingPunct="0">
              <a:buFontTx/>
              <a:buNone/>
            </a:pPr>
            <a:endParaRPr lang="en-GB" sz="160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548621" rtl="0" eaLnBrk="1" fontAlgn="auto" latinLnBrk="0" hangingPunct="1">
              <a:lnSpc>
                <a:spcPct val="100000"/>
              </a:lnSpc>
              <a:spcBef>
                <a:spcPts val="0"/>
              </a:spcBef>
              <a:spcAft>
                <a:spcPts val="0"/>
              </a:spcAft>
              <a:buClrTx/>
              <a:buSzTx/>
              <a:buFontTx/>
              <a:buNone/>
              <a:tabLst/>
              <a:defRPr/>
            </a:pPr>
            <a:fld id="{1BE41BEC-07AB-7146-9F1F-70C99F495112}" type="slidenum">
              <a:rPr kumimoji="0" lang="en-GB" sz="11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548621"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15500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600" dirty="0"/>
              <a:t>Aber nun </a:t>
            </a:r>
            <a:r>
              <a:rPr lang="en-GB" sz="1600" dirty="0" err="1"/>
              <a:t>zu</a:t>
            </a:r>
            <a:r>
              <a:rPr lang="en-GB" sz="1600" dirty="0"/>
              <a:t> </a:t>
            </a:r>
            <a:r>
              <a:rPr lang="en-GB" sz="1600" dirty="0" err="1"/>
              <a:t>Statkraft</a:t>
            </a:r>
            <a:r>
              <a:rPr lang="en-GB" sz="1600" dirty="0"/>
              <a:t>:</a:t>
            </a:r>
          </a:p>
          <a:p>
            <a:pPr marL="285750" indent="-285750">
              <a:buFontTx/>
              <a:buChar char="-"/>
            </a:pPr>
            <a:r>
              <a:rPr lang="en-GB" sz="1600" dirty="0" err="1"/>
              <a:t>Statkraft</a:t>
            </a:r>
            <a:r>
              <a:rPr lang="en-GB" sz="1600" dirty="0"/>
              <a:t> </a:t>
            </a:r>
            <a:r>
              <a:rPr lang="en-GB" sz="1600" dirty="0" err="1"/>
              <a:t>ist</a:t>
            </a:r>
            <a:r>
              <a:rPr lang="en-GB" sz="1600" dirty="0"/>
              <a:t> </a:t>
            </a:r>
            <a:r>
              <a:rPr lang="en-GB" sz="1600" dirty="0" err="1"/>
              <a:t>ein</a:t>
            </a:r>
            <a:r>
              <a:rPr lang="en-GB" sz="1600" dirty="0"/>
              <a:t> </a:t>
            </a:r>
            <a:r>
              <a:rPr lang="en-GB" sz="1600" dirty="0" err="1"/>
              <a:t>norwegisches</a:t>
            </a:r>
            <a:r>
              <a:rPr lang="en-GB" sz="1600" dirty="0"/>
              <a:t> </a:t>
            </a:r>
            <a:r>
              <a:rPr lang="en-GB" sz="1600" dirty="0" err="1"/>
              <a:t>Energieunternehmen</a:t>
            </a:r>
            <a:r>
              <a:rPr lang="en-GB" sz="1600" dirty="0"/>
              <a:t>, </a:t>
            </a:r>
            <a:r>
              <a:rPr lang="en-GB" sz="1600" dirty="0" err="1"/>
              <a:t>dessen</a:t>
            </a:r>
            <a:r>
              <a:rPr lang="en-GB" sz="1600" dirty="0"/>
              <a:t> </a:t>
            </a:r>
            <a:r>
              <a:rPr lang="en-GB" sz="1600" dirty="0" err="1"/>
              <a:t>alleiniger</a:t>
            </a:r>
            <a:r>
              <a:rPr lang="en-GB" sz="1600" dirty="0"/>
              <a:t> </a:t>
            </a:r>
            <a:r>
              <a:rPr lang="en-GB" sz="1600" dirty="0" err="1"/>
              <a:t>Anteilseigner</a:t>
            </a:r>
            <a:r>
              <a:rPr lang="en-GB" sz="1600" dirty="0"/>
              <a:t> der </a:t>
            </a:r>
            <a:r>
              <a:rPr lang="en-GB" sz="1600" dirty="0" err="1"/>
              <a:t>norwegische</a:t>
            </a:r>
            <a:r>
              <a:rPr lang="en-GB" sz="1600" dirty="0"/>
              <a:t> </a:t>
            </a:r>
            <a:r>
              <a:rPr lang="en-GB" sz="1600" dirty="0" err="1"/>
              <a:t>Staat</a:t>
            </a:r>
            <a:r>
              <a:rPr lang="en-GB" sz="1600" dirty="0"/>
              <a:t> </a:t>
            </a:r>
            <a:r>
              <a:rPr lang="en-GB" sz="1600" dirty="0" err="1"/>
              <a:t>ist</a:t>
            </a:r>
            <a:r>
              <a:rPr lang="en-GB" sz="1600" dirty="0"/>
              <a:t>.</a:t>
            </a:r>
          </a:p>
          <a:p>
            <a:pPr marL="285750" indent="-285750">
              <a:buFontTx/>
              <a:buChar char="-"/>
            </a:pPr>
            <a:r>
              <a:rPr lang="en-GB" sz="1600" dirty="0" err="1"/>
              <a:t>Unsere</a:t>
            </a:r>
            <a:r>
              <a:rPr lang="en-GB" sz="1600" dirty="0"/>
              <a:t> </a:t>
            </a:r>
            <a:r>
              <a:rPr lang="en-GB" sz="1600" dirty="0" err="1"/>
              <a:t>Wurzeln</a:t>
            </a:r>
            <a:r>
              <a:rPr lang="en-GB" sz="1600" dirty="0"/>
              <a:t> </a:t>
            </a:r>
            <a:r>
              <a:rPr lang="en-GB" sz="1600" dirty="0" err="1"/>
              <a:t>liegen</a:t>
            </a:r>
            <a:r>
              <a:rPr lang="en-GB" sz="1600" dirty="0"/>
              <a:t> in der </a:t>
            </a:r>
            <a:r>
              <a:rPr lang="en-GB" sz="1600" dirty="0" err="1"/>
              <a:t>Wasserkraft</a:t>
            </a:r>
            <a:r>
              <a:rPr lang="en-GB" sz="1600" dirty="0"/>
              <a:t> – 1895, also </a:t>
            </a:r>
            <a:r>
              <a:rPr lang="en-GB" sz="1600" dirty="0" err="1"/>
              <a:t>vor</a:t>
            </a:r>
            <a:r>
              <a:rPr lang="en-GB" sz="1600" dirty="0"/>
              <a:t> </a:t>
            </a:r>
            <a:r>
              <a:rPr lang="en-GB" sz="1600" dirty="0" err="1"/>
              <a:t>über</a:t>
            </a:r>
            <a:r>
              <a:rPr lang="en-GB" sz="1600" dirty="0"/>
              <a:t> 125 Jahren </a:t>
            </a:r>
            <a:r>
              <a:rPr lang="en-GB" sz="1600" dirty="0" err="1"/>
              <a:t>wurde</a:t>
            </a:r>
            <a:r>
              <a:rPr lang="en-GB" sz="1600" dirty="0"/>
              <a:t> der </a:t>
            </a:r>
            <a:r>
              <a:rPr lang="en-GB" sz="1600" dirty="0" err="1"/>
              <a:t>erste</a:t>
            </a:r>
            <a:r>
              <a:rPr lang="en-GB" sz="1600" dirty="0"/>
              <a:t> </a:t>
            </a:r>
            <a:r>
              <a:rPr lang="en-GB" sz="1600" dirty="0" err="1"/>
              <a:t>Wasserfall</a:t>
            </a:r>
            <a:r>
              <a:rPr lang="en-GB" sz="1600" dirty="0"/>
              <a:t> in </a:t>
            </a:r>
            <a:r>
              <a:rPr lang="en-GB" sz="1600" dirty="0" err="1"/>
              <a:t>Norwegen</a:t>
            </a:r>
            <a:r>
              <a:rPr lang="en-GB" sz="1600" dirty="0"/>
              <a:t> </a:t>
            </a:r>
            <a:r>
              <a:rPr lang="en-GB" sz="1600" dirty="0" err="1"/>
              <a:t>zur</a:t>
            </a:r>
            <a:r>
              <a:rPr lang="en-GB" sz="1600" dirty="0"/>
              <a:t> </a:t>
            </a:r>
            <a:r>
              <a:rPr lang="en-GB" sz="1600" dirty="0" err="1"/>
              <a:t>Stromerzeugung</a:t>
            </a:r>
            <a:r>
              <a:rPr lang="en-GB" sz="1600" dirty="0"/>
              <a:t> </a:t>
            </a:r>
            <a:r>
              <a:rPr lang="en-GB" sz="1600" dirty="0" err="1"/>
              <a:t>erschlossen</a:t>
            </a:r>
            <a:endParaRPr lang="en-GB" sz="1600" dirty="0"/>
          </a:p>
          <a:p>
            <a:pPr marL="285750" indent="-285750">
              <a:buFontTx/>
              <a:buChar char="-"/>
            </a:pPr>
            <a:r>
              <a:rPr lang="en-GB" sz="1600" dirty="0" err="1"/>
              <a:t>Jetzt</a:t>
            </a:r>
            <a:r>
              <a:rPr lang="en-GB" sz="1600" dirty="0"/>
              <a:t> </a:t>
            </a:r>
            <a:r>
              <a:rPr lang="en-GB" sz="1600" dirty="0" err="1"/>
              <a:t>sind</a:t>
            </a:r>
            <a:r>
              <a:rPr lang="en-GB" sz="1600" dirty="0"/>
              <a:t> </a:t>
            </a:r>
            <a:r>
              <a:rPr lang="en-GB" sz="1600" dirty="0" err="1"/>
              <a:t>wir</a:t>
            </a:r>
            <a:r>
              <a:rPr lang="en-GB" sz="1600" dirty="0"/>
              <a:t> der </a:t>
            </a:r>
            <a:r>
              <a:rPr lang="en-GB" sz="1600" dirty="0" err="1"/>
              <a:t>größte</a:t>
            </a:r>
            <a:r>
              <a:rPr lang="en-GB" sz="1600" dirty="0"/>
              <a:t> Erzeuger erneuerbarer Energie in Europa</a:t>
            </a:r>
          </a:p>
          <a:p>
            <a:pPr marL="285750" indent="-285750">
              <a:buFontTx/>
              <a:buChar char="-"/>
            </a:pPr>
            <a:r>
              <a:rPr lang="en-GB" sz="1600" dirty="0" err="1"/>
              <a:t>Über</a:t>
            </a:r>
            <a:r>
              <a:rPr lang="en-GB" sz="1600" dirty="0"/>
              <a:t> 4.500 Mitarbeiter in Europa, Süd- und </a:t>
            </a:r>
            <a:r>
              <a:rPr lang="en-GB" sz="1600" dirty="0" err="1"/>
              <a:t>Nordamerika</a:t>
            </a:r>
            <a:r>
              <a:rPr lang="en-GB" sz="1600" dirty="0"/>
              <a:t> und </a:t>
            </a:r>
            <a:r>
              <a:rPr lang="en-GB" sz="1600" dirty="0" err="1"/>
              <a:t>Südasien</a:t>
            </a:r>
            <a:r>
              <a:rPr lang="en-GB" sz="1600" dirty="0"/>
              <a:t> </a:t>
            </a:r>
            <a:r>
              <a:rPr lang="en-GB" sz="1600" dirty="0" err="1"/>
              <a:t>arbeiten</a:t>
            </a:r>
            <a:r>
              <a:rPr lang="en-GB" sz="1600" dirty="0"/>
              <a:t> </a:t>
            </a:r>
            <a:r>
              <a:rPr lang="en-GB" sz="1600" dirty="0" err="1"/>
              <a:t>daran</a:t>
            </a:r>
            <a:r>
              <a:rPr lang="en-GB" sz="1600" dirty="0"/>
              <a:t>, </a:t>
            </a:r>
            <a:r>
              <a:rPr lang="en-GB" sz="1600" dirty="0" err="1"/>
              <a:t>erneuerbare</a:t>
            </a:r>
            <a:r>
              <a:rPr lang="en-GB" sz="1600" dirty="0"/>
              <a:t> </a:t>
            </a:r>
            <a:r>
              <a:rPr lang="en-GB" sz="1600" dirty="0" err="1"/>
              <a:t>Energien</a:t>
            </a:r>
            <a:r>
              <a:rPr lang="en-GB" sz="1600" dirty="0"/>
              <a:t> </a:t>
            </a:r>
            <a:r>
              <a:rPr lang="en-GB" sz="1600" dirty="0" err="1"/>
              <a:t>weltweit</a:t>
            </a:r>
            <a:r>
              <a:rPr lang="en-GB" sz="1600" dirty="0"/>
              <a:t> </a:t>
            </a:r>
            <a:r>
              <a:rPr lang="en-GB" sz="1600" dirty="0" err="1"/>
              <a:t>auszubauen</a:t>
            </a:r>
            <a:endParaRPr lang="en-GB" sz="1600" dirty="0"/>
          </a:p>
          <a:p>
            <a:pPr marL="285750" indent="-285750">
              <a:buFontTx/>
              <a:buChar char="-"/>
            </a:pPr>
            <a:r>
              <a:rPr lang="en-GB" sz="1600" dirty="0"/>
              <a:t>1999 hat </a:t>
            </a:r>
            <a:r>
              <a:rPr lang="en-GB" sz="1600" dirty="0" err="1"/>
              <a:t>Statkraft</a:t>
            </a:r>
            <a:r>
              <a:rPr lang="en-GB" sz="1600" dirty="0"/>
              <a:t> das </a:t>
            </a:r>
            <a:r>
              <a:rPr lang="en-GB" sz="1600" dirty="0" err="1"/>
              <a:t>Düsseldorfer</a:t>
            </a:r>
            <a:r>
              <a:rPr lang="en-GB" sz="1600" dirty="0"/>
              <a:t> </a:t>
            </a:r>
            <a:r>
              <a:rPr lang="en-GB" sz="1600" dirty="0" err="1"/>
              <a:t>Büro</a:t>
            </a:r>
            <a:r>
              <a:rPr lang="en-GB" sz="1600" dirty="0"/>
              <a:t> </a:t>
            </a:r>
            <a:r>
              <a:rPr lang="en-GB" sz="1600" dirty="0" err="1"/>
              <a:t>mit</a:t>
            </a:r>
            <a:r>
              <a:rPr lang="en-GB" sz="1600" dirty="0"/>
              <a:t> </a:t>
            </a:r>
            <a:r>
              <a:rPr lang="en-GB" sz="1600" dirty="0" err="1"/>
              <a:t>einer</a:t>
            </a:r>
            <a:r>
              <a:rPr lang="en-GB" sz="1600" dirty="0"/>
              <a:t> </a:t>
            </a:r>
            <a:r>
              <a:rPr lang="en-GB" sz="1600" dirty="0" err="1"/>
              <a:t>handvoll</a:t>
            </a:r>
            <a:r>
              <a:rPr lang="en-GB" sz="1600" dirty="0"/>
              <a:t> </a:t>
            </a:r>
            <a:r>
              <a:rPr lang="en-GB" sz="1600" dirty="0" err="1"/>
              <a:t>Personen</a:t>
            </a:r>
            <a:r>
              <a:rPr lang="en-GB" sz="1600" dirty="0"/>
              <a:t> </a:t>
            </a:r>
            <a:r>
              <a:rPr lang="en-GB" sz="1600" dirty="0" err="1"/>
              <a:t>eröffnet</a:t>
            </a:r>
            <a:r>
              <a:rPr lang="en-GB" sz="1600" dirty="0"/>
              <a:t> – </a:t>
            </a:r>
            <a:r>
              <a:rPr lang="en-GB" sz="1600" dirty="0" err="1"/>
              <a:t>jetzt</a:t>
            </a:r>
            <a:r>
              <a:rPr lang="en-GB" sz="1600" dirty="0"/>
              <a:t> </a:t>
            </a:r>
            <a:r>
              <a:rPr lang="en-GB" sz="1600" dirty="0" err="1"/>
              <a:t>sind</a:t>
            </a:r>
            <a:r>
              <a:rPr lang="en-GB" sz="1600" dirty="0"/>
              <a:t> </a:t>
            </a:r>
            <a:r>
              <a:rPr lang="en-GB" sz="1600" dirty="0" err="1"/>
              <a:t>wir</a:t>
            </a:r>
            <a:r>
              <a:rPr lang="en-GB" sz="1600" dirty="0"/>
              <a:t> </a:t>
            </a:r>
            <a:r>
              <a:rPr lang="en-GB" sz="1600" dirty="0" err="1"/>
              <a:t>mit</a:t>
            </a:r>
            <a:r>
              <a:rPr lang="en-GB" sz="1600" dirty="0"/>
              <a:t> 480 </a:t>
            </a:r>
            <a:r>
              <a:rPr lang="en-GB" sz="1600" dirty="0" err="1"/>
              <a:t>Mitarbeitern</a:t>
            </a:r>
            <a:r>
              <a:rPr lang="en-GB" sz="1600" dirty="0"/>
              <a:t> </a:t>
            </a:r>
            <a:r>
              <a:rPr lang="en-GB" sz="1600" dirty="0" err="1"/>
              <a:t>einer</a:t>
            </a:r>
            <a:r>
              <a:rPr lang="en-GB" sz="1600" dirty="0"/>
              <a:t> der </a:t>
            </a:r>
            <a:r>
              <a:rPr lang="en-GB" sz="1600" dirty="0" err="1"/>
              <a:t>größten</a:t>
            </a:r>
            <a:r>
              <a:rPr lang="en-GB" sz="1600" dirty="0"/>
              <a:t> und </a:t>
            </a:r>
            <a:r>
              <a:rPr lang="en-GB" sz="1600" dirty="0" err="1"/>
              <a:t>wichtigsten</a:t>
            </a:r>
            <a:r>
              <a:rPr lang="en-GB" sz="1600" dirty="0"/>
              <a:t> </a:t>
            </a:r>
            <a:r>
              <a:rPr lang="en-GB" sz="1600" dirty="0" err="1"/>
              <a:t>Märkte</a:t>
            </a:r>
            <a:r>
              <a:rPr lang="en-GB" sz="1600" dirty="0"/>
              <a:t> von </a:t>
            </a:r>
            <a:r>
              <a:rPr lang="en-GB" sz="1600" dirty="0" err="1"/>
              <a:t>Statkraft</a:t>
            </a:r>
            <a:endParaRPr lang="en-GB" sz="1600" dirty="0"/>
          </a:p>
          <a:p>
            <a:pPr marL="285750" indent="-285750">
              <a:buFontTx/>
              <a:buChar char="-"/>
            </a:pPr>
            <a:r>
              <a:rPr lang="en-GB" sz="1600" dirty="0" err="1"/>
              <a:t>Neben</a:t>
            </a:r>
            <a:r>
              <a:rPr lang="en-GB" sz="1600" dirty="0"/>
              <a:t> </a:t>
            </a:r>
            <a:r>
              <a:rPr lang="en-GB" sz="1600" dirty="0" err="1"/>
              <a:t>dem</a:t>
            </a:r>
            <a:r>
              <a:rPr lang="en-GB" sz="1600" dirty="0"/>
              <a:t> Handel von </a:t>
            </a:r>
            <a:r>
              <a:rPr lang="en-GB" sz="1600" dirty="0" err="1"/>
              <a:t>Energieprodukten</a:t>
            </a:r>
            <a:r>
              <a:rPr lang="en-GB" sz="1600" dirty="0"/>
              <a:t> und der </a:t>
            </a:r>
            <a:r>
              <a:rPr lang="en-GB" sz="1600" dirty="0" err="1"/>
              <a:t>Vermarktung</a:t>
            </a:r>
            <a:r>
              <a:rPr lang="en-GB" sz="1600" dirty="0"/>
              <a:t> von erneuerbarer Energie </a:t>
            </a:r>
            <a:r>
              <a:rPr lang="en-GB" sz="1600" dirty="0" err="1"/>
              <a:t>betrieben</a:t>
            </a:r>
            <a:r>
              <a:rPr lang="en-GB" sz="1600" dirty="0"/>
              <a:t> </a:t>
            </a:r>
            <a:r>
              <a:rPr lang="en-GB" sz="1600" dirty="0" err="1"/>
              <a:t>wir</a:t>
            </a:r>
            <a:r>
              <a:rPr lang="en-GB" sz="1600" dirty="0"/>
              <a:t> 18 </a:t>
            </a:r>
            <a:r>
              <a:rPr lang="en-GB" sz="1600" dirty="0" err="1"/>
              <a:t>Kraftwerke</a:t>
            </a:r>
            <a:r>
              <a:rPr lang="en-GB" sz="1600" dirty="0"/>
              <a:t> in Deutschland – </a:t>
            </a:r>
            <a:r>
              <a:rPr lang="en-GB" sz="1600" dirty="0" err="1"/>
              <a:t>darunter</a:t>
            </a:r>
            <a:r>
              <a:rPr lang="en-GB" sz="1600" dirty="0"/>
              <a:t> Gas- und </a:t>
            </a:r>
            <a:r>
              <a:rPr lang="en-GB" sz="1600" dirty="0" err="1"/>
              <a:t>Biomassekraftwerke</a:t>
            </a:r>
            <a:r>
              <a:rPr lang="en-GB" sz="1600" dirty="0"/>
              <a:t>, </a:t>
            </a:r>
            <a:r>
              <a:rPr lang="en-GB" sz="1600" dirty="0" err="1"/>
              <a:t>Wasserkraftwerke</a:t>
            </a:r>
            <a:r>
              <a:rPr lang="en-GB" sz="1600" dirty="0"/>
              <a:t>, </a:t>
            </a:r>
            <a:r>
              <a:rPr lang="en-GB" sz="1600" dirty="0" err="1"/>
              <a:t>eine</a:t>
            </a:r>
            <a:r>
              <a:rPr lang="en-GB" sz="1600" dirty="0"/>
              <a:t> </a:t>
            </a:r>
            <a:r>
              <a:rPr lang="en-GB" sz="1600" dirty="0" err="1"/>
              <a:t>Solarpark</a:t>
            </a:r>
            <a:r>
              <a:rPr lang="en-GB" sz="1600" dirty="0"/>
              <a:t> und </a:t>
            </a:r>
            <a:r>
              <a:rPr lang="en-GB" sz="1600" dirty="0" err="1"/>
              <a:t>eine</a:t>
            </a:r>
            <a:r>
              <a:rPr lang="en-GB" sz="1600" dirty="0"/>
              <a:t> </a:t>
            </a:r>
            <a:r>
              <a:rPr lang="en-GB" sz="1600" dirty="0" err="1"/>
              <a:t>Großbatterie</a:t>
            </a:r>
            <a:endParaRPr lang="en-GB" sz="1600" dirty="0"/>
          </a:p>
          <a:p>
            <a:pPr marL="285750" indent="-285750">
              <a:buFontTx/>
              <a:buChar char="-"/>
            </a:pPr>
            <a:r>
              <a:rPr lang="en-GB" sz="1600" dirty="0"/>
              <a:t> </a:t>
            </a:r>
          </a:p>
          <a:p>
            <a:endParaRPr lang="en-GB" sz="1600" dirty="0"/>
          </a:p>
          <a:p>
            <a:pPr marL="0" marR="0" lvl="0" indent="0" algn="l" defTabSz="548621" rtl="0" eaLnBrk="1" fontAlgn="auto" latinLnBrk="0" hangingPunct="1">
              <a:lnSpc>
                <a:spcPct val="100000"/>
              </a:lnSpc>
              <a:spcBef>
                <a:spcPts val="0"/>
              </a:spcBef>
              <a:spcAft>
                <a:spcPts val="0"/>
              </a:spcAft>
              <a:buClrTx/>
              <a:buSzTx/>
              <a:buFontTx/>
              <a:buNone/>
              <a:tabLst/>
              <a:defRPr/>
            </a:pPr>
            <a:r>
              <a:rPr lang="de-DE" sz="1800" i="1" dirty="0"/>
              <a:t>„Erneuerbare Energie ist Teil unserer DNA. Wir engagieren uns nicht nur für eine klimaneutrale Zukunft, wir machen sie möglich.“</a:t>
            </a:r>
          </a:p>
          <a:p>
            <a:pPr marL="309610" indent="-309610" defTabSz="594431">
              <a:buFont typeface="Arial" panose="020B0604020202020204" pitchFamily="34" charset="0"/>
              <a:buChar char="•"/>
              <a:defRPr/>
            </a:pPr>
            <a:endParaRPr lang="de-DE" sz="1600" dirty="0"/>
          </a:p>
          <a:p>
            <a:pPr marL="309610" indent="-309610" defTabSz="594431">
              <a:buFont typeface="Arial" panose="020B0604020202020204" pitchFamily="34" charset="0"/>
              <a:buChar char="•"/>
              <a:defRPr/>
            </a:pPr>
            <a:endParaRPr lang="de-DE" sz="1600" dirty="0"/>
          </a:p>
          <a:p>
            <a:pPr marL="309610" indent="-309610" defTabSz="594431">
              <a:buFont typeface="Arial" panose="020B0604020202020204" pitchFamily="34" charset="0"/>
              <a:buChar char="•"/>
              <a:defRPr/>
            </a:pPr>
            <a:r>
              <a:rPr lang="de-DE" sz="1600" dirty="0"/>
              <a:t>Eine wichtige Säule um die Klimaziele von 100% erneuerbare Energie bis 2050 zu erreichen, ist es Windkraft an Land oder </a:t>
            </a:r>
            <a:r>
              <a:rPr lang="de-DE" sz="1600" dirty="0" err="1"/>
              <a:t>Onshore</a:t>
            </a:r>
            <a:r>
              <a:rPr lang="de-DE" sz="1600" dirty="0"/>
              <a:t>-Windkraft weiter auszubauen.</a:t>
            </a:r>
          </a:p>
          <a:p>
            <a:pPr marL="309610" indent="-309610" defTabSz="594431">
              <a:buFont typeface="Arial" panose="020B0604020202020204" pitchFamily="34" charset="0"/>
              <a:buChar char="•"/>
              <a:defRPr/>
            </a:pPr>
            <a:r>
              <a:rPr lang="de-DE" sz="1600" dirty="0"/>
              <a:t>Hier hat sich </a:t>
            </a:r>
            <a:r>
              <a:rPr lang="de-DE" sz="1600" dirty="0" err="1"/>
              <a:t>Statkraft</a:t>
            </a:r>
            <a:r>
              <a:rPr lang="de-DE" sz="1600" dirty="0"/>
              <a:t> klare Ziele gesetzt, bis 2025 weltweit 6.000 MW </a:t>
            </a:r>
            <a:r>
              <a:rPr lang="de-DE" sz="1600" dirty="0" err="1"/>
              <a:t>Onshore</a:t>
            </a:r>
            <a:r>
              <a:rPr lang="de-DE" sz="1600" dirty="0"/>
              <a:t>-Wind zu entwickeln. </a:t>
            </a:r>
          </a:p>
          <a:p>
            <a:pPr marL="309610" indent="-309610" defTabSz="594431">
              <a:buFont typeface="Arial" panose="020B0604020202020204" pitchFamily="34" charset="0"/>
              <a:buChar char="•"/>
              <a:defRPr/>
            </a:pPr>
            <a:r>
              <a:rPr lang="de-DE" sz="1600" dirty="0"/>
              <a:t>(Diese Größenordnung entspricht grob der Größe von 6 Atomkraftwerken) </a:t>
            </a:r>
          </a:p>
          <a:p>
            <a:pPr marL="309610" indent="-309610" defTabSz="594431">
              <a:buFont typeface="Arial" panose="020B0604020202020204" pitchFamily="34" charset="0"/>
              <a:buChar char="•"/>
              <a:defRPr/>
            </a:pPr>
            <a:r>
              <a:rPr lang="de-DE" sz="1600" dirty="0"/>
              <a:t>Derzeit betreibt STK 22 Windparks in Skandinavien, Großbritannien, Irland und Brasilien – darunter auch den kürzlich in Betrieb genommenen größten </a:t>
            </a:r>
            <a:r>
              <a:rPr lang="de-DE" sz="1600" dirty="0" err="1"/>
              <a:t>Onshore</a:t>
            </a:r>
            <a:r>
              <a:rPr lang="de-DE" sz="1600" dirty="0"/>
              <a:t>-Windpark Europas, der an der norwegischen Westküste in der Nähe von Trondheim steht. </a:t>
            </a:r>
          </a:p>
          <a:p>
            <a:pPr marL="309610" indent="-309610" defTabSz="594431">
              <a:buFont typeface="Arial" panose="020B0604020202020204" pitchFamily="34" charset="0"/>
              <a:buChar char="•"/>
              <a:defRPr/>
            </a:pPr>
            <a:r>
              <a:rPr lang="de-DE" sz="1600" dirty="0"/>
              <a:t>Neben den Ländern, in denen wir schon Windparks betreiben, sind für uns aber auch andere Länder interessant, in denen wir bereits aktiv sind, z.B. Frankreich, Spanien – und eben auch Deutschland. </a:t>
            </a:r>
          </a:p>
        </p:txBody>
      </p:sp>
      <p:sp>
        <p:nvSpPr>
          <p:cNvPr id="4" name="Slide Number Placeholder 3"/>
          <p:cNvSpPr>
            <a:spLocks noGrp="1"/>
          </p:cNvSpPr>
          <p:nvPr>
            <p:ph type="sldNum" sz="quarter" idx="5"/>
          </p:nvPr>
        </p:nvSpPr>
        <p:spPr/>
        <p:txBody>
          <a:bodyPr/>
          <a:lstStyle/>
          <a:p>
            <a:fld id="{1BE41BEC-07AB-7146-9F1F-70C99F495112}" type="slidenum">
              <a:rPr lang="en-GB" smtClean="0"/>
              <a:pPr/>
              <a:t>6</a:t>
            </a:fld>
            <a:endParaRPr lang="en-GB"/>
          </a:p>
        </p:txBody>
      </p:sp>
    </p:spTree>
    <p:extLst>
      <p:ext uri="{BB962C8B-B14F-4D97-AF65-F5344CB8AC3E}">
        <p14:creationId xmlns:p14="http://schemas.microsoft.com/office/powerpoint/2010/main" val="4102818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0"/>
            <a:ext cx="5984876" cy="3367088"/>
          </a:xfrm>
        </p:spPr>
      </p:sp>
      <p:sp>
        <p:nvSpPr>
          <p:cNvPr id="3" name="Notes Placeholder 2"/>
          <p:cNvSpPr>
            <a:spLocks noGrp="1"/>
          </p:cNvSpPr>
          <p:nvPr>
            <p:ph type="body" idx="1"/>
          </p:nvPr>
        </p:nvSpPr>
        <p:spPr>
          <a:xfrm>
            <a:off x="514513" y="3510122"/>
            <a:ext cx="3987467" cy="6727732"/>
          </a:xfrm>
        </p:spPr>
        <p:txBody>
          <a:bodyPr/>
          <a:lstStyle/>
          <a:p>
            <a:pPr marL="0" indent="0">
              <a:buFont typeface="Arial" panose="020B0604020202020204" pitchFamily="34" charset="0"/>
              <a:buNone/>
            </a:pPr>
            <a:r>
              <a:rPr lang="en-GB" sz="1400" b="0" dirty="0"/>
              <a:t>Fazit: SK </a:t>
            </a:r>
            <a:r>
              <a:rPr lang="en-GB" sz="1400" b="0" dirty="0" err="1"/>
              <a:t>ist</a:t>
            </a:r>
            <a:r>
              <a:rPr lang="en-GB" sz="1400" b="0" dirty="0"/>
              <a:t> </a:t>
            </a:r>
            <a:r>
              <a:rPr lang="en-GB" sz="1400" b="0" dirty="0" err="1"/>
              <a:t>sehr</a:t>
            </a:r>
            <a:r>
              <a:rPr lang="en-GB" sz="1400" b="0" dirty="0"/>
              <a:t> </a:t>
            </a:r>
            <a:r>
              <a:rPr lang="en-GB" sz="1400" b="0" dirty="0" err="1"/>
              <a:t>erfahrener</a:t>
            </a:r>
            <a:r>
              <a:rPr lang="en-GB" sz="1400" b="0" dirty="0"/>
              <a:t> </a:t>
            </a:r>
            <a:r>
              <a:rPr lang="en-GB" sz="1400" b="0" dirty="0" err="1"/>
              <a:t>Entwickler</a:t>
            </a:r>
            <a:endParaRPr lang="en-GB" sz="1400" b="0" dirty="0"/>
          </a:p>
          <a:p>
            <a:pPr marL="0" indent="0">
              <a:buFont typeface="Arial" panose="020B0604020202020204" pitchFamily="34" charset="0"/>
              <a:buNone/>
            </a:pPr>
            <a:r>
              <a:rPr lang="en-GB" sz="1400" b="0" dirty="0" err="1"/>
              <a:t>Wir</a:t>
            </a:r>
            <a:r>
              <a:rPr lang="en-GB" sz="1400" b="0" dirty="0"/>
              <a:t> </a:t>
            </a:r>
            <a:r>
              <a:rPr lang="en-GB" sz="1400" b="0" dirty="0" err="1"/>
              <a:t>können</a:t>
            </a:r>
            <a:r>
              <a:rPr lang="en-GB" sz="1400" b="0" dirty="0"/>
              <a:t> </a:t>
            </a:r>
            <a:r>
              <a:rPr lang="en-GB" sz="1400" b="0" dirty="0" err="1"/>
              <a:t>Erneuerbare</a:t>
            </a:r>
            <a:r>
              <a:rPr lang="en-GB" sz="1400" b="0" dirty="0"/>
              <a:t> </a:t>
            </a:r>
            <a:r>
              <a:rPr lang="en-GB" sz="1400" b="0" dirty="0" err="1"/>
              <a:t>projektieren</a:t>
            </a:r>
            <a:r>
              <a:rPr lang="en-GB" sz="1400" b="0" dirty="0"/>
              <a:t> und </a:t>
            </a:r>
            <a:r>
              <a:rPr lang="en-GB" sz="1400" b="0" dirty="0" err="1"/>
              <a:t>auch</a:t>
            </a:r>
            <a:r>
              <a:rPr lang="en-GB" sz="1400" b="0" dirty="0"/>
              <a:t> </a:t>
            </a:r>
            <a:r>
              <a:rPr lang="en-GB" sz="1400" b="0" dirty="0" err="1"/>
              <a:t>bauen</a:t>
            </a:r>
            <a:r>
              <a:rPr lang="en-GB" sz="1400" b="0" dirty="0"/>
              <a:t> und </a:t>
            </a:r>
            <a:r>
              <a:rPr lang="en-GB" sz="1400" b="0" dirty="0" err="1"/>
              <a:t>auch</a:t>
            </a:r>
            <a:r>
              <a:rPr lang="en-GB" sz="1400" b="0" dirty="0"/>
              <a:t> </a:t>
            </a:r>
            <a:r>
              <a:rPr lang="en-GB" sz="1400" b="0" dirty="0" err="1"/>
              <a:t>direkt</a:t>
            </a:r>
            <a:r>
              <a:rPr lang="en-GB" sz="1400" b="0" dirty="0"/>
              <a:t> an den </a:t>
            </a:r>
            <a:r>
              <a:rPr lang="en-GB" sz="1400" b="0" dirty="0" err="1"/>
              <a:t>Markt</a:t>
            </a:r>
            <a:r>
              <a:rPr lang="en-GB" sz="1400" b="0" dirty="0"/>
              <a:t> </a:t>
            </a:r>
            <a:r>
              <a:rPr lang="en-GB" sz="1400" b="0" dirty="0" err="1"/>
              <a:t>bringen</a:t>
            </a:r>
            <a:r>
              <a:rPr lang="en-GB" sz="1400" b="0" dirty="0"/>
              <a:t> (in house </a:t>
            </a:r>
            <a:r>
              <a:rPr lang="en-GB" sz="1400" b="0" dirty="0" err="1"/>
              <a:t>Betriebsphase</a:t>
            </a:r>
            <a:r>
              <a:rPr lang="en-GB" sz="1400" b="0" dirty="0"/>
              <a:t>, </a:t>
            </a:r>
            <a:r>
              <a:rPr lang="en-GB" sz="1400" b="0" dirty="0" err="1"/>
              <a:t>schnelle</a:t>
            </a:r>
            <a:r>
              <a:rPr lang="en-GB" sz="1400" b="0" dirty="0"/>
              <a:t> </a:t>
            </a:r>
            <a:r>
              <a:rPr lang="en-GB" sz="1400" b="0" dirty="0" err="1"/>
              <a:t>Vergütung</a:t>
            </a:r>
            <a:r>
              <a:rPr lang="en-GB" sz="1400" b="0" dirty="0"/>
              <a:t> an Gemeinde)</a:t>
            </a:r>
          </a:p>
          <a:p>
            <a:pPr marL="0" indent="0">
              <a:buFont typeface="Arial" panose="020B0604020202020204" pitchFamily="34" charset="0"/>
              <a:buNone/>
            </a:pPr>
            <a:r>
              <a:rPr lang="en-GB" sz="1400" b="0" dirty="0" err="1"/>
              <a:t>Wir</a:t>
            </a:r>
            <a:r>
              <a:rPr lang="en-GB" sz="1400" b="0" dirty="0"/>
              <a:t> </a:t>
            </a:r>
            <a:r>
              <a:rPr lang="en-GB" sz="1400" b="0" dirty="0" err="1"/>
              <a:t>sind</a:t>
            </a:r>
            <a:r>
              <a:rPr lang="en-GB" sz="1400" b="0" dirty="0"/>
              <a:t> </a:t>
            </a:r>
            <a:r>
              <a:rPr lang="en-GB" sz="1400" b="0" dirty="0" err="1"/>
              <a:t>breit</a:t>
            </a:r>
            <a:r>
              <a:rPr lang="en-GB" sz="1400" b="0" dirty="0"/>
              <a:t> </a:t>
            </a:r>
            <a:r>
              <a:rPr lang="en-GB" sz="1400" b="0" dirty="0" err="1"/>
              <a:t>aufgestellt</a:t>
            </a:r>
            <a:endParaRPr lang="en-GB" sz="1400" b="0" dirty="0"/>
          </a:p>
        </p:txBody>
      </p:sp>
      <p:sp>
        <p:nvSpPr>
          <p:cNvPr id="4" name="Slide Number Placeholder 3"/>
          <p:cNvSpPr>
            <a:spLocks noGrp="1"/>
          </p:cNvSpPr>
          <p:nvPr>
            <p:ph type="sldNum" sz="quarter" idx="5"/>
          </p:nvPr>
        </p:nvSpPr>
        <p:spPr/>
        <p:txBody>
          <a:bodyPr/>
          <a:lstStyle/>
          <a:p>
            <a:fld id="{A46204A1-689C-4BAE-8DB3-63DF4ACD79EA}" type="slidenum">
              <a:rPr lang="en-GB" smtClean="0"/>
              <a:pPr/>
              <a:t>7</a:t>
            </a:fld>
            <a:endParaRPr lang="en-GB"/>
          </a:p>
        </p:txBody>
      </p:sp>
    </p:spTree>
    <p:extLst>
      <p:ext uri="{BB962C8B-B14F-4D97-AF65-F5344CB8AC3E}">
        <p14:creationId xmlns:p14="http://schemas.microsoft.com/office/powerpoint/2010/main" val="3830173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e Folgen des Klimawandels zu bekämpfen, aber auch Energiesicherheit und –Unabhängigkeit von fossilen Brennstoffen zu schaffen – beides gehört zu den zentralen Herausforderungen jetzt und in Zukunft</a:t>
            </a:r>
          </a:p>
          <a:p>
            <a:endParaRPr lang="en-US"/>
          </a:p>
          <a:p>
            <a:r>
              <a:rPr lang="en-US"/>
              <a:t>Als Unternehmen verfolgen wir die Vision, mit Energie – mit nachaltiger und grüner Energie – die Welt zu erneuern. Wind, Solar, aber auch Biomasse sind nicht Teil der Lösung, sie </a:t>
            </a:r>
            <a:r>
              <a:rPr lang="en-US" i="1"/>
              <a:t>sind</a:t>
            </a:r>
            <a:r>
              <a:rPr lang="en-US"/>
              <a:t> die Lösung, die Antwort auf diese Herausforderungen – davon sind wir überzeugt </a:t>
            </a:r>
          </a:p>
          <a:p>
            <a:endParaRPr lang="en-US"/>
          </a:p>
          <a:p>
            <a:r>
              <a:rPr lang="en-US"/>
              <a:t>Aber für die Energiewende brauchen wir Flächen </a:t>
            </a:r>
          </a:p>
        </p:txBody>
      </p:sp>
      <p:sp>
        <p:nvSpPr>
          <p:cNvPr id="4" name="Slide Number Placeholder 3"/>
          <p:cNvSpPr>
            <a:spLocks noGrp="1"/>
          </p:cNvSpPr>
          <p:nvPr>
            <p:ph type="sldNum" sz="quarter" idx="5"/>
          </p:nvPr>
        </p:nvSpPr>
        <p:spPr/>
        <p:txBody>
          <a:bodyPr/>
          <a:lstStyle/>
          <a:p>
            <a:fld id="{CC367EE9-F3C1-46A5-8403-DD04EFA17F2B}" type="slidenum">
              <a:rPr lang="en-GB" smtClean="0"/>
              <a:pPr/>
              <a:t>9</a:t>
            </a:fld>
            <a:endParaRPr lang="en-GB"/>
          </a:p>
        </p:txBody>
      </p:sp>
    </p:spTree>
    <p:extLst>
      <p:ext uri="{BB962C8B-B14F-4D97-AF65-F5344CB8AC3E}">
        <p14:creationId xmlns:p14="http://schemas.microsoft.com/office/powerpoint/2010/main" val="2878400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en-GB"/>
              <a:t>Deutschland ist ein dicht besiedeltes Land, naturgemäß sind die Flächen knapp  </a:t>
            </a:r>
          </a:p>
          <a:p>
            <a:pPr marL="285750" indent="-285750">
              <a:buFontTx/>
              <a:buChar char="-"/>
            </a:pPr>
            <a:r>
              <a:rPr lang="en-GB"/>
              <a:t>Wenn wir nun alle Schutzzonen wie LSS-Gebiete gedanklich abziehen, wenn wir die – zu Recht – hohen Anforderungen an Natur-, Umwelt- und Artenschutz erfüllen, erforderliche Abstände zur Wohnebauung einhalten, dann bedeutet dies, dass wir geeigenete Windstandorte effektiv nutzen müssen </a:t>
            </a:r>
          </a:p>
          <a:p>
            <a:pPr marL="285750" indent="-285750">
              <a:buFontTx/>
              <a:buChar char="-"/>
            </a:pPr>
            <a:r>
              <a:rPr lang="en-GB"/>
              <a:t>Einen solchen Standort haben wir in Eilte-Ahlden gefunden. </a:t>
            </a:r>
          </a:p>
        </p:txBody>
      </p:sp>
      <p:sp>
        <p:nvSpPr>
          <p:cNvPr id="4" name="Slide Number Placeholder 3"/>
          <p:cNvSpPr>
            <a:spLocks noGrp="1"/>
          </p:cNvSpPr>
          <p:nvPr>
            <p:ph type="sldNum" sz="quarter" idx="5"/>
          </p:nvPr>
        </p:nvSpPr>
        <p:spPr/>
        <p:txBody>
          <a:bodyPr/>
          <a:lstStyle/>
          <a:p>
            <a:fld id="{1BE41BEC-07AB-7146-9F1F-70C99F495112}" type="slidenum">
              <a:rPr lang="en-GB" smtClean="0"/>
              <a:pPr/>
              <a:t>10</a:t>
            </a:fld>
            <a:endParaRPr lang="en-GB" dirty="0"/>
          </a:p>
        </p:txBody>
      </p:sp>
    </p:spTree>
    <p:extLst>
      <p:ext uri="{BB962C8B-B14F-4D97-AF65-F5344CB8AC3E}">
        <p14:creationId xmlns:p14="http://schemas.microsoft.com/office/powerpoint/2010/main" val="38708064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7.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7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8.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0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90994104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14" name="Graphic 5">
            <a:extLst>
              <a:ext uri="{FF2B5EF4-FFF2-40B4-BE49-F238E27FC236}">
                <a16:creationId xmlns:a16="http://schemas.microsoft.com/office/drawing/2014/main" id="{3A45DB2C-420A-4A46-9176-30488C4A057E}"/>
              </a:ext>
            </a:extLst>
          </p:cNvPr>
          <p:cNvSpPr/>
          <p:nvPr/>
        </p:nvSpPr>
        <p:spPr>
          <a:xfrm>
            <a:off x="4926457" y="0"/>
            <a:ext cx="7265543" cy="6845276"/>
          </a:xfrm>
          <a:custGeom>
            <a:avLst/>
            <a:gdLst>
              <a:gd name="connsiteX0" fmla="*/ 2134621 w 7265542"/>
              <a:gd name="connsiteY0" fmla="*/ 6837897 h 6845276"/>
              <a:gd name="connsiteX1" fmla="*/ 1877972 w 7265542"/>
              <a:gd name="connsiteY1" fmla="*/ 6655441 h 6845276"/>
              <a:gd name="connsiteX2" fmla="*/ 1560503 w 7265542"/>
              <a:gd name="connsiteY2" fmla="*/ 6389519 h 6845276"/>
              <a:gd name="connsiteX3" fmla="*/ 1495609 w 7265542"/>
              <a:gd name="connsiteY3" fmla="*/ 6305670 h 6845276"/>
              <a:gd name="connsiteX4" fmla="*/ 1541926 w 7265542"/>
              <a:gd name="connsiteY4" fmla="*/ 6292947 h 6845276"/>
              <a:gd name="connsiteX5" fmla="*/ 1909402 w 7265542"/>
              <a:gd name="connsiteY5" fmla="*/ 6333789 h 6845276"/>
              <a:gd name="connsiteX6" fmla="*/ 2362258 w 7265542"/>
              <a:gd name="connsiteY6" fmla="*/ 6339133 h 6845276"/>
              <a:gd name="connsiteX7" fmla="*/ 2887769 w 7265542"/>
              <a:gd name="connsiteY7" fmla="*/ 6288239 h 6845276"/>
              <a:gd name="connsiteX8" fmla="*/ 3362637 w 7265542"/>
              <a:gd name="connsiteY8" fmla="*/ 6207444 h 6845276"/>
              <a:gd name="connsiteX9" fmla="*/ 3823255 w 7265542"/>
              <a:gd name="connsiteY9" fmla="*/ 6126650 h 6845276"/>
              <a:gd name="connsiteX10" fmla="*/ 4278274 w 7265542"/>
              <a:gd name="connsiteY10" fmla="*/ 6088479 h 6845276"/>
              <a:gd name="connsiteX11" fmla="*/ 4877204 w 7265542"/>
              <a:gd name="connsiteY11" fmla="*/ 6126650 h 6845276"/>
              <a:gd name="connsiteX12" fmla="*/ 5343929 w 7265542"/>
              <a:gd name="connsiteY12" fmla="*/ 6239635 h 6845276"/>
              <a:gd name="connsiteX13" fmla="*/ 5368487 w 7265542"/>
              <a:gd name="connsiteY13" fmla="*/ 6267372 h 6845276"/>
              <a:gd name="connsiteX14" fmla="*/ 5347238 w 7265542"/>
              <a:gd name="connsiteY14" fmla="*/ 6276406 h 6845276"/>
              <a:gd name="connsiteX15" fmla="*/ 4678070 w 7265542"/>
              <a:gd name="connsiteY15" fmla="*/ 6324629 h 6845276"/>
              <a:gd name="connsiteX16" fmla="*/ 3901891 w 7265542"/>
              <a:gd name="connsiteY16" fmla="*/ 6573374 h 6845276"/>
              <a:gd name="connsiteX17" fmla="*/ 3526017 w 7265542"/>
              <a:gd name="connsiteY17" fmla="*/ 6721095 h 6845276"/>
              <a:gd name="connsiteX18" fmla="*/ 3009413 w 7265542"/>
              <a:gd name="connsiteY18" fmla="*/ 6854310 h 6845276"/>
              <a:gd name="connsiteX19" fmla="*/ 7275215 w 7265542"/>
              <a:gd name="connsiteY19" fmla="*/ 6854311 h 6845276"/>
              <a:gd name="connsiteX20" fmla="*/ 7275215 w 7265542"/>
              <a:gd name="connsiteY20" fmla="*/ 0 h 6845276"/>
              <a:gd name="connsiteX21" fmla="*/ 1146711 w 7265542"/>
              <a:gd name="connsiteY21" fmla="*/ 0 h 6845276"/>
              <a:gd name="connsiteX22" fmla="*/ 2 w 7265542"/>
              <a:gd name="connsiteY22" fmla="*/ 3050347 h 6845276"/>
              <a:gd name="connsiteX23" fmla="*/ 1986638 w 7265542"/>
              <a:gd name="connsiteY23" fmla="*/ 6854692 h 6845276"/>
              <a:gd name="connsiteX24" fmla="*/ 2162105 w 7265542"/>
              <a:gd name="connsiteY24" fmla="*/ 6854692 h 6845276"/>
              <a:gd name="connsiteX25" fmla="*/ 2134621 w 7265542"/>
              <a:gd name="connsiteY25" fmla="*/ 6837897 h 6845276"/>
              <a:gd name="connsiteX26" fmla="*/ 481360 w 7265542"/>
              <a:gd name="connsiteY26" fmla="*/ 1206321 h 6845276"/>
              <a:gd name="connsiteX27" fmla="*/ 755694 w 7265542"/>
              <a:gd name="connsiteY27" fmla="*/ 684655 h 6845276"/>
              <a:gd name="connsiteX28" fmla="*/ 796285 w 7265542"/>
              <a:gd name="connsiteY28" fmla="*/ 621037 h 6845276"/>
              <a:gd name="connsiteX29" fmla="*/ 858761 w 7265542"/>
              <a:gd name="connsiteY29" fmla="*/ 601061 h 6845276"/>
              <a:gd name="connsiteX30" fmla="*/ 893498 w 7265542"/>
              <a:gd name="connsiteY30" fmla="*/ 609204 h 6845276"/>
              <a:gd name="connsiteX31" fmla="*/ 1269626 w 7265542"/>
              <a:gd name="connsiteY31" fmla="*/ 624727 h 6845276"/>
              <a:gd name="connsiteX32" fmla="*/ 2060311 w 7265542"/>
              <a:gd name="connsiteY32" fmla="*/ 534390 h 6845276"/>
              <a:gd name="connsiteX33" fmla="*/ 2977475 w 7265542"/>
              <a:gd name="connsiteY33" fmla="*/ 385778 h 6845276"/>
              <a:gd name="connsiteX34" fmla="*/ 3465449 w 7265542"/>
              <a:gd name="connsiteY34" fmla="*/ 307529 h 6845276"/>
              <a:gd name="connsiteX35" fmla="*/ 4516472 w 7265542"/>
              <a:gd name="connsiteY35" fmla="*/ 287171 h 6845276"/>
              <a:gd name="connsiteX36" fmla="*/ 5616610 w 7265542"/>
              <a:gd name="connsiteY36" fmla="*/ 451559 h 6845276"/>
              <a:gd name="connsiteX37" fmla="*/ 6033074 w 7265542"/>
              <a:gd name="connsiteY37" fmla="*/ 554366 h 6845276"/>
              <a:gd name="connsiteX38" fmla="*/ 6356270 w 7265542"/>
              <a:gd name="connsiteY38" fmla="*/ 650556 h 6845276"/>
              <a:gd name="connsiteX39" fmla="*/ 6368104 w 7265542"/>
              <a:gd name="connsiteY39" fmla="*/ 662389 h 6845276"/>
              <a:gd name="connsiteX40" fmla="*/ 6354235 w 7265542"/>
              <a:gd name="connsiteY40" fmla="*/ 670150 h 6845276"/>
              <a:gd name="connsiteX41" fmla="*/ 6323951 w 7265542"/>
              <a:gd name="connsiteY41" fmla="*/ 668623 h 6845276"/>
              <a:gd name="connsiteX42" fmla="*/ 5538483 w 7265542"/>
              <a:gd name="connsiteY42" fmla="*/ 638087 h 6845276"/>
              <a:gd name="connsiteX43" fmla="*/ 4388084 w 7265542"/>
              <a:gd name="connsiteY43" fmla="*/ 695852 h 6845276"/>
              <a:gd name="connsiteX44" fmla="*/ 3048476 w 7265542"/>
              <a:gd name="connsiteY44" fmla="*/ 978569 h 6845276"/>
              <a:gd name="connsiteX45" fmla="*/ 2052295 w 7265542"/>
              <a:gd name="connsiteY45" fmla="*/ 1292460 h 6845276"/>
              <a:gd name="connsiteX46" fmla="*/ 1135258 w 7265542"/>
              <a:gd name="connsiteY46" fmla="*/ 1461301 h 6845276"/>
              <a:gd name="connsiteX47" fmla="*/ 715994 w 7265542"/>
              <a:gd name="connsiteY47" fmla="*/ 1438653 h 6845276"/>
              <a:gd name="connsiteX48" fmla="*/ 512407 w 7265542"/>
              <a:gd name="connsiteY48" fmla="*/ 1355950 h 6845276"/>
              <a:gd name="connsiteX49" fmla="*/ 481360 w 7265542"/>
              <a:gd name="connsiteY49" fmla="*/ 1206321 h 6845276"/>
              <a:gd name="connsiteX50" fmla="*/ 90853 w 7265542"/>
              <a:gd name="connsiteY50" fmla="*/ 3171730 h 6845276"/>
              <a:gd name="connsiteX51" fmla="*/ 124444 w 7265542"/>
              <a:gd name="connsiteY51" fmla="*/ 2481222 h 6845276"/>
              <a:gd name="connsiteX52" fmla="*/ 130807 w 7265542"/>
              <a:gd name="connsiteY52" fmla="*/ 2431727 h 6845276"/>
              <a:gd name="connsiteX53" fmla="*/ 158673 w 7265542"/>
              <a:gd name="connsiteY53" fmla="*/ 2387958 h 6845276"/>
              <a:gd name="connsiteX54" fmla="*/ 223057 w 7265542"/>
              <a:gd name="connsiteY54" fmla="*/ 2384777 h 6845276"/>
              <a:gd name="connsiteX55" fmla="*/ 259322 w 7265542"/>
              <a:gd name="connsiteY55" fmla="*/ 2391266 h 6845276"/>
              <a:gd name="connsiteX56" fmla="*/ 507444 w 7265542"/>
              <a:gd name="connsiteY56" fmla="*/ 2427656 h 6845276"/>
              <a:gd name="connsiteX57" fmla="*/ 1094159 w 7265542"/>
              <a:gd name="connsiteY57" fmla="*/ 2453103 h 6845276"/>
              <a:gd name="connsiteX58" fmla="*/ 1746532 w 7265542"/>
              <a:gd name="connsiteY58" fmla="*/ 2400936 h 6845276"/>
              <a:gd name="connsiteX59" fmla="*/ 2181191 w 7265542"/>
              <a:gd name="connsiteY59" fmla="*/ 2333247 h 6845276"/>
              <a:gd name="connsiteX60" fmla="*/ 2915889 w 7265542"/>
              <a:gd name="connsiteY60" fmla="*/ 2187562 h 6845276"/>
              <a:gd name="connsiteX61" fmla="*/ 3574496 w 7265542"/>
              <a:gd name="connsiteY61" fmla="*/ 2056255 h 6845276"/>
              <a:gd name="connsiteX62" fmla="*/ 4130291 w 7265542"/>
              <a:gd name="connsiteY62" fmla="*/ 1971898 h 6845276"/>
              <a:gd name="connsiteX63" fmla="*/ 4859390 w 7265542"/>
              <a:gd name="connsiteY63" fmla="*/ 1932327 h 6845276"/>
              <a:gd name="connsiteX64" fmla="*/ 5559223 w 7265542"/>
              <a:gd name="connsiteY64" fmla="*/ 1978769 h 6845276"/>
              <a:gd name="connsiteX65" fmla="*/ 6203070 w 7265542"/>
              <a:gd name="connsiteY65" fmla="*/ 2094298 h 6845276"/>
              <a:gd name="connsiteX66" fmla="*/ 6813071 w 7265542"/>
              <a:gd name="connsiteY66" fmla="*/ 2274591 h 6845276"/>
              <a:gd name="connsiteX67" fmla="*/ 7072900 w 7265542"/>
              <a:gd name="connsiteY67" fmla="*/ 2378543 h 6845276"/>
              <a:gd name="connsiteX68" fmla="*/ 7081807 w 7265542"/>
              <a:gd name="connsiteY68" fmla="*/ 2395338 h 6845276"/>
              <a:gd name="connsiteX69" fmla="*/ 7056358 w 7265542"/>
              <a:gd name="connsiteY69" fmla="*/ 2404372 h 6845276"/>
              <a:gd name="connsiteX70" fmla="*/ 6849080 w 7265542"/>
              <a:gd name="connsiteY70" fmla="*/ 2399537 h 6845276"/>
              <a:gd name="connsiteX71" fmla="*/ 5240990 w 7265542"/>
              <a:gd name="connsiteY71" fmla="*/ 2475878 h 6845276"/>
              <a:gd name="connsiteX72" fmla="*/ 3948462 w 7265542"/>
              <a:gd name="connsiteY72" fmla="*/ 2780480 h 6845276"/>
              <a:gd name="connsiteX73" fmla="*/ 2170630 w 7265542"/>
              <a:gd name="connsiteY73" fmla="*/ 3365764 h 6845276"/>
              <a:gd name="connsiteX74" fmla="*/ 585826 w 7265542"/>
              <a:gd name="connsiteY74" fmla="*/ 3561071 h 6845276"/>
              <a:gd name="connsiteX75" fmla="*/ 183231 w 7265542"/>
              <a:gd name="connsiteY75" fmla="*/ 3421875 h 6845276"/>
              <a:gd name="connsiteX76" fmla="*/ 90853 w 7265542"/>
              <a:gd name="connsiteY76" fmla="*/ 3171730 h 6845276"/>
              <a:gd name="connsiteX77" fmla="*/ 1182338 w 7265542"/>
              <a:gd name="connsiteY77" fmla="*/ 5427363 h 6845276"/>
              <a:gd name="connsiteX78" fmla="*/ 591552 w 7265542"/>
              <a:gd name="connsiteY78" fmla="*/ 5123270 h 6845276"/>
              <a:gd name="connsiteX79" fmla="*/ 349791 w 7265542"/>
              <a:gd name="connsiteY79" fmla="*/ 4568904 h 6845276"/>
              <a:gd name="connsiteX80" fmla="*/ 334013 w 7265542"/>
              <a:gd name="connsiteY80" fmla="*/ 4521572 h 6845276"/>
              <a:gd name="connsiteX81" fmla="*/ 338339 w 7265542"/>
              <a:gd name="connsiteY81" fmla="*/ 4457955 h 6845276"/>
              <a:gd name="connsiteX82" fmla="*/ 424991 w 7265542"/>
              <a:gd name="connsiteY82" fmla="*/ 4457955 h 6845276"/>
              <a:gd name="connsiteX83" fmla="*/ 1049497 w 7265542"/>
              <a:gd name="connsiteY83" fmla="*/ 4542312 h 6845276"/>
              <a:gd name="connsiteX84" fmla="*/ 1610127 w 7265542"/>
              <a:gd name="connsiteY84" fmla="*/ 4563433 h 6845276"/>
              <a:gd name="connsiteX85" fmla="*/ 2116552 w 7265542"/>
              <a:gd name="connsiteY85" fmla="*/ 4537986 h 6845276"/>
              <a:gd name="connsiteX86" fmla="*/ 2803661 w 7265542"/>
              <a:gd name="connsiteY86" fmla="*/ 4440142 h 6845276"/>
              <a:gd name="connsiteX87" fmla="*/ 3652623 w 7265542"/>
              <a:gd name="connsiteY87" fmla="*/ 4257813 h 6845276"/>
              <a:gd name="connsiteX88" fmla="*/ 4171772 w 7265542"/>
              <a:gd name="connsiteY88" fmla="*/ 4160605 h 6845276"/>
              <a:gd name="connsiteX89" fmla="*/ 4583401 w 7265542"/>
              <a:gd name="connsiteY89" fmla="*/ 4127905 h 6845276"/>
              <a:gd name="connsiteX90" fmla="*/ 5135888 w 7265542"/>
              <a:gd name="connsiteY90" fmla="*/ 4149154 h 6845276"/>
              <a:gd name="connsiteX91" fmla="*/ 5791059 w 7265542"/>
              <a:gd name="connsiteY91" fmla="*/ 4241400 h 6845276"/>
              <a:gd name="connsiteX92" fmla="*/ 6230555 w 7265542"/>
              <a:gd name="connsiteY92" fmla="*/ 4347514 h 6845276"/>
              <a:gd name="connsiteX93" fmla="*/ 6386427 w 7265542"/>
              <a:gd name="connsiteY93" fmla="*/ 4395609 h 6845276"/>
              <a:gd name="connsiteX94" fmla="*/ 6403605 w 7265542"/>
              <a:gd name="connsiteY94" fmla="*/ 4415967 h 6845276"/>
              <a:gd name="connsiteX95" fmla="*/ 6382737 w 7265542"/>
              <a:gd name="connsiteY95" fmla="*/ 4424492 h 6845276"/>
              <a:gd name="connsiteX96" fmla="*/ 6364541 w 7265542"/>
              <a:gd name="connsiteY96" fmla="*/ 4422711 h 6845276"/>
              <a:gd name="connsiteX97" fmla="*/ 5164390 w 7265542"/>
              <a:gd name="connsiteY97" fmla="*/ 4511775 h 6845276"/>
              <a:gd name="connsiteX98" fmla="*/ 4289599 w 7265542"/>
              <a:gd name="connsiteY98" fmla="*/ 4790167 h 6845276"/>
              <a:gd name="connsiteX99" fmla="*/ 3144417 w 7265542"/>
              <a:gd name="connsiteY99" fmla="*/ 5183070 h 6845276"/>
              <a:gd name="connsiteX100" fmla="*/ 1923780 w 7265542"/>
              <a:gd name="connsiteY100" fmla="*/ 5443013 h 6845276"/>
              <a:gd name="connsiteX101" fmla="*/ 1182338 w 7265542"/>
              <a:gd name="connsiteY101" fmla="*/ 5427363 h 684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7265542" h="6845276">
                <a:moveTo>
                  <a:pt x="2134621" y="6837897"/>
                </a:moveTo>
                <a:cubicBezTo>
                  <a:pt x="2134621" y="6837897"/>
                  <a:pt x="2045551" y="6778605"/>
                  <a:pt x="1877972" y="6655441"/>
                </a:cubicBezTo>
                <a:cubicBezTo>
                  <a:pt x="1773252" y="6578464"/>
                  <a:pt x="1643337" y="6464588"/>
                  <a:pt x="1560503" y="6389519"/>
                </a:cubicBezTo>
                <a:cubicBezTo>
                  <a:pt x="1536072" y="6366871"/>
                  <a:pt x="1493701" y="6324628"/>
                  <a:pt x="1495609" y="6305670"/>
                </a:cubicBezTo>
                <a:cubicBezTo>
                  <a:pt x="1495609" y="6305670"/>
                  <a:pt x="1496627" y="6287985"/>
                  <a:pt x="1541926" y="6292947"/>
                </a:cubicBezTo>
                <a:cubicBezTo>
                  <a:pt x="1587224" y="6297909"/>
                  <a:pt x="1720956" y="6319794"/>
                  <a:pt x="1909402" y="6333789"/>
                </a:cubicBezTo>
                <a:cubicBezTo>
                  <a:pt x="2060167" y="6343218"/>
                  <a:pt x="2211312" y="6345002"/>
                  <a:pt x="2362258" y="6339133"/>
                </a:cubicBezTo>
                <a:cubicBezTo>
                  <a:pt x="2539252" y="6333408"/>
                  <a:pt x="2727825" y="6310124"/>
                  <a:pt x="2887769" y="6288239"/>
                </a:cubicBezTo>
                <a:cubicBezTo>
                  <a:pt x="3047712" y="6266355"/>
                  <a:pt x="3362637" y="6207444"/>
                  <a:pt x="3362637" y="6207444"/>
                </a:cubicBezTo>
                <a:cubicBezTo>
                  <a:pt x="3362637" y="6207444"/>
                  <a:pt x="3615214" y="6158459"/>
                  <a:pt x="3823255" y="6126650"/>
                </a:cubicBezTo>
                <a:cubicBezTo>
                  <a:pt x="3973869" y="6103476"/>
                  <a:pt x="4125904" y="6090723"/>
                  <a:pt x="4278274" y="6088479"/>
                </a:cubicBezTo>
                <a:cubicBezTo>
                  <a:pt x="4478495" y="6089387"/>
                  <a:pt x="4678488" y="6102132"/>
                  <a:pt x="4877204" y="6126650"/>
                </a:cubicBezTo>
                <a:cubicBezTo>
                  <a:pt x="5169862" y="6164820"/>
                  <a:pt x="5330060" y="6233146"/>
                  <a:pt x="5343929" y="6239635"/>
                </a:cubicBezTo>
                <a:cubicBezTo>
                  <a:pt x="5357799" y="6246124"/>
                  <a:pt x="5371287" y="6256430"/>
                  <a:pt x="5368487" y="6267372"/>
                </a:cubicBezTo>
                <a:cubicBezTo>
                  <a:pt x="5365688" y="6278315"/>
                  <a:pt x="5347238" y="6276406"/>
                  <a:pt x="5347238" y="6276406"/>
                </a:cubicBezTo>
                <a:cubicBezTo>
                  <a:pt x="5123140" y="6270490"/>
                  <a:pt x="4899003" y="6286642"/>
                  <a:pt x="4678070" y="6324629"/>
                </a:cubicBezTo>
                <a:cubicBezTo>
                  <a:pt x="4339478" y="6386592"/>
                  <a:pt x="3901891" y="6573374"/>
                  <a:pt x="3901891" y="6573374"/>
                </a:cubicBezTo>
                <a:lnTo>
                  <a:pt x="3526017" y="6721095"/>
                </a:lnTo>
                <a:cubicBezTo>
                  <a:pt x="3358065" y="6780596"/>
                  <a:pt x="3185194" y="6825174"/>
                  <a:pt x="3009413" y="6854310"/>
                </a:cubicBezTo>
                <a:lnTo>
                  <a:pt x="7275215" y="6854311"/>
                </a:lnTo>
                <a:lnTo>
                  <a:pt x="7275215" y="0"/>
                </a:lnTo>
                <a:lnTo>
                  <a:pt x="1146711" y="0"/>
                </a:lnTo>
                <a:cubicBezTo>
                  <a:pt x="406626" y="843748"/>
                  <a:pt x="-988" y="1928039"/>
                  <a:pt x="2" y="3050347"/>
                </a:cubicBezTo>
                <a:cubicBezTo>
                  <a:pt x="1" y="4622852"/>
                  <a:pt x="786360" y="6014937"/>
                  <a:pt x="1986638" y="6854692"/>
                </a:cubicBezTo>
                <a:lnTo>
                  <a:pt x="2162105" y="6854692"/>
                </a:lnTo>
                <a:cubicBezTo>
                  <a:pt x="2152501" y="6849854"/>
                  <a:pt x="2143308" y="6844237"/>
                  <a:pt x="2134621" y="6837897"/>
                </a:cubicBezTo>
                <a:close/>
                <a:moveTo>
                  <a:pt x="481360" y="1206321"/>
                </a:moveTo>
                <a:cubicBezTo>
                  <a:pt x="568648" y="1000072"/>
                  <a:pt x="755694" y="684655"/>
                  <a:pt x="755694" y="684655"/>
                </a:cubicBezTo>
                <a:cubicBezTo>
                  <a:pt x="755694" y="684655"/>
                  <a:pt x="773890" y="653609"/>
                  <a:pt x="796285" y="621037"/>
                </a:cubicBezTo>
                <a:cubicBezTo>
                  <a:pt x="818680" y="588465"/>
                  <a:pt x="858761" y="601061"/>
                  <a:pt x="858761" y="601061"/>
                </a:cubicBezTo>
                <a:lnTo>
                  <a:pt x="893498" y="609204"/>
                </a:lnTo>
                <a:cubicBezTo>
                  <a:pt x="1024049" y="637832"/>
                  <a:pt x="1269626" y="624727"/>
                  <a:pt x="1269626" y="624727"/>
                </a:cubicBezTo>
                <a:cubicBezTo>
                  <a:pt x="1534800" y="610731"/>
                  <a:pt x="1942103" y="551694"/>
                  <a:pt x="2060311" y="534390"/>
                </a:cubicBezTo>
                <a:cubicBezTo>
                  <a:pt x="2178519" y="517086"/>
                  <a:pt x="2977475" y="385778"/>
                  <a:pt x="2977475" y="385778"/>
                </a:cubicBezTo>
                <a:cubicBezTo>
                  <a:pt x="3170883" y="350661"/>
                  <a:pt x="3465449" y="307529"/>
                  <a:pt x="3465449" y="307529"/>
                </a:cubicBezTo>
                <a:cubicBezTo>
                  <a:pt x="3938791" y="242257"/>
                  <a:pt x="4516472" y="287171"/>
                  <a:pt x="4516472" y="287171"/>
                </a:cubicBezTo>
                <a:cubicBezTo>
                  <a:pt x="4999993" y="314908"/>
                  <a:pt x="5616610" y="451559"/>
                  <a:pt x="5616610" y="451559"/>
                </a:cubicBezTo>
                <a:cubicBezTo>
                  <a:pt x="5789914" y="487821"/>
                  <a:pt x="6033074" y="554366"/>
                  <a:pt x="6033074" y="554366"/>
                </a:cubicBezTo>
                <a:cubicBezTo>
                  <a:pt x="6136268" y="581594"/>
                  <a:pt x="6356270" y="650556"/>
                  <a:pt x="6356270" y="650556"/>
                </a:cubicBezTo>
                <a:cubicBezTo>
                  <a:pt x="6356270" y="650556"/>
                  <a:pt x="6370140" y="654246"/>
                  <a:pt x="6368104" y="662389"/>
                </a:cubicBezTo>
                <a:cubicBezTo>
                  <a:pt x="6366068" y="670532"/>
                  <a:pt x="6354235" y="670150"/>
                  <a:pt x="6354235" y="670150"/>
                </a:cubicBezTo>
                <a:lnTo>
                  <a:pt x="6323951" y="668623"/>
                </a:lnTo>
                <a:cubicBezTo>
                  <a:pt x="6258166" y="664170"/>
                  <a:pt x="5799203" y="640250"/>
                  <a:pt x="5538483" y="638087"/>
                </a:cubicBezTo>
                <a:cubicBezTo>
                  <a:pt x="5277763" y="635924"/>
                  <a:pt x="4979762" y="634651"/>
                  <a:pt x="4388084" y="695852"/>
                </a:cubicBezTo>
                <a:cubicBezTo>
                  <a:pt x="3796407" y="757052"/>
                  <a:pt x="3182207" y="940017"/>
                  <a:pt x="3048476" y="978569"/>
                </a:cubicBezTo>
                <a:cubicBezTo>
                  <a:pt x="2914744" y="1017122"/>
                  <a:pt x="2052295" y="1292460"/>
                  <a:pt x="2052295" y="1292460"/>
                </a:cubicBezTo>
                <a:cubicBezTo>
                  <a:pt x="1560248" y="1436490"/>
                  <a:pt x="1356279" y="1447687"/>
                  <a:pt x="1135258" y="1461301"/>
                </a:cubicBezTo>
                <a:cubicBezTo>
                  <a:pt x="995096" y="1468825"/>
                  <a:pt x="854531" y="1461232"/>
                  <a:pt x="715994" y="1438653"/>
                </a:cubicBezTo>
                <a:cubicBezTo>
                  <a:pt x="567503" y="1413206"/>
                  <a:pt x="512407" y="1355950"/>
                  <a:pt x="512407" y="1355950"/>
                </a:cubicBezTo>
                <a:cubicBezTo>
                  <a:pt x="439370" y="1285080"/>
                  <a:pt x="481360" y="1206321"/>
                  <a:pt x="481360" y="1206321"/>
                </a:cubicBezTo>
                <a:close/>
                <a:moveTo>
                  <a:pt x="90853" y="3171730"/>
                </a:moveTo>
                <a:cubicBezTo>
                  <a:pt x="75965" y="2855804"/>
                  <a:pt x="124444" y="2481222"/>
                  <a:pt x="124444" y="2481222"/>
                </a:cubicBezTo>
                <a:cubicBezTo>
                  <a:pt x="124444" y="2481222"/>
                  <a:pt x="126353" y="2463027"/>
                  <a:pt x="130807" y="2431727"/>
                </a:cubicBezTo>
                <a:cubicBezTo>
                  <a:pt x="132916" y="2413645"/>
                  <a:pt x="143181" y="2397521"/>
                  <a:pt x="158673" y="2387958"/>
                </a:cubicBezTo>
                <a:cubicBezTo>
                  <a:pt x="179320" y="2380418"/>
                  <a:pt x="201767" y="2379309"/>
                  <a:pt x="223057" y="2384777"/>
                </a:cubicBezTo>
                <a:lnTo>
                  <a:pt x="259322" y="2391266"/>
                </a:lnTo>
                <a:cubicBezTo>
                  <a:pt x="370023" y="2412515"/>
                  <a:pt x="507444" y="2427656"/>
                  <a:pt x="507444" y="2427656"/>
                </a:cubicBezTo>
                <a:cubicBezTo>
                  <a:pt x="702225" y="2449267"/>
                  <a:pt x="898238" y="2457768"/>
                  <a:pt x="1094159" y="2453103"/>
                </a:cubicBezTo>
                <a:cubicBezTo>
                  <a:pt x="1391143" y="2449540"/>
                  <a:pt x="1746532" y="2400936"/>
                  <a:pt x="1746532" y="2400936"/>
                </a:cubicBezTo>
                <a:cubicBezTo>
                  <a:pt x="1889806" y="2383760"/>
                  <a:pt x="2181191" y="2333247"/>
                  <a:pt x="2181191" y="2333247"/>
                </a:cubicBezTo>
                <a:cubicBezTo>
                  <a:pt x="2304744" y="2311999"/>
                  <a:pt x="2776686" y="2216572"/>
                  <a:pt x="2915889" y="2187562"/>
                </a:cubicBezTo>
                <a:cubicBezTo>
                  <a:pt x="3055092" y="2158552"/>
                  <a:pt x="3574496" y="2056255"/>
                  <a:pt x="3574496" y="2056255"/>
                </a:cubicBezTo>
                <a:cubicBezTo>
                  <a:pt x="3807986" y="2011086"/>
                  <a:pt x="4130291" y="1971898"/>
                  <a:pt x="4130291" y="1971898"/>
                </a:cubicBezTo>
                <a:cubicBezTo>
                  <a:pt x="4372258" y="1943481"/>
                  <a:pt x="4615769" y="1930265"/>
                  <a:pt x="4859390" y="1932327"/>
                </a:cubicBezTo>
                <a:cubicBezTo>
                  <a:pt x="5005465" y="1932327"/>
                  <a:pt x="5246971" y="1942506"/>
                  <a:pt x="5559223" y="1978769"/>
                </a:cubicBezTo>
                <a:cubicBezTo>
                  <a:pt x="5775652" y="2006382"/>
                  <a:pt x="5990543" y="2044942"/>
                  <a:pt x="6203070" y="2094298"/>
                </a:cubicBezTo>
                <a:cubicBezTo>
                  <a:pt x="6430707" y="2145193"/>
                  <a:pt x="6688119" y="2230059"/>
                  <a:pt x="6813071" y="2274591"/>
                </a:cubicBezTo>
                <a:cubicBezTo>
                  <a:pt x="6938023" y="2319124"/>
                  <a:pt x="7067556" y="2376380"/>
                  <a:pt x="7072900" y="2378543"/>
                </a:cubicBezTo>
                <a:cubicBezTo>
                  <a:pt x="7078244" y="2380706"/>
                  <a:pt x="7084733" y="2384396"/>
                  <a:pt x="7081807" y="2395338"/>
                </a:cubicBezTo>
                <a:cubicBezTo>
                  <a:pt x="7078880" y="2406280"/>
                  <a:pt x="7056358" y="2404372"/>
                  <a:pt x="7056358" y="2404372"/>
                </a:cubicBezTo>
                <a:lnTo>
                  <a:pt x="6849080" y="2399537"/>
                </a:lnTo>
                <a:cubicBezTo>
                  <a:pt x="6392153" y="2388722"/>
                  <a:pt x="5724130" y="2406026"/>
                  <a:pt x="5240990" y="2475878"/>
                </a:cubicBezTo>
                <a:cubicBezTo>
                  <a:pt x="4757851" y="2545730"/>
                  <a:pt x="4231322" y="2695614"/>
                  <a:pt x="3948462" y="2780480"/>
                </a:cubicBezTo>
                <a:cubicBezTo>
                  <a:pt x="3665601" y="2865346"/>
                  <a:pt x="3110697" y="3050347"/>
                  <a:pt x="2170630" y="3365764"/>
                </a:cubicBezTo>
                <a:cubicBezTo>
                  <a:pt x="1230563" y="3681181"/>
                  <a:pt x="585826" y="3561071"/>
                  <a:pt x="585826" y="3561071"/>
                </a:cubicBezTo>
                <a:cubicBezTo>
                  <a:pt x="359589" y="3533715"/>
                  <a:pt x="282607" y="3501397"/>
                  <a:pt x="183231" y="3421875"/>
                </a:cubicBezTo>
                <a:cubicBezTo>
                  <a:pt x="83855" y="3342353"/>
                  <a:pt x="90853" y="3171730"/>
                  <a:pt x="90853" y="3171730"/>
                </a:cubicBezTo>
                <a:close/>
                <a:moveTo>
                  <a:pt x="1182338" y="5427363"/>
                </a:moveTo>
                <a:cubicBezTo>
                  <a:pt x="1011579" y="5404588"/>
                  <a:pt x="718794" y="5359928"/>
                  <a:pt x="591552" y="5123270"/>
                </a:cubicBezTo>
                <a:cubicBezTo>
                  <a:pt x="464309" y="4886611"/>
                  <a:pt x="349791" y="4568904"/>
                  <a:pt x="349791" y="4568904"/>
                </a:cubicBezTo>
                <a:cubicBezTo>
                  <a:pt x="349791" y="4568904"/>
                  <a:pt x="342157" y="4543457"/>
                  <a:pt x="334013" y="4521572"/>
                </a:cubicBezTo>
                <a:cubicBezTo>
                  <a:pt x="325869" y="4499688"/>
                  <a:pt x="316581" y="4473223"/>
                  <a:pt x="338339" y="4457955"/>
                </a:cubicBezTo>
                <a:cubicBezTo>
                  <a:pt x="360098" y="4442687"/>
                  <a:pt x="424991" y="4457955"/>
                  <a:pt x="424991" y="4457955"/>
                </a:cubicBezTo>
                <a:cubicBezTo>
                  <a:pt x="662680" y="4506940"/>
                  <a:pt x="1049497" y="4542312"/>
                  <a:pt x="1049497" y="4542312"/>
                </a:cubicBezTo>
                <a:cubicBezTo>
                  <a:pt x="1276371" y="4564578"/>
                  <a:pt x="1610127" y="4563433"/>
                  <a:pt x="1610127" y="4563433"/>
                </a:cubicBezTo>
                <a:cubicBezTo>
                  <a:pt x="1814987" y="4564578"/>
                  <a:pt x="2116552" y="4537986"/>
                  <a:pt x="2116552" y="4537986"/>
                </a:cubicBezTo>
                <a:cubicBezTo>
                  <a:pt x="2399666" y="4515974"/>
                  <a:pt x="2803661" y="4440142"/>
                  <a:pt x="2803661" y="4440142"/>
                </a:cubicBezTo>
                <a:cubicBezTo>
                  <a:pt x="2977856" y="4408715"/>
                  <a:pt x="3401701" y="4313670"/>
                  <a:pt x="3652623" y="4257813"/>
                </a:cubicBezTo>
                <a:cubicBezTo>
                  <a:pt x="3903545" y="4201957"/>
                  <a:pt x="4171772" y="4160605"/>
                  <a:pt x="4171772" y="4160605"/>
                </a:cubicBezTo>
                <a:cubicBezTo>
                  <a:pt x="4308176" y="4141227"/>
                  <a:pt x="4445649" y="4130307"/>
                  <a:pt x="4583401" y="4127905"/>
                </a:cubicBezTo>
                <a:cubicBezTo>
                  <a:pt x="4583401" y="4127905"/>
                  <a:pt x="4854809" y="4123070"/>
                  <a:pt x="5135888" y="4149154"/>
                </a:cubicBezTo>
                <a:cubicBezTo>
                  <a:pt x="5355815" y="4167781"/>
                  <a:pt x="5574540" y="4198577"/>
                  <a:pt x="5791059" y="4241400"/>
                </a:cubicBezTo>
                <a:cubicBezTo>
                  <a:pt x="5997574" y="4281352"/>
                  <a:pt x="6195818" y="4337590"/>
                  <a:pt x="6230555" y="4347514"/>
                </a:cubicBezTo>
                <a:cubicBezTo>
                  <a:pt x="6265291" y="4357439"/>
                  <a:pt x="6378156" y="4392683"/>
                  <a:pt x="6386427" y="4395609"/>
                </a:cubicBezTo>
                <a:cubicBezTo>
                  <a:pt x="6394698" y="4398536"/>
                  <a:pt x="6407167" y="4405788"/>
                  <a:pt x="6403605" y="4415967"/>
                </a:cubicBezTo>
                <a:cubicBezTo>
                  <a:pt x="6400042" y="4426146"/>
                  <a:pt x="6382737" y="4424492"/>
                  <a:pt x="6382737" y="4424492"/>
                </a:cubicBezTo>
                <a:lnTo>
                  <a:pt x="6364541" y="4422711"/>
                </a:lnTo>
                <a:cubicBezTo>
                  <a:pt x="5798694" y="4367236"/>
                  <a:pt x="5164390" y="4511775"/>
                  <a:pt x="5164390" y="4511775"/>
                </a:cubicBezTo>
                <a:cubicBezTo>
                  <a:pt x="4939299" y="4557453"/>
                  <a:pt x="4609613" y="4672856"/>
                  <a:pt x="4289599" y="4790167"/>
                </a:cubicBezTo>
                <a:cubicBezTo>
                  <a:pt x="3969584" y="4907478"/>
                  <a:pt x="3551593" y="5057362"/>
                  <a:pt x="3144417" y="5183070"/>
                </a:cubicBezTo>
                <a:cubicBezTo>
                  <a:pt x="2737241" y="5308779"/>
                  <a:pt x="2259955" y="5408278"/>
                  <a:pt x="1923780" y="5443013"/>
                </a:cubicBezTo>
                <a:cubicBezTo>
                  <a:pt x="1587606" y="5477748"/>
                  <a:pt x="1182338" y="5427363"/>
                  <a:pt x="1182338" y="5427363"/>
                </a:cubicBezTo>
                <a:close/>
              </a:path>
            </a:pathLst>
          </a:custGeom>
          <a:solidFill>
            <a:schemeClr val="accent2"/>
          </a:solidFill>
          <a:ln w="12722" cap="flat">
            <a:noFill/>
            <a:prstDash val="solid"/>
            <a:miter/>
          </a:ln>
        </p:spPr>
        <p:txBody>
          <a:bodyPr rtlCol="0" anchor="ctr"/>
          <a:lstStyle/>
          <a:p>
            <a:pPr eaLnBrk="1"/>
            <a:endParaRPr lang="en-GB" dirty="0"/>
          </a:p>
        </p:txBody>
      </p:sp>
      <p:sp>
        <p:nvSpPr>
          <p:cNvPr id="15" name="Rectangle 14">
            <a:extLst>
              <a:ext uri="{FF2B5EF4-FFF2-40B4-BE49-F238E27FC236}">
                <a16:creationId xmlns:a16="http://schemas.microsoft.com/office/drawing/2014/main" id="{E2D68D7B-DF38-479E-8181-B200AE68BD7D}"/>
              </a:ext>
            </a:extLst>
          </p:cNvPr>
          <p:cNvSpPr/>
          <p:nvPr userDrawn="1"/>
        </p:nvSpPr>
        <p:spPr>
          <a:xfrm>
            <a:off x="1235074" y="2"/>
            <a:ext cx="4860926" cy="479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accent5"/>
                </a:solidFill>
              </a:defRPr>
            </a:lvl1pPr>
          </a:lstStyle>
          <a:p>
            <a:endParaRPr lang="en-GB" noProof="0" dirty="0"/>
          </a:p>
        </p:txBody>
      </p:sp>
      <p:sp>
        <p:nvSpPr>
          <p:cNvPr id="3" name="Subtitle 2"/>
          <p:cNvSpPr>
            <a:spLocks noGrp="1"/>
          </p:cNvSpPr>
          <p:nvPr>
            <p:ph type="subTitle" idx="1"/>
          </p:nvPr>
        </p:nvSpPr>
        <p:spPr>
          <a:xfrm>
            <a:off x="1235074" y="4368356"/>
            <a:ext cx="4860926" cy="427979"/>
          </a:xfrm>
          <a:solidFill>
            <a:schemeClr val="bg1"/>
          </a:solidFill>
        </p:spPr>
        <p:txBody>
          <a:bodyPr lIns="288000" rIns="288000" bIns="180000">
            <a:spAutoFit/>
          </a:bodyPr>
          <a:lstStyle>
            <a:lvl1pPr marL="0" indent="0" algn="l" eaLnBrk="1">
              <a:spcBef>
                <a:spcPts val="0"/>
              </a:spcBef>
              <a:buNone/>
              <a:defRPr sz="1600" cap="all" baseline="0">
                <a:solidFill>
                  <a:schemeClr val="accent5"/>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10C94871-1278-4C9D-8FE4-92A94538EC1C}"/>
              </a:ext>
            </a:extLst>
          </p:cNvPr>
          <p:cNvGrpSpPr/>
          <p:nvPr userDrawn="1"/>
        </p:nvGrpSpPr>
        <p:grpSpPr>
          <a:xfrm>
            <a:off x="1533524" y="369094"/>
            <a:ext cx="2243139" cy="606869"/>
            <a:chOff x="1533524" y="369094"/>
            <a:chExt cx="2243139" cy="606869"/>
          </a:xfrm>
        </p:grpSpPr>
        <p:pic>
          <p:nvPicPr>
            <p:cNvPr id="29" name="Graphic 28">
              <a:extLst>
                <a:ext uri="{FF2B5EF4-FFF2-40B4-BE49-F238E27FC236}">
                  <a16:creationId xmlns:a16="http://schemas.microsoft.com/office/drawing/2014/main" id="{8ED2CFF3-8D2B-4D37-BCA7-ECF1D6193D2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30" name="Picture 29">
              <a:extLst>
                <a:ext uri="{FF2B5EF4-FFF2-40B4-BE49-F238E27FC236}">
                  <a16:creationId xmlns:a16="http://schemas.microsoft.com/office/drawing/2014/main" id="{0C11B633-41CA-4745-B60C-C77BAB1EE0E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33524" y="369094"/>
              <a:ext cx="607220" cy="606869"/>
            </a:xfrm>
            <a:prstGeom prst="ellipse">
              <a:avLst/>
            </a:prstGeom>
            <a:ln w="63500" cap="rnd">
              <a:noFill/>
            </a:ln>
            <a:effectLst/>
          </p:spPr>
        </p:pic>
      </p:grpSp>
    </p:spTree>
    <p:extLst>
      <p:ext uri="{BB962C8B-B14F-4D97-AF65-F5344CB8AC3E}">
        <p14:creationId xmlns:p14="http://schemas.microsoft.com/office/powerpoint/2010/main" val="192877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userDrawn="1">
          <p15:clr>
            <a:srgbClr val="FBAE40"/>
          </p15:clr>
        </p15:guide>
        <p15:guide id="2" pos="3659" userDrawn="1">
          <p15:clr>
            <a:srgbClr val="FBAE40"/>
          </p15:clr>
        </p15:guide>
        <p15:guide id="3" pos="778" userDrawn="1">
          <p15:clr>
            <a:srgbClr val="FBAE40"/>
          </p15:clr>
        </p15:guide>
        <p15:guide id="4"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with Sub head 0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2886528952"/>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7" y="1836492"/>
            <a:ext cx="4968240"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7" y="2241549"/>
            <a:ext cx="4968240"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3" name="Chart Placeholder 2">
            <a:extLst>
              <a:ext uri="{FF2B5EF4-FFF2-40B4-BE49-F238E27FC236}">
                <a16:creationId xmlns:a16="http://schemas.microsoft.com/office/drawing/2014/main" id="{0C8456C9-98B9-4B92-A9A4-9A0FFCE17519}"/>
              </a:ext>
            </a:extLst>
          </p:cNvPr>
          <p:cNvSpPr>
            <a:spLocks noGrp="1"/>
          </p:cNvSpPr>
          <p:nvPr>
            <p:ph type="chart" sz="quarter" idx="14"/>
          </p:nvPr>
        </p:nvSpPr>
        <p:spPr>
          <a:xfrm>
            <a:off x="6399213" y="1830388"/>
            <a:ext cx="4967287" cy="4191000"/>
          </a:xfrm>
        </p:spPr>
        <p:txBody>
          <a:bodyPr/>
          <a:lstStyle/>
          <a:p>
            <a:endParaRPr lang="en-GB"/>
          </a:p>
        </p:txBody>
      </p:sp>
      <p:sp>
        <p:nvSpPr>
          <p:cNvPr id="4" name="Footer Placeholder 3">
            <a:extLst>
              <a:ext uri="{FF2B5EF4-FFF2-40B4-BE49-F238E27FC236}">
                <a16:creationId xmlns:a16="http://schemas.microsoft.com/office/drawing/2014/main" id="{E8665D8F-5853-4213-A499-47CFC77993BB}"/>
              </a:ext>
            </a:extLst>
          </p:cNvPr>
          <p:cNvSpPr>
            <a:spLocks noGrp="1"/>
          </p:cNvSpPr>
          <p:nvPr>
            <p:ph type="ftr" sz="quarter" idx="15"/>
          </p:nvPr>
        </p:nvSpPr>
        <p:spPr/>
        <p:txBody>
          <a:bodyPr/>
          <a:lstStyle>
            <a:lvl1pPr eaLnBrk="1">
              <a:defRPr/>
            </a:lvl1pPr>
          </a:lstStyle>
          <a:p>
            <a:endParaRPr lang="en-GB" dirty="0"/>
          </a:p>
        </p:txBody>
      </p:sp>
      <p:sp>
        <p:nvSpPr>
          <p:cNvPr id="11" name="Slide Number Placeholder 10">
            <a:extLst>
              <a:ext uri="{FF2B5EF4-FFF2-40B4-BE49-F238E27FC236}">
                <a16:creationId xmlns:a16="http://schemas.microsoft.com/office/drawing/2014/main" id="{F368E036-9C4C-4396-9444-5A589716F385}"/>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78931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ntent with Sub head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1222708046"/>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a:xfrm>
            <a:off x="829237" y="577216"/>
            <a:ext cx="4963552" cy="907097"/>
          </a:xfrm>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7" y="1836492"/>
            <a:ext cx="4968240"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7" y="2241549"/>
            <a:ext cx="4968240"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11" name="Picture Placeholder 2">
            <a:extLst>
              <a:ext uri="{FF2B5EF4-FFF2-40B4-BE49-F238E27FC236}">
                <a16:creationId xmlns:a16="http://schemas.microsoft.com/office/drawing/2014/main" id="{7C1D5F55-2691-47AF-8B04-7C6A7A77DC97}"/>
              </a:ext>
            </a:extLst>
          </p:cNvPr>
          <p:cNvSpPr>
            <a:spLocks noGrp="1"/>
          </p:cNvSpPr>
          <p:nvPr>
            <p:ph type="pic" sz="quarter" idx="14"/>
          </p:nvPr>
        </p:nvSpPr>
        <p:spPr>
          <a:xfrm>
            <a:off x="6399213" y="3175"/>
            <a:ext cx="5792787" cy="6854825"/>
          </a:xfrm>
        </p:spPr>
        <p:txBody>
          <a:bodyPr/>
          <a:lstStyle>
            <a:lvl1pPr marL="342900" indent="-342900">
              <a:buFont typeface="Arial" panose="020B0604020202020204" pitchFamily="34" charset="0"/>
              <a:buChar char="•"/>
              <a:defRPr/>
            </a:lvl1pPr>
          </a:lstStyle>
          <a:p>
            <a:endParaRPr lang="en-GB"/>
          </a:p>
        </p:txBody>
      </p:sp>
      <p:sp>
        <p:nvSpPr>
          <p:cNvPr id="2" name="Footer Placeholder 1">
            <a:extLst>
              <a:ext uri="{FF2B5EF4-FFF2-40B4-BE49-F238E27FC236}">
                <a16:creationId xmlns:a16="http://schemas.microsoft.com/office/drawing/2014/main" id="{F0370756-D056-4567-AAA8-F01FC46FB962}"/>
              </a:ext>
            </a:extLst>
          </p:cNvPr>
          <p:cNvSpPr>
            <a:spLocks noGrp="1"/>
          </p:cNvSpPr>
          <p:nvPr>
            <p:ph type="ftr" sz="quarter" idx="15"/>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D8636BE3-5129-43BD-8534-2B1949CCA07A}"/>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392880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41198B-7822-4395-9D3F-40CE6DC016BC}"/>
              </a:ext>
            </a:extLst>
          </p:cNvPr>
          <p:cNvGraphicFramePr>
            <a:graphicFrameLocks noChangeAspect="1"/>
          </p:cNvGraphicFramePr>
          <p:nvPr userDrawn="1">
            <p:custDataLst>
              <p:tags r:id="rId1"/>
            </p:custDataLst>
            <p:extLst>
              <p:ext uri="{D42A27DB-BD31-4B8C-83A1-F6EECF244321}">
                <p14:modId xmlns:p14="http://schemas.microsoft.com/office/powerpoint/2010/main" val="3757727463"/>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C041198B-7822-4395-9D3F-40CE6DC016BC}"/>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BB9E0B-F9DD-4869-B2C0-64A92559BA9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noProof="0" dirty="0"/>
              <a:t>Click to edit Master title style</a:t>
            </a:r>
          </a:p>
        </p:txBody>
      </p:sp>
      <p:sp>
        <p:nvSpPr>
          <p:cNvPr id="7" name="Footer Placeholder 6">
            <a:extLst>
              <a:ext uri="{FF2B5EF4-FFF2-40B4-BE49-F238E27FC236}">
                <a16:creationId xmlns:a16="http://schemas.microsoft.com/office/drawing/2014/main" id="{0E5C3AB9-69FD-4C4F-8D38-537257DD2FCD}"/>
              </a:ext>
            </a:extLst>
          </p:cNvPr>
          <p:cNvSpPr>
            <a:spLocks noGrp="1"/>
          </p:cNvSpPr>
          <p:nvPr>
            <p:ph type="ftr" sz="quarter" idx="10"/>
          </p:nvPr>
        </p:nvSpPr>
        <p:spPr/>
        <p:txBody>
          <a:bodyPr/>
          <a:lstStyle>
            <a:lvl1pPr eaLnBrk="1">
              <a:defRPr/>
            </a:lvl1pPr>
          </a:lstStyle>
          <a:p>
            <a:endParaRPr lang="en-GB" dirty="0"/>
          </a:p>
        </p:txBody>
      </p:sp>
      <p:sp>
        <p:nvSpPr>
          <p:cNvPr id="8" name="Slide Number Placeholder 7">
            <a:extLst>
              <a:ext uri="{FF2B5EF4-FFF2-40B4-BE49-F238E27FC236}">
                <a16:creationId xmlns:a16="http://schemas.microsoft.com/office/drawing/2014/main" id="{FD9BB4E4-A757-4FA8-BD51-8A76F8814BE4}"/>
              </a:ext>
            </a:extLst>
          </p:cNvPr>
          <p:cNvSpPr>
            <a:spLocks noGrp="1"/>
          </p:cNvSpPr>
          <p:nvPr>
            <p:ph type="sldNum" sz="quarter" idx="11"/>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13522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Blu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41198B-7822-4395-9D3F-40CE6DC016BC}"/>
              </a:ext>
            </a:extLst>
          </p:cNvPr>
          <p:cNvGraphicFramePr>
            <a:graphicFrameLocks noChangeAspect="1"/>
          </p:cNvGraphicFramePr>
          <p:nvPr userDrawn="1">
            <p:custDataLst>
              <p:tags r:id="rId1"/>
            </p:custDataLst>
            <p:extLst>
              <p:ext uri="{D42A27DB-BD31-4B8C-83A1-F6EECF244321}">
                <p14:modId xmlns:p14="http://schemas.microsoft.com/office/powerpoint/2010/main" val="136937374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C041198B-7822-4395-9D3F-40CE6DC016BC}"/>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BB9E0B-F9DD-4869-B2C0-64A92559BA9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EE5BA2E3-82B7-4C36-9767-793A81D6BD3A}"/>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2" name="Title 1"/>
          <p:cNvSpPr>
            <a:spLocks noGrp="1"/>
          </p:cNvSpPr>
          <p:nvPr>
            <p:ph type="title"/>
          </p:nvPr>
        </p:nvSpPr>
        <p:spPr/>
        <p:txBody>
          <a:bodyPr/>
          <a:lstStyle>
            <a:lvl1pPr>
              <a:defRPr>
                <a:solidFill>
                  <a:schemeClr val="tx2"/>
                </a:solidFill>
              </a:defRPr>
            </a:lvl1pPr>
          </a:lstStyle>
          <a:p>
            <a:r>
              <a:rPr lang="en-GB" noProof="0" dirty="0"/>
              <a:t>Click to edit Master title style</a:t>
            </a:r>
          </a:p>
        </p:txBody>
      </p:sp>
      <p:sp>
        <p:nvSpPr>
          <p:cNvPr id="8" name="Footer Placeholder 7">
            <a:extLst>
              <a:ext uri="{FF2B5EF4-FFF2-40B4-BE49-F238E27FC236}">
                <a16:creationId xmlns:a16="http://schemas.microsoft.com/office/drawing/2014/main" id="{7C2378D1-8F5C-4092-8710-DD705A3E84A3}"/>
              </a:ext>
            </a:extLst>
          </p:cNvPr>
          <p:cNvSpPr>
            <a:spLocks noGrp="1"/>
          </p:cNvSpPr>
          <p:nvPr>
            <p:ph type="ftr" sz="quarter" idx="10"/>
          </p:nvPr>
        </p:nvSpPr>
        <p:spPr/>
        <p:txBody>
          <a:bodyPr/>
          <a:lstStyle>
            <a:lvl1pPr eaLnBrk="1">
              <a:defRPr/>
            </a:lvl1pPr>
          </a:lstStyle>
          <a:p>
            <a:endParaRPr lang="en-GB" dirty="0"/>
          </a:p>
        </p:txBody>
      </p:sp>
      <p:sp>
        <p:nvSpPr>
          <p:cNvPr id="9" name="Slide Number Placeholder 8">
            <a:extLst>
              <a:ext uri="{FF2B5EF4-FFF2-40B4-BE49-F238E27FC236}">
                <a16:creationId xmlns:a16="http://schemas.microsoft.com/office/drawing/2014/main" id="{965B8A1A-F1D3-443F-B5D4-76D5F0DBDD7E}"/>
              </a:ext>
            </a:extLst>
          </p:cNvPr>
          <p:cNvSpPr>
            <a:spLocks noGrp="1"/>
          </p:cNvSpPr>
          <p:nvPr>
            <p:ph type="sldNum" sz="quarter" idx="11"/>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20297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A702FF-1FBA-4017-9DB9-C02D09C91C0B}"/>
              </a:ext>
            </a:extLst>
          </p:cNvPr>
          <p:cNvGraphicFramePr>
            <a:graphicFrameLocks noChangeAspect="1"/>
          </p:cNvGraphicFramePr>
          <p:nvPr userDrawn="1">
            <p:custDataLst>
              <p:tags r:id="rId1"/>
            </p:custDataLst>
            <p:extLst>
              <p:ext uri="{D42A27DB-BD31-4B8C-83A1-F6EECF244321}">
                <p14:modId xmlns:p14="http://schemas.microsoft.com/office/powerpoint/2010/main" val="14762400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a:extLst>
                          <a:ext uri="{FF2B5EF4-FFF2-40B4-BE49-F238E27FC236}">
                            <a16:creationId xmlns:a16="http://schemas.microsoft.com/office/drawing/2014/main" id="{91A702FF-1FBA-4017-9DB9-C02D09C91C0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3A72EFE-A939-4314-9B37-CFBB34A6B585}"/>
              </a:ext>
            </a:extLst>
          </p:cNvPr>
          <p:cNvSpPr>
            <a:spLocks noGrp="1"/>
          </p:cNvSpPr>
          <p:nvPr>
            <p:ph type="ftr" sz="quarter" idx="10"/>
          </p:nvPr>
        </p:nvSpPr>
        <p:spPr/>
        <p:txBody>
          <a:bodyPr/>
          <a:lstStyle>
            <a:lvl1pPr eaLnBrk="1">
              <a:defRPr/>
            </a:lvl1pPr>
          </a:lstStyle>
          <a:p>
            <a:endParaRPr lang="en-GB" dirty="0"/>
          </a:p>
        </p:txBody>
      </p:sp>
      <p:sp>
        <p:nvSpPr>
          <p:cNvPr id="6" name="Slide Number Placeholder 5">
            <a:extLst>
              <a:ext uri="{FF2B5EF4-FFF2-40B4-BE49-F238E27FC236}">
                <a16:creationId xmlns:a16="http://schemas.microsoft.com/office/drawing/2014/main" id="{A86CF783-739F-44F7-AB7E-B1400EF40E4B}"/>
              </a:ext>
            </a:extLst>
          </p:cNvPr>
          <p:cNvSpPr>
            <a:spLocks noGrp="1"/>
          </p:cNvSpPr>
          <p:nvPr>
            <p:ph type="sldNum" sz="quarter" idx="11"/>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31191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0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C70547-57E7-43AE-8B74-42412D44DC04}"/>
              </a:ext>
            </a:extLst>
          </p:cNvPr>
          <p:cNvGraphicFramePr>
            <a:graphicFrameLocks noChangeAspect="1"/>
          </p:cNvGraphicFramePr>
          <p:nvPr userDrawn="1">
            <p:custDataLst>
              <p:tags r:id="rId1"/>
            </p:custDataLst>
            <p:extLst>
              <p:ext uri="{D42A27DB-BD31-4B8C-83A1-F6EECF244321}">
                <p14:modId xmlns:p14="http://schemas.microsoft.com/office/powerpoint/2010/main" val="97239867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A1C70547-57E7-43AE-8B74-42412D44DC0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Picture Placeholder 6"/>
          <p:cNvSpPr>
            <a:spLocks noGrp="1"/>
          </p:cNvSpPr>
          <p:nvPr>
            <p:ph type="pic" sz="quarter" idx="13"/>
          </p:nvPr>
        </p:nvSpPr>
        <p:spPr>
          <a:xfrm>
            <a:off x="0" y="21"/>
            <a:ext cx="12192000" cy="6179819"/>
          </a:xfrm>
        </p:spPr>
        <p:txBody>
          <a:bodyPr/>
          <a:lstStyle/>
          <a:p>
            <a:r>
              <a:rPr lang="en-GB" noProof="0" dirty="0"/>
              <a:t>Click icon to add picture</a:t>
            </a:r>
          </a:p>
        </p:txBody>
      </p:sp>
      <p:sp>
        <p:nvSpPr>
          <p:cNvPr id="2" name="Footer Placeholder 1">
            <a:extLst>
              <a:ext uri="{FF2B5EF4-FFF2-40B4-BE49-F238E27FC236}">
                <a16:creationId xmlns:a16="http://schemas.microsoft.com/office/drawing/2014/main" id="{2EBD1446-BADE-496E-A120-409A271657F5}"/>
              </a:ext>
            </a:extLst>
          </p:cNvPr>
          <p:cNvSpPr>
            <a:spLocks noGrp="1"/>
          </p:cNvSpPr>
          <p:nvPr>
            <p:ph type="ftr" sz="quarter" idx="14"/>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52841E6B-1A10-4CB5-A9B6-2036ABE3C138}"/>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101924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cture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C70547-57E7-43AE-8B74-42412D44DC04}"/>
              </a:ext>
            </a:extLst>
          </p:cNvPr>
          <p:cNvGraphicFramePr>
            <a:graphicFrameLocks noChangeAspect="1"/>
          </p:cNvGraphicFramePr>
          <p:nvPr userDrawn="1">
            <p:custDataLst>
              <p:tags r:id="rId1"/>
            </p:custDataLst>
            <p:extLst>
              <p:ext uri="{D42A27DB-BD31-4B8C-83A1-F6EECF244321}">
                <p14:modId xmlns:p14="http://schemas.microsoft.com/office/powerpoint/2010/main" val="10922602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A1C70547-57E7-43AE-8B74-42412D44DC0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Picture Placeholder 6"/>
          <p:cNvSpPr>
            <a:spLocks noGrp="1"/>
          </p:cNvSpPr>
          <p:nvPr>
            <p:ph type="pic" sz="quarter" idx="13"/>
          </p:nvPr>
        </p:nvSpPr>
        <p:spPr>
          <a:xfrm>
            <a:off x="0" y="21"/>
            <a:ext cx="12192000" cy="6857979"/>
          </a:xfrm>
        </p:spPr>
        <p:txBody>
          <a:bodyPr/>
          <a:lstStyle/>
          <a:p>
            <a:r>
              <a:rPr lang="en-GB" noProof="0" dirty="0"/>
              <a:t>Click icon to add picture</a:t>
            </a:r>
          </a:p>
        </p:txBody>
      </p:sp>
      <p:sp>
        <p:nvSpPr>
          <p:cNvPr id="2" name="Footer Placeholder 1">
            <a:extLst>
              <a:ext uri="{FF2B5EF4-FFF2-40B4-BE49-F238E27FC236}">
                <a16:creationId xmlns:a16="http://schemas.microsoft.com/office/drawing/2014/main" id="{2EBD1446-BADE-496E-A120-409A271657F5}"/>
              </a:ext>
            </a:extLst>
          </p:cNvPr>
          <p:cNvSpPr>
            <a:spLocks noGrp="1"/>
          </p:cNvSpPr>
          <p:nvPr>
            <p:ph type="ftr" sz="quarter" idx="14"/>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52841E6B-1A10-4CB5-A9B6-2036ABE3C138}"/>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405917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8557404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ntent Placeholder 10">
            <a:extLst>
              <a:ext uri="{FF2B5EF4-FFF2-40B4-BE49-F238E27FC236}">
                <a16:creationId xmlns:a16="http://schemas.microsoft.com/office/drawing/2014/main" id="{ED6846DB-97DE-4779-AAF7-AC1F34F0DE6D}"/>
              </a:ext>
            </a:extLst>
          </p:cNvPr>
          <p:cNvSpPr>
            <a:spLocks noGrp="1"/>
          </p:cNvSpPr>
          <p:nvPr>
            <p:ph sz="quarter" idx="13" hasCustomPrompt="1"/>
          </p:nvPr>
        </p:nvSpPr>
        <p:spPr>
          <a:xfrm>
            <a:off x="824867" y="1830707"/>
            <a:ext cx="4968240" cy="4191000"/>
          </a:xfrm>
        </p:spPr>
        <p:txBody>
          <a:bodyPr/>
          <a:lstStyle>
            <a:lvl1pPr marL="2057400" marR="0" indent="-2057400" algn="l" defTabSz="548610" rtl="0" eaLnBrk="1" fontAlgn="auto" latinLnBrk="0" hangingPunct="1">
              <a:lnSpc>
                <a:spcPct val="100000"/>
              </a:lnSpc>
              <a:spcBef>
                <a:spcPts val="1200"/>
              </a:spcBef>
              <a:spcAft>
                <a:spcPts val="0"/>
              </a:spcAft>
              <a:buClr>
                <a:schemeClr val="accent1"/>
              </a:buClr>
              <a:buSzPct val="120000"/>
              <a:buFont typeface="Arial" panose="020B0604020202020204" pitchFamily="34" charset="0"/>
              <a:buNone/>
              <a:tabLst/>
              <a:defRPr/>
            </a:lvl1pPr>
            <a:lvl2pPr marL="236212" indent="0">
              <a:buNone/>
              <a:defRPr/>
            </a:lvl2pPr>
            <a:lvl3pPr marL="496872" indent="0">
              <a:buNone/>
              <a:defRPr/>
            </a:lvl3pPr>
          </a:lstStyle>
          <a:p>
            <a:pPr lvl="0"/>
            <a:r>
              <a:rPr lang="en-GB" dirty="0"/>
              <a:t>00.00 – 00.00	Part one</a:t>
            </a:r>
          </a:p>
        </p:txBody>
      </p:sp>
      <p:sp>
        <p:nvSpPr>
          <p:cNvPr id="3" name="Picture Placeholder 2">
            <a:extLst>
              <a:ext uri="{FF2B5EF4-FFF2-40B4-BE49-F238E27FC236}">
                <a16:creationId xmlns:a16="http://schemas.microsoft.com/office/drawing/2014/main" id="{9C8A05AB-16D4-4417-A29E-1217E774BADB}"/>
              </a:ext>
            </a:extLst>
          </p:cNvPr>
          <p:cNvSpPr>
            <a:spLocks noGrp="1"/>
          </p:cNvSpPr>
          <p:nvPr>
            <p:ph type="pic" sz="quarter" idx="14"/>
          </p:nvPr>
        </p:nvSpPr>
        <p:spPr>
          <a:xfrm>
            <a:off x="6399213" y="3175"/>
            <a:ext cx="5792787" cy="6854825"/>
          </a:xfrm>
        </p:spPr>
        <p:txBody>
          <a:bodyPr/>
          <a:lstStyle/>
          <a:p>
            <a:endParaRPr lang="en-GB"/>
          </a:p>
        </p:txBody>
      </p:sp>
      <p:sp>
        <p:nvSpPr>
          <p:cNvPr id="4" name="Title 3">
            <a:extLst>
              <a:ext uri="{FF2B5EF4-FFF2-40B4-BE49-F238E27FC236}">
                <a16:creationId xmlns:a16="http://schemas.microsoft.com/office/drawing/2014/main" id="{483B4242-62B9-435B-86D3-DEEA7ACF2CFA}"/>
              </a:ext>
            </a:extLst>
          </p:cNvPr>
          <p:cNvSpPr>
            <a:spLocks noGrp="1"/>
          </p:cNvSpPr>
          <p:nvPr>
            <p:ph type="title" hasCustomPrompt="1"/>
          </p:nvPr>
        </p:nvSpPr>
        <p:spPr>
          <a:xfrm>
            <a:off x="829237" y="577216"/>
            <a:ext cx="4963552" cy="907097"/>
          </a:xfrm>
        </p:spPr>
        <p:txBody>
          <a:bodyPr/>
          <a:lstStyle>
            <a:lvl1pPr>
              <a:defRPr/>
            </a:lvl1pPr>
          </a:lstStyle>
          <a:p>
            <a:r>
              <a:rPr lang="en-GB" dirty="0"/>
              <a:t>Agenda</a:t>
            </a:r>
          </a:p>
        </p:txBody>
      </p:sp>
      <p:sp>
        <p:nvSpPr>
          <p:cNvPr id="10" name="Footer Placeholder 9">
            <a:extLst>
              <a:ext uri="{FF2B5EF4-FFF2-40B4-BE49-F238E27FC236}">
                <a16:creationId xmlns:a16="http://schemas.microsoft.com/office/drawing/2014/main" id="{3ABC70E0-D795-488D-8AC2-298449E2BE52}"/>
              </a:ext>
            </a:extLst>
          </p:cNvPr>
          <p:cNvSpPr>
            <a:spLocks noGrp="1"/>
          </p:cNvSpPr>
          <p:nvPr>
            <p:ph type="ftr" sz="quarter" idx="15"/>
          </p:nvPr>
        </p:nvSpPr>
        <p:spPr/>
        <p:txBody>
          <a:bodyPr/>
          <a:lstStyle>
            <a:lvl1pPr eaLnBrk="1">
              <a:defRPr/>
            </a:lvl1pPr>
          </a:lstStyle>
          <a:p>
            <a:endParaRPr lang="en-GB" dirty="0"/>
          </a:p>
        </p:txBody>
      </p:sp>
      <p:sp>
        <p:nvSpPr>
          <p:cNvPr id="12" name="Slide Number Placeholder 11">
            <a:extLst>
              <a:ext uri="{FF2B5EF4-FFF2-40B4-BE49-F238E27FC236}">
                <a16:creationId xmlns:a16="http://schemas.microsoft.com/office/drawing/2014/main" id="{F5E9F28C-9388-465B-9107-6F50B2EE6BEA}"/>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84519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403DDC-E99F-4F5C-9DB8-4CB79AB575B7}"/>
              </a:ext>
            </a:extLst>
          </p:cNvPr>
          <p:cNvGraphicFramePr>
            <a:graphicFrameLocks noChangeAspect="1"/>
          </p:cNvGraphicFramePr>
          <p:nvPr userDrawn="1">
            <p:custDataLst>
              <p:tags r:id="rId1"/>
            </p:custDataLst>
            <p:extLst>
              <p:ext uri="{D42A27DB-BD31-4B8C-83A1-F6EECF244321}">
                <p14:modId xmlns:p14="http://schemas.microsoft.com/office/powerpoint/2010/main" val="1647028451"/>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56403DDC-E99F-4F5C-9DB8-4CB79AB575B7}"/>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3F600FB-64F8-427B-971C-CADB5FAA6340}"/>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35D5D76E-3B21-4346-8387-3ECEA55A7AF8}"/>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10" name="Text Placeholder 4"/>
          <p:cNvSpPr>
            <a:spLocks noGrp="1"/>
          </p:cNvSpPr>
          <p:nvPr>
            <p:ph type="body" sz="quarter" idx="10"/>
          </p:nvPr>
        </p:nvSpPr>
        <p:spPr>
          <a:xfrm>
            <a:off x="825499" y="2753429"/>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26" name="Text Placeholder 4">
            <a:extLst>
              <a:ext uri="{FF2B5EF4-FFF2-40B4-BE49-F238E27FC236}">
                <a16:creationId xmlns:a16="http://schemas.microsoft.com/office/drawing/2014/main" id="{DFBA4834-1B47-48FA-B341-B048E3128FB1}"/>
              </a:ext>
            </a:extLst>
          </p:cNvPr>
          <p:cNvSpPr>
            <a:spLocks noGrp="1"/>
          </p:cNvSpPr>
          <p:nvPr>
            <p:ph type="body" sz="quarter" idx="19"/>
          </p:nvPr>
        </p:nvSpPr>
        <p:spPr>
          <a:xfrm>
            <a:off x="825499" y="4822697"/>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29" name="Text Placeholder 4">
            <a:extLst>
              <a:ext uri="{FF2B5EF4-FFF2-40B4-BE49-F238E27FC236}">
                <a16:creationId xmlns:a16="http://schemas.microsoft.com/office/drawing/2014/main" id="{CD3F43B7-3974-4835-A8E9-FAB67672FBBA}"/>
              </a:ext>
            </a:extLst>
          </p:cNvPr>
          <p:cNvSpPr>
            <a:spLocks noGrp="1"/>
          </p:cNvSpPr>
          <p:nvPr>
            <p:ph type="body" sz="quarter" idx="21"/>
          </p:nvPr>
        </p:nvSpPr>
        <p:spPr>
          <a:xfrm>
            <a:off x="4775298" y="2755017"/>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32" name="Text Placeholder 4">
            <a:extLst>
              <a:ext uri="{FF2B5EF4-FFF2-40B4-BE49-F238E27FC236}">
                <a16:creationId xmlns:a16="http://schemas.microsoft.com/office/drawing/2014/main" id="{C0D2E8FF-F2DE-4D53-A047-6387A7131458}"/>
              </a:ext>
            </a:extLst>
          </p:cNvPr>
          <p:cNvSpPr>
            <a:spLocks noGrp="1"/>
          </p:cNvSpPr>
          <p:nvPr>
            <p:ph type="body" sz="quarter" idx="23"/>
          </p:nvPr>
        </p:nvSpPr>
        <p:spPr>
          <a:xfrm>
            <a:off x="4775298" y="4824285"/>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35" name="Text Placeholder 4">
            <a:extLst>
              <a:ext uri="{FF2B5EF4-FFF2-40B4-BE49-F238E27FC236}">
                <a16:creationId xmlns:a16="http://schemas.microsoft.com/office/drawing/2014/main" id="{A89F8303-B8B6-4740-9407-07CFA2BE5364}"/>
              </a:ext>
            </a:extLst>
          </p:cNvPr>
          <p:cNvSpPr>
            <a:spLocks noGrp="1"/>
          </p:cNvSpPr>
          <p:nvPr>
            <p:ph type="body" sz="quarter" idx="25"/>
          </p:nvPr>
        </p:nvSpPr>
        <p:spPr>
          <a:xfrm>
            <a:off x="8725097" y="2753429"/>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38" name="Text Placeholder 4">
            <a:extLst>
              <a:ext uri="{FF2B5EF4-FFF2-40B4-BE49-F238E27FC236}">
                <a16:creationId xmlns:a16="http://schemas.microsoft.com/office/drawing/2014/main" id="{65FBF798-2395-4DEA-893B-0A69A9C4E01A}"/>
              </a:ext>
            </a:extLst>
          </p:cNvPr>
          <p:cNvSpPr>
            <a:spLocks noGrp="1"/>
          </p:cNvSpPr>
          <p:nvPr>
            <p:ph type="body" sz="quarter" idx="27"/>
          </p:nvPr>
        </p:nvSpPr>
        <p:spPr>
          <a:xfrm>
            <a:off x="8725097" y="4822697"/>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4" name="Title 3">
            <a:extLst>
              <a:ext uri="{FF2B5EF4-FFF2-40B4-BE49-F238E27FC236}">
                <a16:creationId xmlns:a16="http://schemas.microsoft.com/office/drawing/2014/main" id="{863D80F3-4A3C-487A-BDD1-1179B87AD895}"/>
              </a:ext>
            </a:extLst>
          </p:cNvPr>
          <p:cNvSpPr>
            <a:spLocks noGrp="1"/>
          </p:cNvSpPr>
          <p:nvPr>
            <p:ph type="title"/>
          </p:nvPr>
        </p:nvSpPr>
        <p:spPr/>
        <p:txBody>
          <a:bodyPr/>
          <a:lstStyle>
            <a:lvl1pPr>
              <a:defRPr>
                <a:solidFill>
                  <a:schemeClr val="tx2"/>
                </a:solidFill>
              </a:defRPr>
            </a:lvl1pPr>
          </a:lstStyle>
          <a:p>
            <a:r>
              <a:rPr lang="en-GB" dirty="0"/>
              <a:t>Click to edit Master title style</a:t>
            </a:r>
          </a:p>
        </p:txBody>
      </p:sp>
      <p:sp>
        <p:nvSpPr>
          <p:cNvPr id="7" name="Footer Placeholder 6">
            <a:extLst>
              <a:ext uri="{FF2B5EF4-FFF2-40B4-BE49-F238E27FC236}">
                <a16:creationId xmlns:a16="http://schemas.microsoft.com/office/drawing/2014/main" id="{CAC487C7-5173-42A6-959E-EA91A12A5B8D}"/>
              </a:ext>
            </a:extLst>
          </p:cNvPr>
          <p:cNvSpPr>
            <a:spLocks noGrp="1"/>
          </p:cNvSpPr>
          <p:nvPr>
            <p:ph type="ftr" sz="quarter" idx="29"/>
          </p:nvPr>
        </p:nvSpPr>
        <p:spPr/>
        <p:txBody>
          <a:bodyPr/>
          <a:lstStyle>
            <a:lvl1pPr eaLnBrk="1">
              <a:defRPr/>
            </a:lvl1pPr>
          </a:lstStyle>
          <a:p>
            <a:endParaRPr lang="en-GB" dirty="0"/>
          </a:p>
        </p:txBody>
      </p:sp>
      <p:sp>
        <p:nvSpPr>
          <p:cNvPr id="8" name="Slide Number Placeholder 7">
            <a:extLst>
              <a:ext uri="{FF2B5EF4-FFF2-40B4-BE49-F238E27FC236}">
                <a16:creationId xmlns:a16="http://schemas.microsoft.com/office/drawing/2014/main" id="{67EDB19D-C3B2-48FD-864B-FA498F61F2C3}"/>
              </a:ext>
            </a:extLst>
          </p:cNvPr>
          <p:cNvSpPr>
            <a:spLocks noGrp="1"/>
          </p:cNvSpPr>
          <p:nvPr>
            <p:ph type="sldNum" sz="quarter" idx="30"/>
          </p:nvPr>
        </p:nvSpPr>
        <p:spPr/>
        <p:txBody>
          <a:bodyPr/>
          <a:lstStyle/>
          <a:p>
            <a:fld id="{5B2ACB19-C0E1-7345-B8BA-15A723BE30E5}" type="slidenum">
              <a:rPr lang="en-GB" smtClean="0"/>
              <a:pPr/>
              <a:t>‹#›</a:t>
            </a:fld>
            <a:endParaRPr lang="en-GB" dirty="0"/>
          </a:p>
        </p:txBody>
      </p:sp>
      <p:sp>
        <p:nvSpPr>
          <p:cNvPr id="42" name="Plassholder for tekst 13">
            <a:extLst>
              <a:ext uri="{FF2B5EF4-FFF2-40B4-BE49-F238E27FC236}">
                <a16:creationId xmlns:a16="http://schemas.microsoft.com/office/drawing/2014/main" id="{5B1FC8BA-51AF-415E-A4F8-0349DAF4E4A3}"/>
              </a:ext>
            </a:extLst>
          </p:cNvPr>
          <p:cNvSpPr>
            <a:spLocks noGrp="1"/>
          </p:cNvSpPr>
          <p:nvPr>
            <p:ph type="body" sz="quarter" idx="31" hasCustomPrompt="1"/>
          </p:nvPr>
        </p:nvSpPr>
        <p:spPr>
          <a:xfrm>
            <a:off x="4775298" y="1830389"/>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3" name="Plassholder for tekst 13">
            <a:extLst>
              <a:ext uri="{FF2B5EF4-FFF2-40B4-BE49-F238E27FC236}">
                <a16:creationId xmlns:a16="http://schemas.microsoft.com/office/drawing/2014/main" id="{C79AF395-5DA0-43BE-964A-9D760C68CFD2}"/>
              </a:ext>
            </a:extLst>
          </p:cNvPr>
          <p:cNvSpPr>
            <a:spLocks noGrp="1"/>
          </p:cNvSpPr>
          <p:nvPr>
            <p:ph type="body" sz="quarter" idx="32" hasCustomPrompt="1"/>
          </p:nvPr>
        </p:nvSpPr>
        <p:spPr>
          <a:xfrm>
            <a:off x="829236" y="1830389"/>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4" name="Plassholder for tekst 13">
            <a:extLst>
              <a:ext uri="{FF2B5EF4-FFF2-40B4-BE49-F238E27FC236}">
                <a16:creationId xmlns:a16="http://schemas.microsoft.com/office/drawing/2014/main" id="{6F856F4B-C1E9-4A7E-ADC8-9BF349BDF8A5}"/>
              </a:ext>
            </a:extLst>
          </p:cNvPr>
          <p:cNvSpPr>
            <a:spLocks noGrp="1"/>
          </p:cNvSpPr>
          <p:nvPr>
            <p:ph type="body" sz="quarter" idx="33" hasCustomPrompt="1"/>
          </p:nvPr>
        </p:nvSpPr>
        <p:spPr>
          <a:xfrm>
            <a:off x="8726500" y="1830389"/>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5" name="Plassholder for tekst 13">
            <a:extLst>
              <a:ext uri="{FF2B5EF4-FFF2-40B4-BE49-F238E27FC236}">
                <a16:creationId xmlns:a16="http://schemas.microsoft.com/office/drawing/2014/main" id="{1FAF68DD-F083-4112-AEE7-A6FF3667E235}"/>
              </a:ext>
            </a:extLst>
          </p:cNvPr>
          <p:cNvSpPr>
            <a:spLocks noGrp="1"/>
          </p:cNvSpPr>
          <p:nvPr>
            <p:ph type="body" sz="quarter" idx="34" hasCustomPrompt="1"/>
          </p:nvPr>
        </p:nvSpPr>
        <p:spPr>
          <a:xfrm>
            <a:off x="4776000" y="3898068"/>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6" name="Plassholder for tekst 13">
            <a:extLst>
              <a:ext uri="{FF2B5EF4-FFF2-40B4-BE49-F238E27FC236}">
                <a16:creationId xmlns:a16="http://schemas.microsoft.com/office/drawing/2014/main" id="{A3BE0F03-ED02-4E92-AF74-B8C0C2010E1C}"/>
              </a:ext>
            </a:extLst>
          </p:cNvPr>
          <p:cNvSpPr>
            <a:spLocks noGrp="1"/>
          </p:cNvSpPr>
          <p:nvPr>
            <p:ph type="body" sz="quarter" idx="35" hasCustomPrompt="1"/>
          </p:nvPr>
        </p:nvSpPr>
        <p:spPr>
          <a:xfrm>
            <a:off x="829938" y="3898068"/>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7" name="Plassholder for tekst 13">
            <a:extLst>
              <a:ext uri="{FF2B5EF4-FFF2-40B4-BE49-F238E27FC236}">
                <a16:creationId xmlns:a16="http://schemas.microsoft.com/office/drawing/2014/main" id="{56563C9C-49B1-46FC-BD14-AF22D17F3E9A}"/>
              </a:ext>
            </a:extLst>
          </p:cNvPr>
          <p:cNvSpPr>
            <a:spLocks noGrp="1"/>
          </p:cNvSpPr>
          <p:nvPr>
            <p:ph type="body" sz="quarter" idx="36" hasCustomPrompt="1"/>
          </p:nvPr>
        </p:nvSpPr>
        <p:spPr>
          <a:xfrm>
            <a:off x="8727202" y="3898068"/>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Tree>
    <p:extLst>
      <p:ext uri="{BB962C8B-B14F-4D97-AF65-F5344CB8AC3E}">
        <p14:creationId xmlns:p14="http://schemas.microsoft.com/office/powerpoint/2010/main" val="2351342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0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1306632764"/>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027498F8-B643-49CA-B711-9895BAAEF51D}"/>
              </a:ext>
            </a:extLst>
          </p:cNvPr>
          <p:cNvSpPr/>
          <p:nvPr userDrawn="1"/>
        </p:nvSpPr>
        <p:spPr>
          <a:xfrm>
            <a:off x="1235074" y="2"/>
            <a:ext cx="4860926" cy="4794781"/>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tx2"/>
                </a:solidFill>
              </a:defRPr>
            </a:lvl1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
        <p:nvSpPr>
          <p:cNvPr id="8" name="Subtitle 2">
            <a:extLst>
              <a:ext uri="{FF2B5EF4-FFF2-40B4-BE49-F238E27FC236}">
                <a16:creationId xmlns:a16="http://schemas.microsoft.com/office/drawing/2014/main" id="{5944DA81-A1C5-4AC7-A37D-7026E9D4025C}"/>
              </a:ext>
            </a:extLst>
          </p:cNvPr>
          <p:cNvSpPr>
            <a:spLocks noGrp="1"/>
          </p:cNvSpPr>
          <p:nvPr>
            <p:ph type="subTitle" idx="1"/>
          </p:nvPr>
        </p:nvSpPr>
        <p:spPr>
          <a:xfrm>
            <a:off x="1235074" y="4368356"/>
            <a:ext cx="4860926" cy="427979"/>
          </a:xfrm>
          <a:solidFill>
            <a:schemeClr val="accent2">
              <a:lumMod val="60000"/>
              <a:lumOff val="40000"/>
            </a:schemeClr>
          </a:solidFill>
        </p:spPr>
        <p:txBody>
          <a:bodyPr lIns="288000" rIns="288000" bIns="180000">
            <a:spAutoFit/>
          </a:bodyPr>
          <a:lstStyle>
            <a:lvl1pPr marL="0" indent="0" algn="l" eaLnBrk="1">
              <a:spcBef>
                <a:spcPts val="0"/>
              </a:spcBef>
              <a:buNone/>
              <a:defRPr sz="1600" cap="all" baseline="0">
                <a:solidFill>
                  <a:schemeClr val="tx2"/>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spTree>
    <p:extLst>
      <p:ext uri="{BB962C8B-B14F-4D97-AF65-F5344CB8AC3E}">
        <p14:creationId xmlns:p14="http://schemas.microsoft.com/office/powerpoint/2010/main" val="403906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2296399491"/>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F9A8087B-33BC-467D-9863-0D0966781CD6}"/>
              </a:ext>
            </a:extLst>
          </p:cNvPr>
          <p:cNvSpPr>
            <a:spLocks noGrp="1"/>
          </p:cNvSpPr>
          <p:nvPr>
            <p:ph type="pic" sz="quarter" idx="10"/>
          </p:nvPr>
        </p:nvSpPr>
        <p:spPr>
          <a:xfrm>
            <a:off x="0" y="0"/>
            <a:ext cx="12192000" cy="685800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solidFill>
            <a:schemeClr val="accent1"/>
          </a:solidFill>
        </p:spPr>
        <p:txBody>
          <a:bodyPr wrap="square" anchor="t">
            <a:noAutofit/>
          </a:bodyPr>
          <a:lstStyle>
            <a:lvl1pPr marL="342900" indent="-342900" algn="l">
              <a:buFont typeface="Arial" panose="020B0604020202020204" pitchFamily="34" charset="0"/>
              <a:buChar char="•"/>
              <a:defRPr/>
            </a:lvl1pPr>
          </a:lstStyle>
          <a:p>
            <a:endParaRPr lang="en-GB"/>
          </a:p>
        </p:txBody>
      </p:sp>
      <p:sp>
        <p:nvSpPr>
          <p:cNvPr id="23" name="Rectangle 22">
            <a:extLst>
              <a:ext uri="{FF2B5EF4-FFF2-40B4-BE49-F238E27FC236}">
                <a16:creationId xmlns:a16="http://schemas.microsoft.com/office/drawing/2014/main" id="{9C20C8F6-248D-4C3E-87B3-1E76EE1E9591}"/>
              </a:ext>
            </a:extLst>
          </p:cNvPr>
          <p:cNvSpPr/>
          <p:nvPr userDrawn="1"/>
        </p:nvSpPr>
        <p:spPr>
          <a:xfrm>
            <a:off x="1235074" y="2"/>
            <a:ext cx="4860926" cy="479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accent5"/>
                </a:solidFill>
              </a:defRPr>
            </a:lvl1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sp>
        <p:nvSpPr>
          <p:cNvPr id="22" name="Subtitle 2">
            <a:extLst>
              <a:ext uri="{FF2B5EF4-FFF2-40B4-BE49-F238E27FC236}">
                <a16:creationId xmlns:a16="http://schemas.microsoft.com/office/drawing/2014/main" id="{33F1287C-318B-4F40-9FF1-E19D09469A7B}"/>
              </a:ext>
            </a:extLst>
          </p:cNvPr>
          <p:cNvSpPr>
            <a:spLocks noGrp="1"/>
          </p:cNvSpPr>
          <p:nvPr>
            <p:ph type="subTitle" idx="1"/>
          </p:nvPr>
        </p:nvSpPr>
        <p:spPr>
          <a:xfrm>
            <a:off x="1235075" y="4368356"/>
            <a:ext cx="4860925" cy="427979"/>
          </a:xfrm>
          <a:solidFill>
            <a:schemeClr val="bg1"/>
          </a:solidFill>
        </p:spPr>
        <p:txBody>
          <a:bodyPr wrap="square" lIns="288000" rIns="288000" bIns="180000">
            <a:spAutoFit/>
          </a:bodyPr>
          <a:lstStyle>
            <a:lvl1pPr marL="0" indent="0" algn="l" eaLnBrk="1">
              <a:spcBef>
                <a:spcPts val="0"/>
              </a:spcBef>
              <a:buNone/>
              <a:defRPr sz="1600" cap="all" baseline="0">
                <a:solidFill>
                  <a:schemeClr val="accent5"/>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grpSp>
        <p:nvGrpSpPr>
          <p:cNvPr id="28" name="Group 27">
            <a:extLst>
              <a:ext uri="{FF2B5EF4-FFF2-40B4-BE49-F238E27FC236}">
                <a16:creationId xmlns:a16="http://schemas.microsoft.com/office/drawing/2014/main" id="{448B993E-BF37-4D48-AD6A-25908C6899FA}"/>
              </a:ext>
            </a:extLst>
          </p:cNvPr>
          <p:cNvGrpSpPr/>
          <p:nvPr userDrawn="1"/>
        </p:nvGrpSpPr>
        <p:grpSpPr>
          <a:xfrm>
            <a:off x="1533524" y="369094"/>
            <a:ext cx="2243139" cy="606869"/>
            <a:chOff x="1533524" y="369094"/>
            <a:chExt cx="2243139" cy="606869"/>
          </a:xfrm>
        </p:grpSpPr>
        <p:pic>
          <p:nvPicPr>
            <p:cNvPr id="29" name="Graphic 28">
              <a:extLst>
                <a:ext uri="{FF2B5EF4-FFF2-40B4-BE49-F238E27FC236}">
                  <a16:creationId xmlns:a16="http://schemas.microsoft.com/office/drawing/2014/main" id="{41D9DD3B-C3F8-4D09-9824-43A4FB97D0C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30" name="Picture 29">
              <a:extLst>
                <a:ext uri="{FF2B5EF4-FFF2-40B4-BE49-F238E27FC236}">
                  <a16:creationId xmlns:a16="http://schemas.microsoft.com/office/drawing/2014/main" id="{28A26939-CABE-4692-9903-32D6323ADF1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33524" y="369094"/>
              <a:ext cx="607220" cy="606869"/>
            </a:xfrm>
            <a:prstGeom prst="ellipse">
              <a:avLst/>
            </a:prstGeom>
            <a:ln w="63500" cap="rnd">
              <a:noFill/>
            </a:ln>
            <a:effectLst/>
          </p:spPr>
        </p:pic>
      </p:grpSp>
    </p:spTree>
    <p:extLst>
      <p:ext uri="{BB962C8B-B14F-4D97-AF65-F5344CB8AC3E}">
        <p14:creationId xmlns:p14="http://schemas.microsoft.com/office/powerpoint/2010/main" val="36982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hapter 02">
    <p:bg>
      <p:bgPr>
        <a:solidFill>
          <a:schemeClr val="accent2">
            <a:lumMod val="60000"/>
            <a:lumOff val="4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1939193795"/>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F9A8087B-33BC-467D-9863-0D0966781CD6}"/>
              </a:ext>
            </a:extLst>
          </p:cNvPr>
          <p:cNvSpPr>
            <a:spLocks noGrp="1"/>
          </p:cNvSpPr>
          <p:nvPr>
            <p:ph type="pic" sz="quarter" idx="10"/>
          </p:nvPr>
        </p:nvSpPr>
        <p:spPr>
          <a:xfrm>
            <a:off x="0" y="0"/>
            <a:ext cx="12192000" cy="685800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solidFill>
            <a:schemeClr val="bg1"/>
          </a:solidFill>
        </p:spPr>
        <p:txBody>
          <a:bodyPr wrap="square" anchor="t">
            <a:noAutofit/>
          </a:bodyPr>
          <a:lstStyle>
            <a:lvl1pPr marL="342900" indent="-342900" algn="l">
              <a:buFont typeface="Arial" panose="020B0604020202020204" pitchFamily="34" charset="0"/>
              <a:buChar char="•"/>
              <a:defRPr/>
            </a:lvl1pPr>
          </a:lstStyle>
          <a:p>
            <a:endParaRPr lang="en-GB"/>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tx2"/>
                </a:solidFill>
              </a:defRPr>
            </a:lvl1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
        <p:nvSpPr>
          <p:cNvPr id="8" name="Subtitle 2">
            <a:extLst>
              <a:ext uri="{FF2B5EF4-FFF2-40B4-BE49-F238E27FC236}">
                <a16:creationId xmlns:a16="http://schemas.microsoft.com/office/drawing/2014/main" id="{99E99776-DDA5-4531-9FAA-7E1F063C972D}"/>
              </a:ext>
            </a:extLst>
          </p:cNvPr>
          <p:cNvSpPr>
            <a:spLocks noGrp="1"/>
          </p:cNvSpPr>
          <p:nvPr>
            <p:ph type="subTitle" idx="1"/>
          </p:nvPr>
        </p:nvSpPr>
        <p:spPr>
          <a:xfrm>
            <a:off x="1235074" y="4368356"/>
            <a:ext cx="4860926" cy="427979"/>
          </a:xfrm>
          <a:solidFill>
            <a:schemeClr val="accent2">
              <a:lumMod val="60000"/>
              <a:lumOff val="40000"/>
            </a:schemeClr>
          </a:solidFill>
        </p:spPr>
        <p:txBody>
          <a:bodyPr lIns="288000" rIns="288000" bIns="180000">
            <a:spAutoFit/>
          </a:bodyPr>
          <a:lstStyle>
            <a:lvl1pPr marL="0" indent="0" algn="l" eaLnBrk="1">
              <a:spcBef>
                <a:spcPts val="0"/>
              </a:spcBef>
              <a:buNone/>
              <a:defRPr sz="1600" cap="all" baseline="0">
                <a:solidFill>
                  <a:schemeClr val="tx2"/>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spTree>
    <p:extLst>
      <p:ext uri="{BB962C8B-B14F-4D97-AF65-F5344CB8AC3E}">
        <p14:creationId xmlns:p14="http://schemas.microsoft.com/office/powerpoint/2010/main" val="226223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425057-A686-4E31-B8A1-F9DA3356ADF8}"/>
              </a:ext>
            </a:extLst>
          </p:cNvPr>
          <p:cNvGraphicFramePr>
            <a:graphicFrameLocks noChangeAspect="1"/>
          </p:cNvGraphicFramePr>
          <p:nvPr userDrawn="1">
            <p:custDataLst>
              <p:tags r:id="rId1"/>
            </p:custDataLst>
            <p:extLst>
              <p:ext uri="{D42A27DB-BD31-4B8C-83A1-F6EECF244321}">
                <p14:modId xmlns:p14="http://schemas.microsoft.com/office/powerpoint/2010/main" val="22865116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5A425057-A686-4E31-B8A1-F9DA3356ADF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0EACD11-8C82-4B33-9818-2E9B80C745F4}"/>
              </a:ext>
            </a:extLst>
          </p:cNvPr>
          <p:cNvSpPr/>
          <p:nvPr userDrawn="1"/>
        </p:nvSpPr>
        <p:spPr>
          <a:xfrm>
            <a:off x="0" y="0"/>
            <a:ext cx="6096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22" name="Text Placeholder 4">
            <a:extLst>
              <a:ext uri="{FF2B5EF4-FFF2-40B4-BE49-F238E27FC236}">
                <a16:creationId xmlns:a16="http://schemas.microsoft.com/office/drawing/2014/main" id="{A07FF22D-3C6C-48BB-8040-D34A9441D6EB}"/>
              </a:ext>
            </a:extLst>
          </p:cNvPr>
          <p:cNvSpPr>
            <a:spLocks noGrp="1"/>
          </p:cNvSpPr>
          <p:nvPr>
            <p:ph type="body" sz="quarter" idx="18"/>
          </p:nvPr>
        </p:nvSpPr>
        <p:spPr>
          <a:xfrm>
            <a:off x="1235076" y="1484313"/>
            <a:ext cx="3636962" cy="4127919"/>
          </a:xfrm>
          <a:blipFill dpi="0" rotWithShape="0">
            <a:blip r:embed="rId5">
              <a:extLst>
                <a:ext uri="{96DAC541-7B7A-43D3-8B79-37D633B846F1}">
                  <asvg:svgBlip xmlns:asvg="http://schemas.microsoft.com/office/drawing/2016/SVG/main" r:embed="rId6"/>
                </a:ext>
              </a:extLst>
            </a:blip>
            <a:srcRect/>
            <a:stretch>
              <a:fillRect t="-10000" b="98000"/>
            </a:stretch>
          </a:blipFill>
        </p:spPr>
        <p:txBody>
          <a:bodyPr lIns="0" tIns="288000" rIns="0" bIns="0">
            <a:noAutofit/>
          </a:bodyPr>
          <a:lstStyle>
            <a:lvl1pPr marL="0" indent="0" eaLnBrk="1">
              <a:lnSpc>
                <a:spcPct val="100000"/>
              </a:lnSpc>
              <a:buNone/>
              <a:defRPr sz="32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2" name="Footer Placeholder 1">
            <a:extLst>
              <a:ext uri="{FF2B5EF4-FFF2-40B4-BE49-F238E27FC236}">
                <a16:creationId xmlns:a16="http://schemas.microsoft.com/office/drawing/2014/main" id="{04C69016-ED83-4DA8-8515-95C6620C560B}"/>
              </a:ext>
            </a:extLst>
          </p:cNvPr>
          <p:cNvSpPr>
            <a:spLocks noGrp="1"/>
          </p:cNvSpPr>
          <p:nvPr>
            <p:ph type="ftr" sz="quarter" idx="19"/>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B841C938-DD81-4B48-A39A-291BD5BE17DF}"/>
              </a:ext>
            </a:extLst>
          </p:cNvPr>
          <p:cNvSpPr>
            <a:spLocks noGrp="1"/>
          </p:cNvSpPr>
          <p:nvPr>
            <p:ph type="sldNum" sz="quarter" idx="20"/>
          </p:nvPr>
        </p:nvSpPr>
        <p:spPr/>
        <p:txBody>
          <a:bodyPr/>
          <a:lstStyle/>
          <a:p>
            <a:fld id="{5B2ACB19-C0E1-7345-B8BA-15A723BE30E5}" type="slidenum">
              <a:rPr lang="en-GB" smtClean="0"/>
              <a:pPr/>
              <a:t>‹#›</a:t>
            </a:fld>
            <a:endParaRPr lang="en-GB" dirty="0"/>
          </a:p>
        </p:txBody>
      </p:sp>
      <p:sp>
        <p:nvSpPr>
          <p:cNvPr id="6" name="Picture Placeholder 5">
            <a:extLst>
              <a:ext uri="{FF2B5EF4-FFF2-40B4-BE49-F238E27FC236}">
                <a16:creationId xmlns:a16="http://schemas.microsoft.com/office/drawing/2014/main" id="{888CA222-7E26-47F7-846B-8C915D47E00A}"/>
              </a:ext>
            </a:extLst>
          </p:cNvPr>
          <p:cNvSpPr>
            <a:spLocks noGrp="1"/>
          </p:cNvSpPr>
          <p:nvPr>
            <p:ph type="pic" sz="quarter" idx="21"/>
          </p:nvPr>
        </p:nvSpPr>
        <p:spPr>
          <a:xfrm>
            <a:off x="6096000" y="0"/>
            <a:ext cx="6096000" cy="6140450"/>
          </a:xfrm>
        </p:spPr>
        <p:txBody>
          <a:bodyPr/>
          <a:lstStyle/>
          <a:p>
            <a:endParaRPr lang="en-GB"/>
          </a:p>
        </p:txBody>
      </p:sp>
    </p:spTree>
    <p:extLst>
      <p:ext uri="{BB962C8B-B14F-4D97-AF65-F5344CB8AC3E}">
        <p14:creationId xmlns:p14="http://schemas.microsoft.com/office/powerpoint/2010/main" val="1186165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78">
          <p15:clr>
            <a:srgbClr val="FBAE40"/>
          </p15:clr>
        </p15:guide>
        <p15:guide id="2" pos="3840" userDrawn="1">
          <p15:clr>
            <a:srgbClr val="FBAE40"/>
          </p15:clr>
        </p15:guide>
        <p15:guide id="3" pos="306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0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786349843"/>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14" name="Graphic 5">
            <a:extLst>
              <a:ext uri="{FF2B5EF4-FFF2-40B4-BE49-F238E27FC236}">
                <a16:creationId xmlns:a16="http://schemas.microsoft.com/office/drawing/2014/main" id="{3A45DB2C-420A-4A46-9176-30488C4A057E}"/>
              </a:ext>
            </a:extLst>
          </p:cNvPr>
          <p:cNvSpPr/>
          <p:nvPr/>
        </p:nvSpPr>
        <p:spPr>
          <a:xfrm>
            <a:off x="4926457" y="0"/>
            <a:ext cx="7265543" cy="6845276"/>
          </a:xfrm>
          <a:custGeom>
            <a:avLst/>
            <a:gdLst>
              <a:gd name="connsiteX0" fmla="*/ 2134621 w 7265542"/>
              <a:gd name="connsiteY0" fmla="*/ 6837897 h 6845276"/>
              <a:gd name="connsiteX1" fmla="*/ 1877972 w 7265542"/>
              <a:gd name="connsiteY1" fmla="*/ 6655441 h 6845276"/>
              <a:gd name="connsiteX2" fmla="*/ 1560503 w 7265542"/>
              <a:gd name="connsiteY2" fmla="*/ 6389519 h 6845276"/>
              <a:gd name="connsiteX3" fmla="*/ 1495609 w 7265542"/>
              <a:gd name="connsiteY3" fmla="*/ 6305670 h 6845276"/>
              <a:gd name="connsiteX4" fmla="*/ 1541926 w 7265542"/>
              <a:gd name="connsiteY4" fmla="*/ 6292947 h 6845276"/>
              <a:gd name="connsiteX5" fmla="*/ 1909402 w 7265542"/>
              <a:gd name="connsiteY5" fmla="*/ 6333789 h 6845276"/>
              <a:gd name="connsiteX6" fmla="*/ 2362258 w 7265542"/>
              <a:gd name="connsiteY6" fmla="*/ 6339133 h 6845276"/>
              <a:gd name="connsiteX7" fmla="*/ 2887769 w 7265542"/>
              <a:gd name="connsiteY7" fmla="*/ 6288239 h 6845276"/>
              <a:gd name="connsiteX8" fmla="*/ 3362637 w 7265542"/>
              <a:gd name="connsiteY8" fmla="*/ 6207444 h 6845276"/>
              <a:gd name="connsiteX9" fmla="*/ 3823255 w 7265542"/>
              <a:gd name="connsiteY9" fmla="*/ 6126650 h 6845276"/>
              <a:gd name="connsiteX10" fmla="*/ 4278274 w 7265542"/>
              <a:gd name="connsiteY10" fmla="*/ 6088479 h 6845276"/>
              <a:gd name="connsiteX11" fmla="*/ 4877204 w 7265542"/>
              <a:gd name="connsiteY11" fmla="*/ 6126650 h 6845276"/>
              <a:gd name="connsiteX12" fmla="*/ 5343929 w 7265542"/>
              <a:gd name="connsiteY12" fmla="*/ 6239635 h 6845276"/>
              <a:gd name="connsiteX13" fmla="*/ 5368487 w 7265542"/>
              <a:gd name="connsiteY13" fmla="*/ 6267372 h 6845276"/>
              <a:gd name="connsiteX14" fmla="*/ 5347238 w 7265542"/>
              <a:gd name="connsiteY14" fmla="*/ 6276406 h 6845276"/>
              <a:gd name="connsiteX15" fmla="*/ 4678070 w 7265542"/>
              <a:gd name="connsiteY15" fmla="*/ 6324629 h 6845276"/>
              <a:gd name="connsiteX16" fmla="*/ 3901891 w 7265542"/>
              <a:gd name="connsiteY16" fmla="*/ 6573374 h 6845276"/>
              <a:gd name="connsiteX17" fmla="*/ 3526017 w 7265542"/>
              <a:gd name="connsiteY17" fmla="*/ 6721095 h 6845276"/>
              <a:gd name="connsiteX18" fmla="*/ 3009413 w 7265542"/>
              <a:gd name="connsiteY18" fmla="*/ 6854310 h 6845276"/>
              <a:gd name="connsiteX19" fmla="*/ 7275215 w 7265542"/>
              <a:gd name="connsiteY19" fmla="*/ 6854311 h 6845276"/>
              <a:gd name="connsiteX20" fmla="*/ 7275215 w 7265542"/>
              <a:gd name="connsiteY20" fmla="*/ 0 h 6845276"/>
              <a:gd name="connsiteX21" fmla="*/ 1146711 w 7265542"/>
              <a:gd name="connsiteY21" fmla="*/ 0 h 6845276"/>
              <a:gd name="connsiteX22" fmla="*/ 2 w 7265542"/>
              <a:gd name="connsiteY22" fmla="*/ 3050347 h 6845276"/>
              <a:gd name="connsiteX23" fmla="*/ 1986638 w 7265542"/>
              <a:gd name="connsiteY23" fmla="*/ 6854692 h 6845276"/>
              <a:gd name="connsiteX24" fmla="*/ 2162105 w 7265542"/>
              <a:gd name="connsiteY24" fmla="*/ 6854692 h 6845276"/>
              <a:gd name="connsiteX25" fmla="*/ 2134621 w 7265542"/>
              <a:gd name="connsiteY25" fmla="*/ 6837897 h 6845276"/>
              <a:gd name="connsiteX26" fmla="*/ 481360 w 7265542"/>
              <a:gd name="connsiteY26" fmla="*/ 1206321 h 6845276"/>
              <a:gd name="connsiteX27" fmla="*/ 755694 w 7265542"/>
              <a:gd name="connsiteY27" fmla="*/ 684655 h 6845276"/>
              <a:gd name="connsiteX28" fmla="*/ 796285 w 7265542"/>
              <a:gd name="connsiteY28" fmla="*/ 621037 h 6845276"/>
              <a:gd name="connsiteX29" fmla="*/ 858761 w 7265542"/>
              <a:gd name="connsiteY29" fmla="*/ 601061 h 6845276"/>
              <a:gd name="connsiteX30" fmla="*/ 893498 w 7265542"/>
              <a:gd name="connsiteY30" fmla="*/ 609204 h 6845276"/>
              <a:gd name="connsiteX31" fmla="*/ 1269626 w 7265542"/>
              <a:gd name="connsiteY31" fmla="*/ 624727 h 6845276"/>
              <a:gd name="connsiteX32" fmla="*/ 2060311 w 7265542"/>
              <a:gd name="connsiteY32" fmla="*/ 534390 h 6845276"/>
              <a:gd name="connsiteX33" fmla="*/ 2977475 w 7265542"/>
              <a:gd name="connsiteY33" fmla="*/ 385778 h 6845276"/>
              <a:gd name="connsiteX34" fmla="*/ 3465449 w 7265542"/>
              <a:gd name="connsiteY34" fmla="*/ 307529 h 6845276"/>
              <a:gd name="connsiteX35" fmla="*/ 4516472 w 7265542"/>
              <a:gd name="connsiteY35" fmla="*/ 287171 h 6845276"/>
              <a:gd name="connsiteX36" fmla="*/ 5616610 w 7265542"/>
              <a:gd name="connsiteY36" fmla="*/ 451559 h 6845276"/>
              <a:gd name="connsiteX37" fmla="*/ 6033074 w 7265542"/>
              <a:gd name="connsiteY37" fmla="*/ 554366 h 6845276"/>
              <a:gd name="connsiteX38" fmla="*/ 6356270 w 7265542"/>
              <a:gd name="connsiteY38" fmla="*/ 650556 h 6845276"/>
              <a:gd name="connsiteX39" fmla="*/ 6368104 w 7265542"/>
              <a:gd name="connsiteY39" fmla="*/ 662389 h 6845276"/>
              <a:gd name="connsiteX40" fmla="*/ 6354235 w 7265542"/>
              <a:gd name="connsiteY40" fmla="*/ 670150 h 6845276"/>
              <a:gd name="connsiteX41" fmla="*/ 6323951 w 7265542"/>
              <a:gd name="connsiteY41" fmla="*/ 668623 h 6845276"/>
              <a:gd name="connsiteX42" fmla="*/ 5538483 w 7265542"/>
              <a:gd name="connsiteY42" fmla="*/ 638087 h 6845276"/>
              <a:gd name="connsiteX43" fmla="*/ 4388084 w 7265542"/>
              <a:gd name="connsiteY43" fmla="*/ 695852 h 6845276"/>
              <a:gd name="connsiteX44" fmla="*/ 3048476 w 7265542"/>
              <a:gd name="connsiteY44" fmla="*/ 978569 h 6845276"/>
              <a:gd name="connsiteX45" fmla="*/ 2052295 w 7265542"/>
              <a:gd name="connsiteY45" fmla="*/ 1292460 h 6845276"/>
              <a:gd name="connsiteX46" fmla="*/ 1135258 w 7265542"/>
              <a:gd name="connsiteY46" fmla="*/ 1461301 h 6845276"/>
              <a:gd name="connsiteX47" fmla="*/ 715994 w 7265542"/>
              <a:gd name="connsiteY47" fmla="*/ 1438653 h 6845276"/>
              <a:gd name="connsiteX48" fmla="*/ 512407 w 7265542"/>
              <a:gd name="connsiteY48" fmla="*/ 1355950 h 6845276"/>
              <a:gd name="connsiteX49" fmla="*/ 481360 w 7265542"/>
              <a:gd name="connsiteY49" fmla="*/ 1206321 h 6845276"/>
              <a:gd name="connsiteX50" fmla="*/ 90853 w 7265542"/>
              <a:gd name="connsiteY50" fmla="*/ 3171730 h 6845276"/>
              <a:gd name="connsiteX51" fmla="*/ 124444 w 7265542"/>
              <a:gd name="connsiteY51" fmla="*/ 2481222 h 6845276"/>
              <a:gd name="connsiteX52" fmla="*/ 130807 w 7265542"/>
              <a:gd name="connsiteY52" fmla="*/ 2431727 h 6845276"/>
              <a:gd name="connsiteX53" fmla="*/ 158673 w 7265542"/>
              <a:gd name="connsiteY53" fmla="*/ 2387958 h 6845276"/>
              <a:gd name="connsiteX54" fmla="*/ 223057 w 7265542"/>
              <a:gd name="connsiteY54" fmla="*/ 2384777 h 6845276"/>
              <a:gd name="connsiteX55" fmla="*/ 259322 w 7265542"/>
              <a:gd name="connsiteY55" fmla="*/ 2391266 h 6845276"/>
              <a:gd name="connsiteX56" fmla="*/ 507444 w 7265542"/>
              <a:gd name="connsiteY56" fmla="*/ 2427656 h 6845276"/>
              <a:gd name="connsiteX57" fmla="*/ 1094159 w 7265542"/>
              <a:gd name="connsiteY57" fmla="*/ 2453103 h 6845276"/>
              <a:gd name="connsiteX58" fmla="*/ 1746532 w 7265542"/>
              <a:gd name="connsiteY58" fmla="*/ 2400936 h 6845276"/>
              <a:gd name="connsiteX59" fmla="*/ 2181191 w 7265542"/>
              <a:gd name="connsiteY59" fmla="*/ 2333247 h 6845276"/>
              <a:gd name="connsiteX60" fmla="*/ 2915889 w 7265542"/>
              <a:gd name="connsiteY60" fmla="*/ 2187562 h 6845276"/>
              <a:gd name="connsiteX61" fmla="*/ 3574496 w 7265542"/>
              <a:gd name="connsiteY61" fmla="*/ 2056255 h 6845276"/>
              <a:gd name="connsiteX62" fmla="*/ 4130291 w 7265542"/>
              <a:gd name="connsiteY62" fmla="*/ 1971898 h 6845276"/>
              <a:gd name="connsiteX63" fmla="*/ 4859390 w 7265542"/>
              <a:gd name="connsiteY63" fmla="*/ 1932327 h 6845276"/>
              <a:gd name="connsiteX64" fmla="*/ 5559223 w 7265542"/>
              <a:gd name="connsiteY64" fmla="*/ 1978769 h 6845276"/>
              <a:gd name="connsiteX65" fmla="*/ 6203070 w 7265542"/>
              <a:gd name="connsiteY65" fmla="*/ 2094298 h 6845276"/>
              <a:gd name="connsiteX66" fmla="*/ 6813071 w 7265542"/>
              <a:gd name="connsiteY66" fmla="*/ 2274591 h 6845276"/>
              <a:gd name="connsiteX67" fmla="*/ 7072900 w 7265542"/>
              <a:gd name="connsiteY67" fmla="*/ 2378543 h 6845276"/>
              <a:gd name="connsiteX68" fmla="*/ 7081807 w 7265542"/>
              <a:gd name="connsiteY68" fmla="*/ 2395338 h 6845276"/>
              <a:gd name="connsiteX69" fmla="*/ 7056358 w 7265542"/>
              <a:gd name="connsiteY69" fmla="*/ 2404372 h 6845276"/>
              <a:gd name="connsiteX70" fmla="*/ 6849080 w 7265542"/>
              <a:gd name="connsiteY70" fmla="*/ 2399537 h 6845276"/>
              <a:gd name="connsiteX71" fmla="*/ 5240990 w 7265542"/>
              <a:gd name="connsiteY71" fmla="*/ 2475878 h 6845276"/>
              <a:gd name="connsiteX72" fmla="*/ 3948462 w 7265542"/>
              <a:gd name="connsiteY72" fmla="*/ 2780480 h 6845276"/>
              <a:gd name="connsiteX73" fmla="*/ 2170630 w 7265542"/>
              <a:gd name="connsiteY73" fmla="*/ 3365764 h 6845276"/>
              <a:gd name="connsiteX74" fmla="*/ 585826 w 7265542"/>
              <a:gd name="connsiteY74" fmla="*/ 3561071 h 6845276"/>
              <a:gd name="connsiteX75" fmla="*/ 183231 w 7265542"/>
              <a:gd name="connsiteY75" fmla="*/ 3421875 h 6845276"/>
              <a:gd name="connsiteX76" fmla="*/ 90853 w 7265542"/>
              <a:gd name="connsiteY76" fmla="*/ 3171730 h 6845276"/>
              <a:gd name="connsiteX77" fmla="*/ 1182338 w 7265542"/>
              <a:gd name="connsiteY77" fmla="*/ 5427363 h 6845276"/>
              <a:gd name="connsiteX78" fmla="*/ 591552 w 7265542"/>
              <a:gd name="connsiteY78" fmla="*/ 5123270 h 6845276"/>
              <a:gd name="connsiteX79" fmla="*/ 349791 w 7265542"/>
              <a:gd name="connsiteY79" fmla="*/ 4568904 h 6845276"/>
              <a:gd name="connsiteX80" fmla="*/ 334013 w 7265542"/>
              <a:gd name="connsiteY80" fmla="*/ 4521572 h 6845276"/>
              <a:gd name="connsiteX81" fmla="*/ 338339 w 7265542"/>
              <a:gd name="connsiteY81" fmla="*/ 4457955 h 6845276"/>
              <a:gd name="connsiteX82" fmla="*/ 424991 w 7265542"/>
              <a:gd name="connsiteY82" fmla="*/ 4457955 h 6845276"/>
              <a:gd name="connsiteX83" fmla="*/ 1049497 w 7265542"/>
              <a:gd name="connsiteY83" fmla="*/ 4542312 h 6845276"/>
              <a:gd name="connsiteX84" fmla="*/ 1610127 w 7265542"/>
              <a:gd name="connsiteY84" fmla="*/ 4563433 h 6845276"/>
              <a:gd name="connsiteX85" fmla="*/ 2116552 w 7265542"/>
              <a:gd name="connsiteY85" fmla="*/ 4537986 h 6845276"/>
              <a:gd name="connsiteX86" fmla="*/ 2803661 w 7265542"/>
              <a:gd name="connsiteY86" fmla="*/ 4440142 h 6845276"/>
              <a:gd name="connsiteX87" fmla="*/ 3652623 w 7265542"/>
              <a:gd name="connsiteY87" fmla="*/ 4257813 h 6845276"/>
              <a:gd name="connsiteX88" fmla="*/ 4171772 w 7265542"/>
              <a:gd name="connsiteY88" fmla="*/ 4160605 h 6845276"/>
              <a:gd name="connsiteX89" fmla="*/ 4583401 w 7265542"/>
              <a:gd name="connsiteY89" fmla="*/ 4127905 h 6845276"/>
              <a:gd name="connsiteX90" fmla="*/ 5135888 w 7265542"/>
              <a:gd name="connsiteY90" fmla="*/ 4149154 h 6845276"/>
              <a:gd name="connsiteX91" fmla="*/ 5791059 w 7265542"/>
              <a:gd name="connsiteY91" fmla="*/ 4241400 h 6845276"/>
              <a:gd name="connsiteX92" fmla="*/ 6230555 w 7265542"/>
              <a:gd name="connsiteY92" fmla="*/ 4347514 h 6845276"/>
              <a:gd name="connsiteX93" fmla="*/ 6386427 w 7265542"/>
              <a:gd name="connsiteY93" fmla="*/ 4395609 h 6845276"/>
              <a:gd name="connsiteX94" fmla="*/ 6403605 w 7265542"/>
              <a:gd name="connsiteY94" fmla="*/ 4415967 h 6845276"/>
              <a:gd name="connsiteX95" fmla="*/ 6382737 w 7265542"/>
              <a:gd name="connsiteY95" fmla="*/ 4424492 h 6845276"/>
              <a:gd name="connsiteX96" fmla="*/ 6364541 w 7265542"/>
              <a:gd name="connsiteY96" fmla="*/ 4422711 h 6845276"/>
              <a:gd name="connsiteX97" fmla="*/ 5164390 w 7265542"/>
              <a:gd name="connsiteY97" fmla="*/ 4511775 h 6845276"/>
              <a:gd name="connsiteX98" fmla="*/ 4289599 w 7265542"/>
              <a:gd name="connsiteY98" fmla="*/ 4790167 h 6845276"/>
              <a:gd name="connsiteX99" fmla="*/ 3144417 w 7265542"/>
              <a:gd name="connsiteY99" fmla="*/ 5183070 h 6845276"/>
              <a:gd name="connsiteX100" fmla="*/ 1923780 w 7265542"/>
              <a:gd name="connsiteY100" fmla="*/ 5443013 h 6845276"/>
              <a:gd name="connsiteX101" fmla="*/ 1182338 w 7265542"/>
              <a:gd name="connsiteY101" fmla="*/ 5427363 h 684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7265542" h="6845276">
                <a:moveTo>
                  <a:pt x="2134621" y="6837897"/>
                </a:moveTo>
                <a:cubicBezTo>
                  <a:pt x="2134621" y="6837897"/>
                  <a:pt x="2045551" y="6778605"/>
                  <a:pt x="1877972" y="6655441"/>
                </a:cubicBezTo>
                <a:cubicBezTo>
                  <a:pt x="1773252" y="6578464"/>
                  <a:pt x="1643337" y="6464588"/>
                  <a:pt x="1560503" y="6389519"/>
                </a:cubicBezTo>
                <a:cubicBezTo>
                  <a:pt x="1536072" y="6366871"/>
                  <a:pt x="1493701" y="6324628"/>
                  <a:pt x="1495609" y="6305670"/>
                </a:cubicBezTo>
                <a:cubicBezTo>
                  <a:pt x="1495609" y="6305670"/>
                  <a:pt x="1496627" y="6287985"/>
                  <a:pt x="1541926" y="6292947"/>
                </a:cubicBezTo>
                <a:cubicBezTo>
                  <a:pt x="1587224" y="6297909"/>
                  <a:pt x="1720956" y="6319794"/>
                  <a:pt x="1909402" y="6333789"/>
                </a:cubicBezTo>
                <a:cubicBezTo>
                  <a:pt x="2060167" y="6343218"/>
                  <a:pt x="2211312" y="6345002"/>
                  <a:pt x="2362258" y="6339133"/>
                </a:cubicBezTo>
                <a:cubicBezTo>
                  <a:pt x="2539252" y="6333408"/>
                  <a:pt x="2727825" y="6310124"/>
                  <a:pt x="2887769" y="6288239"/>
                </a:cubicBezTo>
                <a:cubicBezTo>
                  <a:pt x="3047712" y="6266355"/>
                  <a:pt x="3362637" y="6207444"/>
                  <a:pt x="3362637" y="6207444"/>
                </a:cubicBezTo>
                <a:cubicBezTo>
                  <a:pt x="3362637" y="6207444"/>
                  <a:pt x="3615214" y="6158459"/>
                  <a:pt x="3823255" y="6126650"/>
                </a:cubicBezTo>
                <a:cubicBezTo>
                  <a:pt x="3973869" y="6103476"/>
                  <a:pt x="4125904" y="6090723"/>
                  <a:pt x="4278274" y="6088479"/>
                </a:cubicBezTo>
                <a:cubicBezTo>
                  <a:pt x="4478495" y="6089387"/>
                  <a:pt x="4678488" y="6102132"/>
                  <a:pt x="4877204" y="6126650"/>
                </a:cubicBezTo>
                <a:cubicBezTo>
                  <a:pt x="5169862" y="6164820"/>
                  <a:pt x="5330060" y="6233146"/>
                  <a:pt x="5343929" y="6239635"/>
                </a:cubicBezTo>
                <a:cubicBezTo>
                  <a:pt x="5357799" y="6246124"/>
                  <a:pt x="5371287" y="6256430"/>
                  <a:pt x="5368487" y="6267372"/>
                </a:cubicBezTo>
                <a:cubicBezTo>
                  <a:pt x="5365688" y="6278315"/>
                  <a:pt x="5347238" y="6276406"/>
                  <a:pt x="5347238" y="6276406"/>
                </a:cubicBezTo>
                <a:cubicBezTo>
                  <a:pt x="5123140" y="6270490"/>
                  <a:pt x="4899003" y="6286642"/>
                  <a:pt x="4678070" y="6324629"/>
                </a:cubicBezTo>
                <a:cubicBezTo>
                  <a:pt x="4339478" y="6386592"/>
                  <a:pt x="3901891" y="6573374"/>
                  <a:pt x="3901891" y="6573374"/>
                </a:cubicBezTo>
                <a:lnTo>
                  <a:pt x="3526017" y="6721095"/>
                </a:lnTo>
                <a:cubicBezTo>
                  <a:pt x="3358065" y="6780596"/>
                  <a:pt x="3185194" y="6825174"/>
                  <a:pt x="3009413" y="6854310"/>
                </a:cubicBezTo>
                <a:lnTo>
                  <a:pt x="7275215" y="6854311"/>
                </a:lnTo>
                <a:lnTo>
                  <a:pt x="7275215" y="0"/>
                </a:lnTo>
                <a:lnTo>
                  <a:pt x="1146711" y="0"/>
                </a:lnTo>
                <a:cubicBezTo>
                  <a:pt x="406626" y="843748"/>
                  <a:pt x="-988" y="1928039"/>
                  <a:pt x="2" y="3050347"/>
                </a:cubicBezTo>
                <a:cubicBezTo>
                  <a:pt x="1" y="4622852"/>
                  <a:pt x="786360" y="6014937"/>
                  <a:pt x="1986638" y="6854692"/>
                </a:cubicBezTo>
                <a:lnTo>
                  <a:pt x="2162105" y="6854692"/>
                </a:lnTo>
                <a:cubicBezTo>
                  <a:pt x="2152501" y="6849854"/>
                  <a:pt x="2143308" y="6844237"/>
                  <a:pt x="2134621" y="6837897"/>
                </a:cubicBezTo>
                <a:close/>
                <a:moveTo>
                  <a:pt x="481360" y="1206321"/>
                </a:moveTo>
                <a:cubicBezTo>
                  <a:pt x="568648" y="1000072"/>
                  <a:pt x="755694" y="684655"/>
                  <a:pt x="755694" y="684655"/>
                </a:cubicBezTo>
                <a:cubicBezTo>
                  <a:pt x="755694" y="684655"/>
                  <a:pt x="773890" y="653609"/>
                  <a:pt x="796285" y="621037"/>
                </a:cubicBezTo>
                <a:cubicBezTo>
                  <a:pt x="818680" y="588465"/>
                  <a:pt x="858761" y="601061"/>
                  <a:pt x="858761" y="601061"/>
                </a:cubicBezTo>
                <a:lnTo>
                  <a:pt x="893498" y="609204"/>
                </a:lnTo>
                <a:cubicBezTo>
                  <a:pt x="1024049" y="637832"/>
                  <a:pt x="1269626" y="624727"/>
                  <a:pt x="1269626" y="624727"/>
                </a:cubicBezTo>
                <a:cubicBezTo>
                  <a:pt x="1534800" y="610731"/>
                  <a:pt x="1942103" y="551694"/>
                  <a:pt x="2060311" y="534390"/>
                </a:cubicBezTo>
                <a:cubicBezTo>
                  <a:pt x="2178519" y="517086"/>
                  <a:pt x="2977475" y="385778"/>
                  <a:pt x="2977475" y="385778"/>
                </a:cubicBezTo>
                <a:cubicBezTo>
                  <a:pt x="3170883" y="350661"/>
                  <a:pt x="3465449" y="307529"/>
                  <a:pt x="3465449" y="307529"/>
                </a:cubicBezTo>
                <a:cubicBezTo>
                  <a:pt x="3938791" y="242257"/>
                  <a:pt x="4516472" y="287171"/>
                  <a:pt x="4516472" y="287171"/>
                </a:cubicBezTo>
                <a:cubicBezTo>
                  <a:pt x="4999993" y="314908"/>
                  <a:pt x="5616610" y="451559"/>
                  <a:pt x="5616610" y="451559"/>
                </a:cubicBezTo>
                <a:cubicBezTo>
                  <a:pt x="5789914" y="487821"/>
                  <a:pt x="6033074" y="554366"/>
                  <a:pt x="6033074" y="554366"/>
                </a:cubicBezTo>
                <a:cubicBezTo>
                  <a:pt x="6136268" y="581594"/>
                  <a:pt x="6356270" y="650556"/>
                  <a:pt x="6356270" y="650556"/>
                </a:cubicBezTo>
                <a:cubicBezTo>
                  <a:pt x="6356270" y="650556"/>
                  <a:pt x="6370140" y="654246"/>
                  <a:pt x="6368104" y="662389"/>
                </a:cubicBezTo>
                <a:cubicBezTo>
                  <a:pt x="6366068" y="670532"/>
                  <a:pt x="6354235" y="670150"/>
                  <a:pt x="6354235" y="670150"/>
                </a:cubicBezTo>
                <a:lnTo>
                  <a:pt x="6323951" y="668623"/>
                </a:lnTo>
                <a:cubicBezTo>
                  <a:pt x="6258166" y="664170"/>
                  <a:pt x="5799203" y="640250"/>
                  <a:pt x="5538483" y="638087"/>
                </a:cubicBezTo>
                <a:cubicBezTo>
                  <a:pt x="5277763" y="635924"/>
                  <a:pt x="4979762" y="634651"/>
                  <a:pt x="4388084" y="695852"/>
                </a:cubicBezTo>
                <a:cubicBezTo>
                  <a:pt x="3796407" y="757052"/>
                  <a:pt x="3182207" y="940017"/>
                  <a:pt x="3048476" y="978569"/>
                </a:cubicBezTo>
                <a:cubicBezTo>
                  <a:pt x="2914744" y="1017122"/>
                  <a:pt x="2052295" y="1292460"/>
                  <a:pt x="2052295" y="1292460"/>
                </a:cubicBezTo>
                <a:cubicBezTo>
                  <a:pt x="1560248" y="1436490"/>
                  <a:pt x="1356279" y="1447687"/>
                  <a:pt x="1135258" y="1461301"/>
                </a:cubicBezTo>
                <a:cubicBezTo>
                  <a:pt x="995096" y="1468825"/>
                  <a:pt x="854531" y="1461232"/>
                  <a:pt x="715994" y="1438653"/>
                </a:cubicBezTo>
                <a:cubicBezTo>
                  <a:pt x="567503" y="1413206"/>
                  <a:pt x="512407" y="1355950"/>
                  <a:pt x="512407" y="1355950"/>
                </a:cubicBezTo>
                <a:cubicBezTo>
                  <a:pt x="439370" y="1285080"/>
                  <a:pt x="481360" y="1206321"/>
                  <a:pt x="481360" y="1206321"/>
                </a:cubicBezTo>
                <a:close/>
                <a:moveTo>
                  <a:pt x="90853" y="3171730"/>
                </a:moveTo>
                <a:cubicBezTo>
                  <a:pt x="75965" y="2855804"/>
                  <a:pt x="124444" y="2481222"/>
                  <a:pt x="124444" y="2481222"/>
                </a:cubicBezTo>
                <a:cubicBezTo>
                  <a:pt x="124444" y="2481222"/>
                  <a:pt x="126353" y="2463027"/>
                  <a:pt x="130807" y="2431727"/>
                </a:cubicBezTo>
                <a:cubicBezTo>
                  <a:pt x="132916" y="2413645"/>
                  <a:pt x="143181" y="2397521"/>
                  <a:pt x="158673" y="2387958"/>
                </a:cubicBezTo>
                <a:cubicBezTo>
                  <a:pt x="179320" y="2380418"/>
                  <a:pt x="201767" y="2379309"/>
                  <a:pt x="223057" y="2384777"/>
                </a:cubicBezTo>
                <a:lnTo>
                  <a:pt x="259322" y="2391266"/>
                </a:lnTo>
                <a:cubicBezTo>
                  <a:pt x="370023" y="2412515"/>
                  <a:pt x="507444" y="2427656"/>
                  <a:pt x="507444" y="2427656"/>
                </a:cubicBezTo>
                <a:cubicBezTo>
                  <a:pt x="702225" y="2449267"/>
                  <a:pt x="898238" y="2457768"/>
                  <a:pt x="1094159" y="2453103"/>
                </a:cubicBezTo>
                <a:cubicBezTo>
                  <a:pt x="1391143" y="2449540"/>
                  <a:pt x="1746532" y="2400936"/>
                  <a:pt x="1746532" y="2400936"/>
                </a:cubicBezTo>
                <a:cubicBezTo>
                  <a:pt x="1889806" y="2383760"/>
                  <a:pt x="2181191" y="2333247"/>
                  <a:pt x="2181191" y="2333247"/>
                </a:cubicBezTo>
                <a:cubicBezTo>
                  <a:pt x="2304744" y="2311999"/>
                  <a:pt x="2776686" y="2216572"/>
                  <a:pt x="2915889" y="2187562"/>
                </a:cubicBezTo>
                <a:cubicBezTo>
                  <a:pt x="3055092" y="2158552"/>
                  <a:pt x="3574496" y="2056255"/>
                  <a:pt x="3574496" y="2056255"/>
                </a:cubicBezTo>
                <a:cubicBezTo>
                  <a:pt x="3807986" y="2011086"/>
                  <a:pt x="4130291" y="1971898"/>
                  <a:pt x="4130291" y="1971898"/>
                </a:cubicBezTo>
                <a:cubicBezTo>
                  <a:pt x="4372258" y="1943481"/>
                  <a:pt x="4615769" y="1930265"/>
                  <a:pt x="4859390" y="1932327"/>
                </a:cubicBezTo>
                <a:cubicBezTo>
                  <a:pt x="5005465" y="1932327"/>
                  <a:pt x="5246971" y="1942506"/>
                  <a:pt x="5559223" y="1978769"/>
                </a:cubicBezTo>
                <a:cubicBezTo>
                  <a:pt x="5775652" y="2006382"/>
                  <a:pt x="5990543" y="2044942"/>
                  <a:pt x="6203070" y="2094298"/>
                </a:cubicBezTo>
                <a:cubicBezTo>
                  <a:pt x="6430707" y="2145193"/>
                  <a:pt x="6688119" y="2230059"/>
                  <a:pt x="6813071" y="2274591"/>
                </a:cubicBezTo>
                <a:cubicBezTo>
                  <a:pt x="6938023" y="2319124"/>
                  <a:pt x="7067556" y="2376380"/>
                  <a:pt x="7072900" y="2378543"/>
                </a:cubicBezTo>
                <a:cubicBezTo>
                  <a:pt x="7078244" y="2380706"/>
                  <a:pt x="7084733" y="2384396"/>
                  <a:pt x="7081807" y="2395338"/>
                </a:cubicBezTo>
                <a:cubicBezTo>
                  <a:pt x="7078880" y="2406280"/>
                  <a:pt x="7056358" y="2404372"/>
                  <a:pt x="7056358" y="2404372"/>
                </a:cubicBezTo>
                <a:lnTo>
                  <a:pt x="6849080" y="2399537"/>
                </a:lnTo>
                <a:cubicBezTo>
                  <a:pt x="6392153" y="2388722"/>
                  <a:pt x="5724130" y="2406026"/>
                  <a:pt x="5240990" y="2475878"/>
                </a:cubicBezTo>
                <a:cubicBezTo>
                  <a:pt x="4757851" y="2545730"/>
                  <a:pt x="4231322" y="2695614"/>
                  <a:pt x="3948462" y="2780480"/>
                </a:cubicBezTo>
                <a:cubicBezTo>
                  <a:pt x="3665601" y="2865346"/>
                  <a:pt x="3110697" y="3050347"/>
                  <a:pt x="2170630" y="3365764"/>
                </a:cubicBezTo>
                <a:cubicBezTo>
                  <a:pt x="1230563" y="3681181"/>
                  <a:pt x="585826" y="3561071"/>
                  <a:pt x="585826" y="3561071"/>
                </a:cubicBezTo>
                <a:cubicBezTo>
                  <a:pt x="359589" y="3533715"/>
                  <a:pt x="282607" y="3501397"/>
                  <a:pt x="183231" y="3421875"/>
                </a:cubicBezTo>
                <a:cubicBezTo>
                  <a:pt x="83855" y="3342353"/>
                  <a:pt x="90853" y="3171730"/>
                  <a:pt x="90853" y="3171730"/>
                </a:cubicBezTo>
                <a:close/>
                <a:moveTo>
                  <a:pt x="1182338" y="5427363"/>
                </a:moveTo>
                <a:cubicBezTo>
                  <a:pt x="1011579" y="5404588"/>
                  <a:pt x="718794" y="5359928"/>
                  <a:pt x="591552" y="5123270"/>
                </a:cubicBezTo>
                <a:cubicBezTo>
                  <a:pt x="464309" y="4886611"/>
                  <a:pt x="349791" y="4568904"/>
                  <a:pt x="349791" y="4568904"/>
                </a:cubicBezTo>
                <a:cubicBezTo>
                  <a:pt x="349791" y="4568904"/>
                  <a:pt x="342157" y="4543457"/>
                  <a:pt x="334013" y="4521572"/>
                </a:cubicBezTo>
                <a:cubicBezTo>
                  <a:pt x="325869" y="4499688"/>
                  <a:pt x="316581" y="4473223"/>
                  <a:pt x="338339" y="4457955"/>
                </a:cubicBezTo>
                <a:cubicBezTo>
                  <a:pt x="360098" y="4442687"/>
                  <a:pt x="424991" y="4457955"/>
                  <a:pt x="424991" y="4457955"/>
                </a:cubicBezTo>
                <a:cubicBezTo>
                  <a:pt x="662680" y="4506940"/>
                  <a:pt x="1049497" y="4542312"/>
                  <a:pt x="1049497" y="4542312"/>
                </a:cubicBezTo>
                <a:cubicBezTo>
                  <a:pt x="1276371" y="4564578"/>
                  <a:pt x="1610127" y="4563433"/>
                  <a:pt x="1610127" y="4563433"/>
                </a:cubicBezTo>
                <a:cubicBezTo>
                  <a:pt x="1814987" y="4564578"/>
                  <a:pt x="2116552" y="4537986"/>
                  <a:pt x="2116552" y="4537986"/>
                </a:cubicBezTo>
                <a:cubicBezTo>
                  <a:pt x="2399666" y="4515974"/>
                  <a:pt x="2803661" y="4440142"/>
                  <a:pt x="2803661" y="4440142"/>
                </a:cubicBezTo>
                <a:cubicBezTo>
                  <a:pt x="2977856" y="4408715"/>
                  <a:pt x="3401701" y="4313670"/>
                  <a:pt x="3652623" y="4257813"/>
                </a:cubicBezTo>
                <a:cubicBezTo>
                  <a:pt x="3903545" y="4201957"/>
                  <a:pt x="4171772" y="4160605"/>
                  <a:pt x="4171772" y="4160605"/>
                </a:cubicBezTo>
                <a:cubicBezTo>
                  <a:pt x="4308176" y="4141227"/>
                  <a:pt x="4445649" y="4130307"/>
                  <a:pt x="4583401" y="4127905"/>
                </a:cubicBezTo>
                <a:cubicBezTo>
                  <a:pt x="4583401" y="4127905"/>
                  <a:pt x="4854809" y="4123070"/>
                  <a:pt x="5135888" y="4149154"/>
                </a:cubicBezTo>
                <a:cubicBezTo>
                  <a:pt x="5355815" y="4167781"/>
                  <a:pt x="5574540" y="4198577"/>
                  <a:pt x="5791059" y="4241400"/>
                </a:cubicBezTo>
                <a:cubicBezTo>
                  <a:pt x="5997574" y="4281352"/>
                  <a:pt x="6195818" y="4337590"/>
                  <a:pt x="6230555" y="4347514"/>
                </a:cubicBezTo>
                <a:cubicBezTo>
                  <a:pt x="6265291" y="4357439"/>
                  <a:pt x="6378156" y="4392683"/>
                  <a:pt x="6386427" y="4395609"/>
                </a:cubicBezTo>
                <a:cubicBezTo>
                  <a:pt x="6394698" y="4398536"/>
                  <a:pt x="6407167" y="4405788"/>
                  <a:pt x="6403605" y="4415967"/>
                </a:cubicBezTo>
                <a:cubicBezTo>
                  <a:pt x="6400042" y="4426146"/>
                  <a:pt x="6382737" y="4424492"/>
                  <a:pt x="6382737" y="4424492"/>
                </a:cubicBezTo>
                <a:lnTo>
                  <a:pt x="6364541" y="4422711"/>
                </a:lnTo>
                <a:cubicBezTo>
                  <a:pt x="5798694" y="4367236"/>
                  <a:pt x="5164390" y="4511775"/>
                  <a:pt x="5164390" y="4511775"/>
                </a:cubicBezTo>
                <a:cubicBezTo>
                  <a:pt x="4939299" y="4557453"/>
                  <a:pt x="4609613" y="4672856"/>
                  <a:pt x="4289599" y="4790167"/>
                </a:cubicBezTo>
                <a:cubicBezTo>
                  <a:pt x="3969584" y="4907478"/>
                  <a:pt x="3551593" y="5057362"/>
                  <a:pt x="3144417" y="5183070"/>
                </a:cubicBezTo>
                <a:cubicBezTo>
                  <a:pt x="2737241" y="5308779"/>
                  <a:pt x="2259955" y="5408278"/>
                  <a:pt x="1923780" y="5443013"/>
                </a:cubicBezTo>
                <a:cubicBezTo>
                  <a:pt x="1587606" y="5477748"/>
                  <a:pt x="1182338" y="5427363"/>
                  <a:pt x="1182338" y="5427363"/>
                </a:cubicBezTo>
                <a:close/>
              </a:path>
            </a:pathLst>
          </a:custGeom>
          <a:solidFill>
            <a:schemeClr val="accent2"/>
          </a:solidFill>
          <a:ln w="12722" cap="flat">
            <a:noFill/>
            <a:prstDash val="solid"/>
            <a:miter/>
          </a:ln>
        </p:spPr>
        <p:txBody>
          <a:bodyPr rtlCol="0" anchor="ctr"/>
          <a:lstStyle/>
          <a:p>
            <a:pPr eaLnBrk="1"/>
            <a:endParaRPr lang="en-GB" dirty="0"/>
          </a:p>
        </p:txBody>
      </p:sp>
      <p:sp>
        <p:nvSpPr>
          <p:cNvPr id="15" name="Rectangle 14">
            <a:extLst>
              <a:ext uri="{FF2B5EF4-FFF2-40B4-BE49-F238E27FC236}">
                <a16:creationId xmlns:a16="http://schemas.microsoft.com/office/drawing/2014/main" id="{E2D68D7B-DF38-479E-8181-B200AE68BD7D}"/>
              </a:ext>
            </a:extLst>
          </p:cNvPr>
          <p:cNvSpPr/>
          <p:nvPr userDrawn="1"/>
        </p:nvSpPr>
        <p:spPr>
          <a:xfrm>
            <a:off x="1235074" y="2"/>
            <a:ext cx="4860926" cy="479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6"/>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25" name="Group 24">
            <a:extLst>
              <a:ext uri="{FF2B5EF4-FFF2-40B4-BE49-F238E27FC236}">
                <a16:creationId xmlns:a16="http://schemas.microsoft.com/office/drawing/2014/main" id="{5F6C8F9C-65F5-4250-AD42-B973C904C2CF}"/>
              </a:ext>
            </a:extLst>
          </p:cNvPr>
          <p:cNvGrpSpPr/>
          <p:nvPr userDrawn="1"/>
        </p:nvGrpSpPr>
        <p:grpSpPr>
          <a:xfrm>
            <a:off x="1533524" y="3103453"/>
            <a:ext cx="2243139" cy="606869"/>
            <a:chOff x="1533524" y="369094"/>
            <a:chExt cx="2243139" cy="606869"/>
          </a:xfrm>
        </p:grpSpPr>
        <p:pic>
          <p:nvPicPr>
            <p:cNvPr id="26" name="Graphic 25">
              <a:extLst>
                <a:ext uri="{FF2B5EF4-FFF2-40B4-BE49-F238E27FC236}">
                  <a16:creationId xmlns:a16="http://schemas.microsoft.com/office/drawing/2014/main" id="{1F687E69-D217-4D8B-98A4-3BB1B884518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27" name="Picture 26">
              <a:extLst>
                <a:ext uri="{FF2B5EF4-FFF2-40B4-BE49-F238E27FC236}">
                  <a16:creationId xmlns:a16="http://schemas.microsoft.com/office/drawing/2014/main" id="{7F76E90C-FE8B-4B20-BF55-89FC5902AC4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33524" y="369094"/>
              <a:ext cx="607220" cy="606869"/>
            </a:xfrm>
            <a:prstGeom prst="ellipse">
              <a:avLst/>
            </a:prstGeom>
            <a:ln w="63500" cap="rnd">
              <a:noFill/>
            </a:ln>
            <a:effectLst/>
          </p:spPr>
        </p:pic>
      </p:grpSp>
      <p:sp>
        <p:nvSpPr>
          <p:cNvPr id="10" name="TextBox 9">
            <a:extLst>
              <a:ext uri="{FF2B5EF4-FFF2-40B4-BE49-F238E27FC236}">
                <a16:creationId xmlns:a16="http://schemas.microsoft.com/office/drawing/2014/main" id="{DE44801D-755E-474E-8741-3DDC88B64F98}"/>
              </a:ext>
            </a:extLst>
          </p:cNvPr>
          <p:cNvSpPr txBox="1"/>
          <p:nvPr userDrawn="1"/>
        </p:nvSpPr>
        <p:spPr>
          <a:xfrm>
            <a:off x="1524001" y="4342961"/>
            <a:ext cx="4284662" cy="246221"/>
          </a:xfrm>
          <a:prstGeom prst="rect">
            <a:avLst/>
          </a:prstGeom>
          <a:noFill/>
        </p:spPr>
        <p:txBody>
          <a:bodyPr wrap="square" lIns="0" tIns="0" rIns="0" bIns="0" rtlCol="0">
            <a:spAutoFit/>
          </a:bodyPr>
          <a:lstStyle/>
          <a:p>
            <a:pPr algn="l">
              <a:spcBef>
                <a:spcPts val="600"/>
              </a:spcBef>
              <a:buClr>
                <a:schemeClr val="accent1"/>
              </a:buClr>
              <a:buSzPct val="120000"/>
            </a:pPr>
            <a:r>
              <a:rPr lang="en-GB" sz="1600" dirty="0">
                <a:solidFill>
                  <a:schemeClr val="accent6"/>
                </a:solidFill>
                <a:latin typeface="Arial" pitchFamily="34" charset="0"/>
                <a:cs typeface="Arial" pitchFamily="34" charset="0"/>
              </a:rPr>
              <a:t>statkraft.com</a:t>
            </a:r>
          </a:p>
        </p:txBody>
      </p:sp>
    </p:spTree>
    <p:extLst>
      <p:ext uri="{BB962C8B-B14F-4D97-AF65-F5344CB8AC3E}">
        <p14:creationId xmlns:p14="http://schemas.microsoft.com/office/powerpoint/2010/main" val="170960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2866508967"/>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F9A8087B-33BC-467D-9863-0D0966781CD6}"/>
              </a:ext>
            </a:extLst>
          </p:cNvPr>
          <p:cNvSpPr>
            <a:spLocks noGrp="1"/>
          </p:cNvSpPr>
          <p:nvPr>
            <p:ph type="pic" sz="quarter" idx="10"/>
          </p:nvPr>
        </p:nvSpPr>
        <p:spPr>
          <a:xfrm>
            <a:off x="0" y="0"/>
            <a:ext cx="12192000" cy="685800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solidFill>
            <a:schemeClr val="accent1"/>
          </a:solidFill>
        </p:spPr>
        <p:txBody>
          <a:bodyPr wrap="square" anchor="t">
            <a:noAutofit/>
          </a:bodyPr>
          <a:lstStyle>
            <a:lvl1pPr marL="342900" indent="-342900" algn="l">
              <a:buFont typeface="Arial" panose="020B0604020202020204" pitchFamily="34" charset="0"/>
              <a:buChar char="•"/>
              <a:defRPr/>
            </a:lvl1pPr>
          </a:lstStyle>
          <a:p>
            <a:endParaRPr lang="en-GB"/>
          </a:p>
        </p:txBody>
      </p:sp>
      <p:cxnSp>
        <p:nvCxnSpPr>
          <p:cNvPr id="36" name="Straight Connector 35">
            <a:extLst>
              <a:ext uri="{FF2B5EF4-FFF2-40B4-BE49-F238E27FC236}">
                <a16:creationId xmlns:a16="http://schemas.microsoft.com/office/drawing/2014/main" id="{07CE9B5C-501B-458A-9AAE-82BC7915415C}"/>
              </a:ext>
            </a:extLst>
          </p:cNvPr>
          <p:cNvCxnSpPr>
            <a:cxnSpLocks/>
          </p:cNvCxnSpPr>
          <p:nvPr userDrawn="1"/>
        </p:nvCxnSpPr>
        <p:spPr>
          <a:xfrm>
            <a:off x="1524000" y="4211993"/>
            <a:ext cx="4284663" cy="0"/>
          </a:xfrm>
          <a:prstGeom prst="line">
            <a:avLst/>
          </a:prstGeom>
          <a:ln w="12700" cap="flat">
            <a:solidFill>
              <a:schemeClr val="accent6"/>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18" name="Group 17">
            <a:extLst>
              <a:ext uri="{FF2B5EF4-FFF2-40B4-BE49-F238E27FC236}">
                <a16:creationId xmlns:a16="http://schemas.microsoft.com/office/drawing/2014/main" id="{6D9D3D84-F3BF-4AAA-85BD-3D14ACE849EC}"/>
              </a:ext>
            </a:extLst>
          </p:cNvPr>
          <p:cNvGrpSpPr/>
          <p:nvPr userDrawn="1"/>
        </p:nvGrpSpPr>
        <p:grpSpPr>
          <a:xfrm>
            <a:off x="1533524" y="3103453"/>
            <a:ext cx="2243139" cy="606869"/>
            <a:chOff x="1533524" y="369094"/>
            <a:chExt cx="2243139" cy="606869"/>
          </a:xfrm>
        </p:grpSpPr>
        <p:pic>
          <p:nvPicPr>
            <p:cNvPr id="19" name="Graphic 18">
              <a:extLst>
                <a:ext uri="{FF2B5EF4-FFF2-40B4-BE49-F238E27FC236}">
                  <a16:creationId xmlns:a16="http://schemas.microsoft.com/office/drawing/2014/main" id="{C99FE193-D0A4-440E-B317-9F342F4AFE4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20" name="Picture 19">
              <a:extLst>
                <a:ext uri="{FF2B5EF4-FFF2-40B4-BE49-F238E27FC236}">
                  <a16:creationId xmlns:a16="http://schemas.microsoft.com/office/drawing/2014/main" id="{03542199-FD88-48AE-AE87-02D8A29F143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33524" y="369094"/>
              <a:ext cx="607220" cy="606869"/>
            </a:xfrm>
            <a:prstGeom prst="ellipse">
              <a:avLst/>
            </a:prstGeom>
            <a:ln w="63500" cap="rnd">
              <a:noFill/>
            </a:ln>
            <a:effectLst/>
          </p:spPr>
        </p:pic>
      </p:grpSp>
      <p:sp>
        <p:nvSpPr>
          <p:cNvPr id="10" name="TextBox 9">
            <a:extLst>
              <a:ext uri="{FF2B5EF4-FFF2-40B4-BE49-F238E27FC236}">
                <a16:creationId xmlns:a16="http://schemas.microsoft.com/office/drawing/2014/main" id="{FA3C9C38-006A-4064-941D-3CF68D8A7EE0}"/>
              </a:ext>
            </a:extLst>
          </p:cNvPr>
          <p:cNvSpPr txBox="1"/>
          <p:nvPr userDrawn="1"/>
        </p:nvSpPr>
        <p:spPr>
          <a:xfrm>
            <a:off x="1524001" y="4342961"/>
            <a:ext cx="4284662" cy="246221"/>
          </a:xfrm>
          <a:prstGeom prst="rect">
            <a:avLst/>
          </a:prstGeom>
          <a:noFill/>
        </p:spPr>
        <p:txBody>
          <a:bodyPr wrap="square" lIns="0" tIns="0" rIns="0" bIns="0" rtlCol="0">
            <a:spAutoFit/>
          </a:bodyPr>
          <a:lstStyle/>
          <a:p>
            <a:pPr algn="l">
              <a:spcBef>
                <a:spcPts val="600"/>
              </a:spcBef>
              <a:buClr>
                <a:schemeClr val="accent1"/>
              </a:buClr>
              <a:buSzPct val="120000"/>
            </a:pPr>
            <a:r>
              <a:rPr lang="en-GB" sz="1600" dirty="0">
                <a:solidFill>
                  <a:schemeClr val="accent6"/>
                </a:solidFill>
                <a:latin typeface="Arial" pitchFamily="34" charset="0"/>
                <a:cs typeface="Arial" pitchFamily="34" charset="0"/>
              </a:rPr>
              <a:t>statkraft.com</a:t>
            </a:r>
          </a:p>
        </p:txBody>
      </p:sp>
    </p:spTree>
    <p:extLst>
      <p:ext uri="{BB962C8B-B14F-4D97-AF65-F5344CB8AC3E}">
        <p14:creationId xmlns:p14="http://schemas.microsoft.com/office/powerpoint/2010/main" val="294016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0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2475175085"/>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14" name="Graphic 5">
            <a:extLst>
              <a:ext uri="{FF2B5EF4-FFF2-40B4-BE49-F238E27FC236}">
                <a16:creationId xmlns:a16="http://schemas.microsoft.com/office/drawing/2014/main" id="{3A45DB2C-420A-4A46-9176-30488C4A057E}"/>
              </a:ext>
            </a:extLst>
          </p:cNvPr>
          <p:cNvSpPr/>
          <p:nvPr/>
        </p:nvSpPr>
        <p:spPr>
          <a:xfrm>
            <a:off x="4926457" y="0"/>
            <a:ext cx="7265543" cy="6845276"/>
          </a:xfrm>
          <a:custGeom>
            <a:avLst/>
            <a:gdLst>
              <a:gd name="connsiteX0" fmla="*/ 2134621 w 7265542"/>
              <a:gd name="connsiteY0" fmla="*/ 6837897 h 6845276"/>
              <a:gd name="connsiteX1" fmla="*/ 1877972 w 7265542"/>
              <a:gd name="connsiteY1" fmla="*/ 6655441 h 6845276"/>
              <a:gd name="connsiteX2" fmla="*/ 1560503 w 7265542"/>
              <a:gd name="connsiteY2" fmla="*/ 6389519 h 6845276"/>
              <a:gd name="connsiteX3" fmla="*/ 1495609 w 7265542"/>
              <a:gd name="connsiteY3" fmla="*/ 6305670 h 6845276"/>
              <a:gd name="connsiteX4" fmla="*/ 1541926 w 7265542"/>
              <a:gd name="connsiteY4" fmla="*/ 6292947 h 6845276"/>
              <a:gd name="connsiteX5" fmla="*/ 1909402 w 7265542"/>
              <a:gd name="connsiteY5" fmla="*/ 6333789 h 6845276"/>
              <a:gd name="connsiteX6" fmla="*/ 2362258 w 7265542"/>
              <a:gd name="connsiteY6" fmla="*/ 6339133 h 6845276"/>
              <a:gd name="connsiteX7" fmla="*/ 2887769 w 7265542"/>
              <a:gd name="connsiteY7" fmla="*/ 6288239 h 6845276"/>
              <a:gd name="connsiteX8" fmla="*/ 3362637 w 7265542"/>
              <a:gd name="connsiteY8" fmla="*/ 6207444 h 6845276"/>
              <a:gd name="connsiteX9" fmla="*/ 3823255 w 7265542"/>
              <a:gd name="connsiteY9" fmla="*/ 6126650 h 6845276"/>
              <a:gd name="connsiteX10" fmla="*/ 4278274 w 7265542"/>
              <a:gd name="connsiteY10" fmla="*/ 6088479 h 6845276"/>
              <a:gd name="connsiteX11" fmla="*/ 4877204 w 7265542"/>
              <a:gd name="connsiteY11" fmla="*/ 6126650 h 6845276"/>
              <a:gd name="connsiteX12" fmla="*/ 5343929 w 7265542"/>
              <a:gd name="connsiteY12" fmla="*/ 6239635 h 6845276"/>
              <a:gd name="connsiteX13" fmla="*/ 5368487 w 7265542"/>
              <a:gd name="connsiteY13" fmla="*/ 6267372 h 6845276"/>
              <a:gd name="connsiteX14" fmla="*/ 5347238 w 7265542"/>
              <a:gd name="connsiteY14" fmla="*/ 6276406 h 6845276"/>
              <a:gd name="connsiteX15" fmla="*/ 4678070 w 7265542"/>
              <a:gd name="connsiteY15" fmla="*/ 6324629 h 6845276"/>
              <a:gd name="connsiteX16" fmla="*/ 3901891 w 7265542"/>
              <a:gd name="connsiteY16" fmla="*/ 6573374 h 6845276"/>
              <a:gd name="connsiteX17" fmla="*/ 3526017 w 7265542"/>
              <a:gd name="connsiteY17" fmla="*/ 6721095 h 6845276"/>
              <a:gd name="connsiteX18" fmla="*/ 3009413 w 7265542"/>
              <a:gd name="connsiteY18" fmla="*/ 6854310 h 6845276"/>
              <a:gd name="connsiteX19" fmla="*/ 7275215 w 7265542"/>
              <a:gd name="connsiteY19" fmla="*/ 6854311 h 6845276"/>
              <a:gd name="connsiteX20" fmla="*/ 7275215 w 7265542"/>
              <a:gd name="connsiteY20" fmla="*/ 0 h 6845276"/>
              <a:gd name="connsiteX21" fmla="*/ 1146711 w 7265542"/>
              <a:gd name="connsiteY21" fmla="*/ 0 h 6845276"/>
              <a:gd name="connsiteX22" fmla="*/ 2 w 7265542"/>
              <a:gd name="connsiteY22" fmla="*/ 3050347 h 6845276"/>
              <a:gd name="connsiteX23" fmla="*/ 1986638 w 7265542"/>
              <a:gd name="connsiteY23" fmla="*/ 6854692 h 6845276"/>
              <a:gd name="connsiteX24" fmla="*/ 2162105 w 7265542"/>
              <a:gd name="connsiteY24" fmla="*/ 6854692 h 6845276"/>
              <a:gd name="connsiteX25" fmla="*/ 2134621 w 7265542"/>
              <a:gd name="connsiteY25" fmla="*/ 6837897 h 6845276"/>
              <a:gd name="connsiteX26" fmla="*/ 481360 w 7265542"/>
              <a:gd name="connsiteY26" fmla="*/ 1206321 h 6845276"/>
              <a:gd name="connsiteX27" fmla="*/ 755694 w 7265542"/>
              <a:gd name="connsiteY27" fmla="*/ 684655 h 6845276"/>
              <a:gd name="connsiteX28" fmla="*/ 796285 w 7265542"/>
              <a:gd name="connsiteY28" fmla="*/ 621037 h 6845276"/>
              <a:gd name="connsiteX29" fmla="*/ 858761 w 7265542"/>
              <a:gd name="connsiteY29" fmla="*/ 601061 h 6845276"/>
              <a:gd name="connsiteX30" fmla="*/ 893498 w 7265542"/>
              <a:gd name="connsiteY30" fmla="*/ 609204 h 6845276"/>
              <a:gd name="connsiteX31" fmla="*/ 1269626 w 7265542"/>
              <a:gd name="connsiteY31" fmla="*/ 624727 h 6845276"/>
              <a:gd name="connsiteX32" fmla="*/ 2060311 w 7265542"/>
              <a:gd name="connsiteY32" fmla="*/ 534390 h 6845276"/>
              <a:gd name="connsiteX33" fmla="*/ 2977475 w 7265542"/>
              <a:gd name="connsiteY33" fmla="*/ 385778 h 6845276"/>
              <a:gd name="connsiteX34" fmla="*/ 3465449 w 7265542"/>
              <a:gd name="connsiteY34" fmla="*/ 307529 h 6845276"/>
              <a:gd name="connsiteX35" fmla="*/ 4516472 w 7265542"/>
              <a:gd name="connsiteY35" fmla="*/ 287171 h 6845276"/>
              <a:gd name="connsiteX36" fmla="*/ 5616610 w 7265542"/>
              <a:gd name="connsiteY36" fmla="*/ 451559 h 6845276"/>
              <a:gd name="connsiteX37" fmla="*/ 6033074 w 7265542"/>
              <a:gd name="connsiteY37" fmla="*/ 554366 h 6845276"/>
              <a:gd name="connsiteX38" fmla="*/ 6356270 w 7265542"/>
              <a:gd name="connsiteY38" fmla="*/ 650556 h 6845276"/>
              <a:gd name="connsiteX39" fmla="*/ 6368104 w 7265542"/>
              <a:gd name="connsiteY39" fmla="*/ 662389 h 6845276"/>
              <a:gd name="connsiteX40" fmla="*/ 6354235 w 7265542"/>
              <a:gd name="connsiteY40" fmla="*/ 670150 h 6845276"/>
              <a:gd name="connsiteX41" fmla="*/ 6323951 w 7265542"/>
              <a:gd name="connsiteY41" fmla="*/ 668623 h 6845276"/>
              <a:gd name="connsiteX42" fmla="*/ 5538483 w 7265542"/>
              <a:gd name="connsiteY42" fmla="*/ 638087 h 6845276"/>
              <a:gd name="connsiteX43" fmla="*/ 4388084 w 7265542"/>
              <a:gd name="connsiteY43" fmla="*/ 695852 h 6845276"/>
              <a:gd name="connsiteX44" fmla="*/ 3048476 w 7265542"/>
              <a:gd name="connsiteY44" fmla="*/ 978569 h 6845276"/>
              <a:gd name="connsiteX45" fmla="*/ 2052295 w 7265542"/>
              <a:gd name="connsiteY45" fmla="*/ 1292460 h 6845276"/>
              <a:gd name="connsiteX46" fmla="*/ 1135258 w 7265542"/>
              <a:gd name="connsiteY46" fmla="*/ 1461301 h 6845276"/>
              <a:gd name="connsiteX47" fmla="*/ 715994 w 7265542"/>
              <a:gd name="connsiteY47" fmla="*/ 1438653 h 6845276"/>
              <a:gd name="connsiteX48" fmla="*/ 512407 w 7265542"/>
              <a:gd name="connsiteY48" fmla="*/ 1355950 h 6845276"/>
              <a:gd name="connsiteX49" fmla="*/ 481360 w 7265542"/>
              <a:gd name="connsiteY49" fmla="*/ 1206321 h 6845276"/>
              <a:gd name="connsiteX50" fmla="*/ 90853 w 7265542"/>
              <a:gd name="connsiteY50" fmla="*/ 3171730 h 6845276"/>
              <a:gd name="connsiteX51" fmla="*/ 124444 w 7265542"/>
              <a:gd name="connsiteY51" fmla="*/ 2481222 h 6845276"/>
              <a:gd name="connsiteX52" fmla="*/ 130807 w 7265542"/>
              <a:gd name="connsiteY52" fmla="*/ 2431727 h 6845276"/>
              <a:gd name="connsiteX53" fmla="*/ 158673 w 7265542"/>
              <a:gd name="connsiteY53" fmla="*/ 2387958 h 6845276"/>
              <a:gd name="connsiteX54" fmla="*/ 223057 w 7265542"/>
              <a:gd name="connsiteY54" fmla="*/ 2384777 h 6845276"/>
              <a:gd name="connsiteX55" fmla="*/ 259322 w 7265542"/>
              <a:gd name="connsiteY55" fmla="*/ 2391266 h 6845276"/>
              <a:gd name="connsiteX56" fmla="*/ 507444 w 7265542"/>
              <a:gd name="connsiteY56" fmla="*/ 2427656 h 6845276"/>
              <a:gd name="connsiteX57" fmla="*/ 1094159 w 7265542"/>
              <a:gd name="connsiteY57" fmla="*/ 2453103 h 6845276"/>
              <a:gd name="connsiteX58" fmla="*/ 1746532 w 7265542"/>
              <a:gd name="connsiteY58" fmla="*/ 2400936 h 6845276"/>
              <a:gd name="connsiteX59" fmla="*/ 2181191 w 7265542"/>
              <a:gd name="connsiteY59" fmla="*/ 2333247 h 6845276"/>
              <a:gd name="connsiteX60" fmla="*/ 2915889 w 7265542"/>
              <a:gd name="connsiteY60" fmla="*/ 2187562 h 6845276"/>
              <a:gd name="connsiteX61" fmla="*/ 3574496 w 7265542"/>
              <a:gd name="connsiteY61" fmla="*/ 2056255 h 6845276"/>
              <a:gd name="connsiteX62" fmla="*/ 4130291 w 7265542"/>
              <a:gd name="connsiteY62" fmla="*/ 1971898 h 6845276"/>
              <a:gd name="connsiteX63" fmla="*/ 4859390 w 7265542"/>
              <a:gd name="connsiteY63" fmla="*/ 1932327 h 6845276"/>
              <a:gd name="connsiteX64" fmla="*/ 5559223 w 7265542"/>
              <a:gd name="connsiteY64" fmla="*/ 1978769 h 6845276"/>
              <a:gd name="connsiteX65" fmla="*/ 6203070 w 7265542"/>
              <a:gd name="connsiteY65" fmla="*/ 2094298 h 6845276"/>
              <a:gd name="connsiteX66" fmla="*/ 6813071 w 7265542"/>
              <a:gd name="connsiteY66" fmla="*/ 2274591 h 6845276"/>
              <a:gd name="connsiteX67" fmla="*/ 7072900 w 7265542"/>
              <a:gd name="connsiteY67" fmla="*/ 2378543 h 6845276"/>
              <a:gd name="connsiteX68" fmla="*/ 7081807 w 7265542"/>
              <a:gd name="connsiteY68" fmla="*/ 2395338 h 6845276"/>
              <a:gd name="connsiteX69" fmla="*/ 7056358 w 7265542"/>
              <a:gd name="connsiteY69" fmla="*/ 2404372 h 6845276"/>
              <a:gd name="connsiteX70" fmla="*/ 6849080 w 7265542"/>
              <a:gd name="connsiteY70" fmla="*/ 2399537 h 6845276"/>
              <a:gd name="connsiteX71" fmla="*/ 5240990 w 7265542"/>
              <a:gd name="connsiteY71" fmla="*/ 2475878 h 6845276"/>
              <a:gd name="connsiteX72" fmla="*/ 3948462 w 7265542"/>
              <a:gd name="connsiteY72" fmla="*/ 2780480 h 6845276"/>
              <a:gd name="connsiteX73" fmla="*/ 2170630 w 7265542"/>
              <a:gd name="connsiteY73" fmla="*/ 3365764 h 6845276"/>
              <a:gd name="connsiteX74" fmla="*/ 585826 w 7265542"/>
              <a:gd name="connsiteY74" fmla="*/ 3561071 h 6845276"/>
              <a:gd name="connsiteX75" fmla="*/ 183231 w 7265542"/>
              <a:gd name="connsiteY75" fmla="*/ 3421875 h 6845276"/>
              <a:gd name="connsiteX76" fmla="*/ 90853 w 7265542"/>
              <a:gd name="connsiteY76" fmla="*/ 3171730 h 6845276"/>
              <a:gd name="connsiteX77" fmla="*/ 1182338 w 7265542"/>
              <a:gd name="connsiteY77" fmla="*/ 5427363 h 6845276"/>
              <a:gd name="connsiteX78" fmla="*/ 591552 w 7265542"/>
              <a:gd name="connsiteY78" fmla="*/ 5123270 h 6845276"/>
              <a:gd name="connsiteX79" fmla="*/ 349791 w 7265542"/>
              <a:gd name="connsiteY79" fmla="*/ 4568904 h 6845276"/>
              <a:gd name="connsiteX80" fmla="*/ 334013 w 7265542"/>
              <a:gd name="connsiteY80" fmla="*/ 4521572 h 6845276"/>
              <a:gd name="connsiteX81" fmla="*/ 338339 w 7265542"/>
              <a:gd name="connsiteY81" fmla="*/ 4457955 h 6845276"/>
              <a:gd name="connsiteX82" fmla="*/ 424991 w 7265542"/>
              <a:gd name="connsiteY82" fmla="*/ 4457955 h 6845276"/>
              <a:gd name="connsiteX83" fmla="*/ 1049497 w 7265542"/>
              <a:gd name="connsiteY83" fmla="*/ 4542312 h 6845276"/>
              <a:gd name="connsiteX84" fmla="*/ 1610127 w 7265542"/>
              <a:gd name="connsiteY84" fmla="*/ 4563433 h 6845276"/>
              <a:gd name="connsiteX85" fmla="*/ 2116552 w 7265542"/>
              <a:gd name="connsiteY85" fmla="*/ 4537986 h 6845276"/>
              <a:gd name="connsiteX86" fmla="*/ 2803661 w 7265542"/>
              <a:gd name="connsiteY86" fmla="*/ 4440142 h 6845276"/>
              <a:gd name="connsiteX87" fmla="*/ 3652623 w 7265542"/>
              <a:gd name="connsiteY87" fmla="*/ 4257813 h 6845276"/>
              <a:gd name="connsiteX88" fmla="*/ 4171772 w 7265542"/>
              <a:gd name="connsiteY88" fmla="*/ 4160605 h 6845276"/>
              <a:gd name="connsiteX89" fmla="*/ 4583401 w 7265542"/>
              <a:gd name="connsiteY89" fmla="*/ 4127905 h 6845276"/>
              <a:gd name="connsiteX90" fmla="*/ 5135888 w 7265542"/>
              <a:gd name="connsiteY90" fmla="*/ 4149154 h 6845276"/>
              <a:gd name="connsiteX91" fmla="*/ 5791059 w 7265542"/>
              <a:gd name="connsiteY91" fmla="*/ 4241400 h 6845276"/>
              <a:gd name="connsiteX92" fmla="*/ 6230555 w 7265542"/>
              <a:gd name="connsiteY92" fmla="*/ 4347514 h 6845276"/>
              <a:gd name="connsiteX93" fmla="*/ 6386427 w 7265542"/>
              <a:gd name="connsiteY93" fmla="*/ 4395609 h 6845276"/>
              <a:gd name="connsiteX94" fmla="*/ 6403605 w 7265542"/>
              <a:gd name="connsiteY94" fmla="*/ 4415967 h 6845276"/>
              <a:gd name="connsiteX95" fmla="*/ 6382737 w 7265542"/>
              <a:gd name="connsiteY95" fmla="*/ 4424492 h 6845276"/>
              <a:gd name="connsiteX96" fmla="*/ 6364541 w 7265542"/>
              <a:gd name="connsiteY96" fmla="*/ 4422711 h 6845276"/>
              <a:gd name="connsiteX97" fmla="*/ 5164390 w 7265542"/>
              <a:gd name="connsiteY97" fmla="*/ 4511775 h 6845276"/>
              <a:gd name="connsiteX98" fmla="*/ 4289599 w 7265542"/>
              <a:gd name="connsiteY98" fmla="*/ 4790167 h 6845276"/>
              <a:gd name="connsiteX99" fmla="*/ 3144417 w 7265542"/>
              <a:gd name="connsiteY99" fmla="*/ 5183070 h 6845276"/>
              <a:gd name="connsiteX100" fmla="*/ 1923780 w 7265542"/>
              <a:gd name="connsiteY100" fmla="*/ 5443013 h 6845276"/>
              <a:gd name="connsiteX101" fmla="*/ 1182338 w 7265542"/>
              <a:gd name="connsiteY101" fmla="*/ 5427363 h 684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7265542" h="6845276">
                <a:moveTo>
                  <a:pt x="2134621" y="6837897"/>
                </a:moveTo>
                <a:cubicBezTo>
                  <a:pt x="2134621" y="6837897"/>
                  <a:pt x="2045551" y="6778605"/>
                  <a:pt x="1877972" y="6655441"/>
                </a:cubicBezTo>
                <a:cubicBezTo>
                  <a:pt x="1773252" y="6578464"/>
                  <a:pt x="1643337" y="6464588"/>
                  <a:pt x="1560503" y="6389519"/>
                </a:cubicBezTo>
                <a:cubicBezTo>
                  <a:pt x="1536072" y="6366871"/>
                  <a:pt x="1493701" y="6324628"/>
                  <a:pt x="1495609" y="6305670"/>
                </a:cubicBezTo>
                <a:cubicBezTo>
                  <a:pt x="1495609" y="6305670"/>
                  <a:pt x="1496627" y="6287985"/>
                  <a:pt x="1541926" y="6292947"/>
                </a:cubicBezTo>
                <a:cubicBezTo>
                  <a:pt x="1587224" y="6297909"/>
                  <a:pt x="1720956" y="6319794"/>
                  <a:pt x="1909402" y="6333789"/>
                </a:cubicBezTo>
                <a:cubicBezTo>
                  <a:pt x="2060167" y="6343218"/>
                  <a:pt x="2211312" y="6345002"/>
                  <a:pt x="2362258" y="6339133"/>
                </a:cubicBezTo>
                <a:cubicBezTo>
                  <a:pt x="2539252" y="6333408"/>
                  <a:pt x="2727825" y="6310124"/>
                  <a:pt x="2887769" y="6288239"/>
                </a:cubicBezTo>
                <a:cubicBezTo>
                  <a:pt x="3047712" y="6266355"/>
                  <a:pt x="3362637" y="6207444"/>
                  <a:pt x="3362637" y="6207444"/>
                </a:cubicBezTo>
                <a:cubicBezTo>
                  <a:pt x="3362637" y="6207444"/>
                  <a:pt x="3615214" y="6158459"/>
                  <a:pt x="3823255" y="6126650"/>
                </a:cubicBezTo>
                <a:cubicBezTo>
                  <a:pt x="3973869" y="6103476"/>
                  <a:pt x="4125904" y="6090723"/>
                  <a:pt x="4278274" y="6088479"/>
                </a:cubicBezTo>
                <a:cubicBezTo>
                  <a:pt x="4478495" y="6089387"/>
                  <a:pt x="4678488" y="6102132"/>
                  <a:pt x="4877204" y="6126650"/>
                </a:cubicBezTo>
                <a:cubicBezTo>
                  <a:pt x="5169862" y="6164820"/>
                  <a:pt x="5330060" y="6233146"/>
                  <a:pt x="5343929" y="6239635"/>
                </a:cubicBezTo>
                <a:cubicBezTo>
                  <a:pt x="5357799" y="6246124"/>
                  <a:pt x="5371287" y="6256430"/>
                  <a:pt x="5368487" y="6267372"/>
                </a:cubicBezTo>
                <a:cubicBezTo>
                  <a:pt x="5365688" y="6278315"/>
                  <a:pt x="5347238" y="6276406"/>
                  <a:pt x="5347238" y="6276406"/>
                </a:cubicBezTo>
                <a:cubicBezTo>
                  <a:pt x="5123140" y="6270490"/>
                  <a:pt x="4899003" y="6286642"/>
                  <a:pt x="4678070" y="6324629"/>
                </a:cubicBezTo>
                <a:cubicBezTo>
                  <a:pt x="4339478" y="6386592"/>
                  <a:pt x="3901891" y="6573374"/>
                  <a:pt x="3901891" y="6573374"/>
                </a:cubicBezTo>
                <a:lnTo>
                  <a:pt x="3526017" y="6721095"/>
                </a:lnTo>
                <a:cubicBezTo>
                  <a:pt x="3358065" y="6780596"/>
                  <a:pt x="3185194" y="6825174"/>
                  <a:pt x="3009413" y="6854310"/>
                </a:cubicBezTo>
                <a:lnTo>
                  <a:pt x="7275215" y="6854311"/>
                </a:lnTo>
                <a:lnTo>
                  <a:pt x="7275215" y="0"/>
                </a:lnTo>
                <a:lnTo>
                  <a:pt x="1146711" y="0"/>
                </a:lnTo>
                <a:cubicBezTo>
                  <a:pt x="406626" y="843748"/>
                  <a:pt x="-988" y="1928039"/>
                  <a:pt x="2" y="3050347"/>
                </a:cubicBezTo>
                <a:cubicBezTo>
                  <a:pt x="1" y="4622852"/>
                  <a:pt x="786360" y="6014937"/>
                  <a:pt x="1986638" y="6854692"/>
                </a:cubicBezTo>
                <a:lnTo>
                  <a:pt x="2162105" y="6854692"/>
                </a:lnTo>
                <a:cubicBezTo>
                  <a:pt x="2152501" y="6849854"/>
                  <a:pt x="2143308" y="6844237"/>
                  <a:pt x="2134621" y="6837897"/>
                </a:cubicBezTo>
                <a:close/>
                <a:moveTo>
                  <a:pt x="481360" y="1206321"/>
                </a:moveTo>
                <a:cubicBezTo>
                  <a:pt x="568648" y="1000072"/>
                  <a:pt x="755694" y="684655"/>
                  <a:pt x="755694" y="684655"/>
                </a:cubicBezTo>
                <a:cubicBezTo>
                  <a:pt x="755694" y="684655"/>
                  <a:pt x="773890" y="653609"/>
                  <a:pt x="796285" y="621037"/>
                </a:cubicBezTo>
                <a:cubicBezTo>
                  <a:pt x="818680" y="588465"/>
                  <a:pt x="858761" y="601061"/>
                  <a:pt x="858761" y="601061"/>
                </a:cubicBezTo>
                <a:lnTo>
                  <a:pt x="893498" y="609204"/>
                </a:lnTo>
                <a:cubicBezTo>
                  <a:pt x="1024049" y="637832"/>
                  <a:pt x="1269626" y="624727"/>
                  <a:pt x="1269626" y="624727"/>
                </a:cubicBezTo>
                <a:cubicBezTo>
                  <a:pt x="1534800" y="610731"/>
                  <a:pt x="1942103" y="551694"/>
                  <a:pt x="2060311" y="534390"/>
                </a:cubicBezTo>
                <a:cubicBezTo>
                  <a:pt x="2178519" y="517086"/>
                  <a:pt x="2977475" y="385778"/>
                  <a:pt x="2977475" y="385778"/>
                </a:cubicBezTo>
                <a:cubicBezTo>
                  <a:pt x="3170883" y="350661"/>
                  <a:pt x="3465449" y="307529"/>
                  <a:pt x="3465449" y="307529"/>
                </a:cubicBezTo>
                <a:cubicBezTo>
                  <a:pt x="3938791" y="242257"/>
                  <a:pt x="4516472" y="287171"/>
                  <a:pt x="4516472" y="287171"/>
                </a:cubicBezTo>
                <a:cubicBezTo>
                  <a:pt x="4999993" y="314908"/>
                  <a:pt x="5616610" y="451559"/>
                  <a:pt x="5616610" y="451559"/>
                </a:cubicBezTo>
                <a:cubicBezTo>
                  <a:pt x="5789914" y="487821"/>
                  <a:pt x="6033074" y="554366"/>
                  <a:pt x="6033074" y="554366"/>
                </a:cubicBezTo>
                <a:cubicBezTo>
                  <a:pt x="6136268" y="581594"/>
                  <a:pt x="6356270" y="650556"/>
                  <a:pt x="6356270" y="650556"/>
                </a:cubicBezTo>
                <a:cubicBezTo>
                  <a:pt x="6356270" y="650556"/>
                  <a:pt x="6370140" y="654246"/>
                  <a:pt x="6368104" y="662389"/>
                </a:cubicBezTo>
                <a:cubicBezTo>
                  <a:pt x="6366068" y="670532"/>
                  <a:pt x="6354235" y="670150"/>
                  <a:pt x="6354235" y="670150"/>
                </a:cubicBezTo>
                <a:lnTo>
                  <a:pt x="6323951" y="668623"/>
                </a:lnTo>
                <a:cubicBezTo>
                  <a:pt x="6258166" y="664170"/>
                  <a:pt x="5799203" y="640250"/>
                  <a:pt x="5538483" y="638087"/>
                </a:cubicBezTo>
                <a:cubicBezTo>
                  <a:pt x="5277763" y="635924"/>
                  <a:pt x="4979762" y="634651"/>
                  <a:pt x="4388084" y="695852"/>
                </a:cubicBezTo>
                <a:cubicBezTo>
                  <a:pt x="3796407" y="757052"/>
                  <a:pt x="3182207" y="940017"/>
                  <a:pt x="3048476" y="978569"/>
                </a:cubicBezTo>
                <a:cubicBezTo>
                  <a:pt x="2914744" y="1017122"/>
                  <a:pt x="2052295" y="1292460"/>
                  <a:pt x="2052295" y="1292460"/>
                </a:cubicBezTo>
                <a:cubicBezTo>
                  <a:pt x="1560248" y="1436490"/>
                  <a:pt x="1356279" y="1447687"/>
                  <a:pt x="1135258" y="1461301"/>
                </a:cubicBezTo>
                <a:cubicBezTo>
                  <a:pt x="995096" y="1468825"/>
                  <a:pt x="854531" y="1461232"/>
                  <a:pt x="715994" y="1438653"/>
                </a:cubicBezTo>
                <a:cubicBezTo>
                  <a:pt x="567503" y="1413206"/>
                  <a:pt x="512407" y="1355950"/>
                  <a:pt x="512407" y="1355950"/>
                </a:cubicBezTo>
                <a:cubicBezTo>
                  <a:pt x="439370" y="1285080"/>
                  <a:pt x="481360" y="1206321"/>
                  <a:pt x="481360" y="1206321"/>
                </a:cubicBezTo>
                <a:close/>
                <a:moveTo>
                  <a:pt x="90853" y="3171730"/>
                </a:moveTo>
                <a:cubicBezTo>
                  <a:pt x="75965" y="2855804"/>
                  <a:pt x="124444" y="2481222"/>
                  <a:pt x="124444" y="2481222"/>
                </a:cubicBezTo>
                <a:cubicBezTo>
                  <a:pt x="124444" y="2481222"/>
                  <a:pt x="126353" y="2463027"/>
                  <a:pt x="130807" y="2431727"/>
                </a:cubicBezTo>
                <a:cubicBezTo>
                  <a:pt x="132916" y="2413645"/>
                  <a:pt x="143181" y="2397521"/>
                  <a:pt x="158673" y="2387958"/>
                </a:cubicBezTo>
                <a:cubicBezTo>
                  <a:pt x="179320" y="2380418"/>
                  <a:pt x="201767" y="2379309"/>
                  <a:pt x="223057" y="2384777"/>
                </a:cubicBezTo>
                <a:lnTo>
                  <a:pt x="259322" y="2391266"/>
                </a:lnTo>
                <a:cubicBezTo>
                  <a:pt x="370023" y="2412515"/>
                  <a:pt x="507444" y="2427656"/>
                  <a:pt x="507444" y="2427656"/>
                </a:cubicBezTo>
                <a:cubicBezTo>
                  <a:pt x="702225" y="2449267"/>
                  <a:pt x="898238" y="2457768"/>
                  <a:pt x="1094159" y="2453103"/>
                </a:cubicBezTo>
                <a:cubicBezTo>
                  <a:pt x="1391143" y="2449540"/>
                  <a:pt x="1746532" y="2400936"/>
                  <a:pt x="1746532" y="2400936"/>
                </a:cubicBezTo>
                <a:cubicBezTo>
                  <a:pt x="1889806" y="2383760"/>
                  <a:pt x="2181191" y="2333247"/>
                  <a:pt x="2181191" y="2333247"/>
                </a:cubicBezTo>
                <a:cubicBezTo>
                  <a:pt x="2304744" y="2311999"/>
                  <a:pt x="2776686" y="2216572"/>
                  <a:pt x="2915889" y="2187562"/>
                </a:cubicBezTo>
                <a:cubicBezTo>
                  <a:pt x="3055092" y="2158552"/>
                  <a:pt x="3574496" y="2056255"/>
                  <a:pt x="3574496" y="2056255"/>
                </a:cubicBezTo>
                <a:cubicBezTo>
                  <a:pt x="3807986" y="2011086"/>
                  <a:pt x="4130291" y="1971898"/>
                  <a:pt x="4130291" y="1971898"/>
                </a:cubicBezTo>
                <a:cubicBezTo>
                  <a:pt x="4372258" y="1943481"/>
                  <a:pt x="4615769" y="1930265"/>
                  <a:pt x="4859390" y="1932327"/>
                </a:cubicBezTo>
                <a:cubicBezTo>
                  <a:pt x="5005465" y="1932327"/>
                  <a:pt x="5246971" y="1942506"/>
                  <a:pt x="5559223" y="1978769"/>
                </a:cubicBezTo>
                <a:cubicBezTo>
                  <a:pt x="5775652" y="2006382"/>
                  <a:pt x="5990543" y="2044942"/>
                  <a:pt x="6203070" y="2094298"/>
                </a:cubicBezTo>
                <a:cubicBezTo>
                  <a:pt x="6430707" y="2145193"/>
                  <a:pt x="6688119" y="2230059"/>
                  <a:pt x="6813071" y="2274591"/>
                </a:cubicBezTo>
                <a:cubicBezTo>
                  <a:pt x="6938023" y="2319124"/>
                  <a:pt x="7067556" y="2376380"/>
                  <a:pt x="7072900" y="2378543"/>
                </a:cubicBezTo>
                <a:cubicBezTo>
                  <a:pt x="7078244" y="2380706"/>
                  <a:pt x="7084733" y="2384396"/>
                  <a:pt x="7081807" y="2395338"/>
                </a:cubicBezTo>
                <a:cubicBezTo>
                  <a:pt x="7078880" y="2406280"/>
                  <a:pt x="7056358" y="2404372"/>
                  <a:pt x="7056358" y="2404372"/>
                </a:cubicBezTo>
                <a:lnTo>
                  <a:pt x="6849080" y="2399537"/>
                </a:lnTo>
                <a:cubicBezTo>
                  <a:pt x="6392153" y="2388722"/>
                  <a:pt x="5724130" y="2406026"/>
                  <a:pt x="5240990" y="2475878"/>
                </a:cubicBezTo>
                <a:cubicBezTo>
                  <a:pt x="4757851" y="2545730"/>
                  <a:pt x="4231322" y="2695614"/>
                  <a:pt x="3948462" y="2780480"/>
                </a:cubicBezTo>
                <a:cubicBezTo>
                  <a:pt x="3665601" y="2865346"/>
                  <a:pt x="3110697" y="3050347"/>
                  <a:pt x="2170630" y="3365764"/>
                </a:cubicBezTo>
                <a:cubicBezTo>
                  <a:pt x="1230563" y="3681181"/>
                  <a:pt x="585826" y="3561071"/>
                  <a:pt x="585826" y="3561071"/>
                </a:cubicBezTo>
                <a:cubicBezTo>
                  <a:pt x="359589" y="3533715"/>
                  <a:pt x="282607" y="3501397"/>
                  <a:pt x="183231" y="3421875"/>
                </a:cubicBezTo>
                <a:cubicBezTo>
                  <a:pt x="83855" y="3342353"/>
                  <a:pt x="90853" y="3171730"/>
                  <a:pt x="90853" y="3171730"/>
                </a:cubicBezTo>
                <a:close/>
                <a:moveTo>
                  <a:pt x="1182338" y="5427363"/>
                </a:moveTo>
                <a:cubicBezTo>
                  <a:pt x="1011579" y="5404588"/>
                  <a:pt x="718794" y="5359928"/>
                  <a:pt x="591552" y="5123270"/>
                </a:cubicBezTo>
                <a:cubicBezTo>
                  <a:pt x="464309" y="4886611"/>
                  <a:pt x="349791" y="4568904"/>
                  <a:pt x="349791" y="4568904"/>
                </a:cubicBezTo>
                <a:cubicBezTo>
                  <a:pt x="349791" y="4568904"/>
                  <a:pt x="342157" y="4543457"/>
                  <a:pt x="334013" y="4521572"/>
                </a:cubicBezTo>
                <a:cubicBezTo>
                  <a:pt x="325869" y="4499688"/>
                  <a:pt x="316581" y="4473223"/>
                  <a:pt x="338339" y="4457955"/>
                </a:cubicBezTo>
                <a:cubicBezTo>
                  <a:pt x="360098" y="4442687"/>
                  <a:pt x="424991" y="4457955"/>
                  <a:pt x="424991" y="4457955"/>
                </a:cubicBezTo>
                <a:cubicBezTo>
                  <a:pt x="662680" y="4506940"/>
                  <a:pt x="1049497" y="4542312"/>
                  <a:pt x="1049497" y="4542312"/>
                </a:cubicBezTo>
                <a:cubicBezTo>
                  <a:pt x="1276371" y="4564578"/>
                  <a:pt x="1610127" y="4563433"/>
                  <a:pt x="1610127" y="4563433"/>
                </a:cubicBezTo>
                <a:cubicBezTo>
                  <a:pt x="1814987" y="4564578"/>
                  <a:pt x="2116552" y="4537986"/>
                  <a:pt x="2116552" y="4537986"/>
                </a:cubicBezTo>
                <a:cubicBezTo>
                  <a:pt x="2399666" y="4515974"/>
                  <a:pt x="2803661" y="4440142"/>
                  <a:pt x="2803661" y="4440142"/>
                </a:cubicBezTo>
                <a:cubicBezTo>
                  <a:pt x="2977856" y="4408715"/>
                  <a:pt x="3401701" y="4313670"/>
                  <a:pt x="3652623" y="4257813"/>
                </a:cubicBezTo>
                <a:cubicBezTo>
                  <a:pt x="3903545" y="4201957"/>
                  <a:pt x="4171772" y="4160605"/>
                  <a:pt x="4171772" y="4160605"/>
                </a:cubicBezTo>
                <a:cubicBezTo>
                  <a:pt x="4308176" y="4141227"/>
                  <a:pt x="4445649" y="4130307"/>
                  <a:pt x="4583401" y="4127905"/>
                </a:cubicBezTo>
                <a:cubicBezTo>
                  <a:pt x="4583401" y="4127905"/>
                  <a:pt x="4854809" y="4123070"/>
                  <a:pt x="5135888" y="4149154"/>
                </a:cubicBezTo>
                <a:cubicBezTo>
                  <a:pt x="5355815" y="4167781"/>
                  <a:pt x="5574540" y="4198577"/>
                  <a:pt x="5791059" y="4241400"/>
                </a:cubicBezTo>
                <a:cubicBezTo>
                  <a:pt x="5997574" y="4281352"/>
                  <a:pt x="6195818" y="4337590"/>
                  <a:pt x="6230555" y="4347514"/>
                </a:cubicBezTo>
                <a:cubicBezTo>
                  <a:pt x="6265291" y="4357439"/>
                  <a:pt x="6378156" y="4392683"/>
                  <a:pt x="6386427" y="4395609"/>
                </a:cubicBezTo>
                <a:cubicBezTo>
                  <a:pt x="6394698" y="4398536"/>
                  <a:pt x="6407167" y="4405788"/>
                  <a:pt x="6403605" y="4415967"/>
                </a:cubicBezTo>
                <a:cubicBezTo>
                  <a:pt x="6400042" y="4426146"/>
                  <a:pt x="6382737" y="4424492"/>
                  <a:pt x="6382737" y="4424492"/>
                </a:cubicBezTo>
                <a:lnTo>
                  <a:pt x="6364541" y="4422711"/>
                </a:lnTo>
                <a:cubicBezTo>
                  <a:pt x="5798694" y="4367236"/>
                  <a:pt x="5164390" y="4511775"/>
                  <a:pt x="5164390" y="4511775"/>
                </a:cubicBezTo>
                <a:cubicBezTo>
                  <a:pt x="4939299" y="4557453"/>
                  <a:pt x="4609613" y="4672856"/>
                  <a:pt x="4289599" y="4790167"/>
                </a:cubicBezTo>
                <a:cubicBezTo>
                  <a:pt x="3969584" y="4907478"/>
                  <a:pt x="3551593" y="5057362"/>
                  <a:pt x="3144417" y="5183070"/>
                </a:cubicBezTo>
                <a:cubicBezTo>
                  <a:pt x="2737241" y="5308779"/>
                  <a:pt x="2259955" y="5408278"/>
                  <a:pt x="1923780" y="5443013"/>
                </a:cubicBezTo>
                <a:cubicBezTo>
                  <a:pt x="1587606" y="5477748"/>
                  <a:pt x="1182338" y="5427363"/>
                  <a:pt x="1182338" y="5427363"/>
                </a:cubicBezTo>
                <a:close/>
              </a:path>
            </a:pathLst>
          </a:custGeom>
          <a:solidFill>
            <a:schemeClr val="accent2"/>
          </a:solidFill>
          <a:ln w="12722" cap="flat">
            <a:noFill/>
            <a:prstDash val="solid"/>
            <a:miter/>
          </a:ln>
        </p:spPr>
        <p:txBody>
          <a:bodyPr rtlCol="0" anchor="ctr"/>
          <a:lstStyle/>
          <a:p>
            <a:pPr eaLnBrk="1"/>
            <a:endParaRPr lang="en-GB" dirty="0"/>
          </a:p>
        </p:txBody>
      </p:sp>
      <p:sp>
        <p:nvSpPr>
          <p:cNvPr id="15" name="Rectangle 14">
            <a:extLst>
              <a:ext uri="{FF2B5EF4-FFF2-40B4-BE49-F238E27FC236}">
                <a16:creationId xmlns:a16="http://schemas.microsoft.com/office/drawing/2014/main" id="{E2D68D7B-DF38-479E-8181-B200AE68BD7D}"/>
              </a:ext>
            </a:extLst>
          </p:cNvPr>
          <p:cNvSpPr/>
          <p:nvPr userDrawn="1"/>
        </p:nvSpPr>
        <p:spPr>
          <a:xfrm>
            <a:off x="1235074" y="2"/>
            <a:ext cx="4860926" cy="479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sp>
        <p:nvSpPr>
          <p:cNvPr id="2" name="Title 1"/>
          <p:cNvSpPr>
            <a:spLocks noGrp="1"/>
          </p:cNvSpPr>
          <p:nvPr>
            <p:ph type="ctrTitle"/>
          </p:nvPr>
        </p:nvSpPr>
        <p:spPr>
          <a:xfrm>
            <a:off x="1524000" y="1078985"/>
            <a:ext cx="4284663" cy="1946151"/>
          </a:xfrm>
        </p:spPr>
        <p:txBody>
          <a:bodyPr anchor="t">
            <a:noAutofit/>
          </a:bodyPr>
          <a:lstStyle>
            <a:lvl1pPr algn="l" eaLnBrk="1">
              <a:lnSpc>
                <a:spcPct val="90000"/>
              </a:lnSpc>
              <a:defRPr sz="3600" cap="none" baseline="0">
                <a:solidFill>
                  <a:schemeClr val="accent5"/>
                </a:solidFill>
              </a:defRPr>
            </a:lvl1pPr>
          </a:lstStyle>
          <a:p>
            <a:endParaRPr lang="en-GB" noProof="0" dirty="0"/>
          </a:p>
        </p:txBody>
      </p:sp>
      <p:sp>
        <p:nvSpPr>
          <p:cNvPr id="3" name="Subtitle 2"/>
          <p:cNvSpPr>
            <a:spLocks noGrp="1"/>
          </p:cNvSpPr>
          <p:nvPr>
            <p:ph type="subTitle" idx="1"/>
          </p:nvPr>
        </p:nvSpPr>
        <p:spPr>
          <a:xfrm>
            <a:off x="1235074" y="4427225"/>
            <a:ext cx="4860926" cy="366424"/>
          </a:xfrm>
          <a:solidFill>
            <a:schemeClr val="bg1"/>
          </a:solidFill>
        </p:spPr>
        <p:txBody>
          <a:bodyPr lIns="288000" rIns="288000" bIns="180000">
            <a:spAutoFit/>
          </a:bodyPr>
          <a:lstStyle>
            <a:lvl1pPr marL="0" indent="0" algn="l" eaLnBrk="1">
              <a:spcBef>
                <a:spcPts val="0"/>
              </a:spcBef>
              <a:buNone/>
              <a:defRPr sz="1200" cap="all" baseline="0">
                <a:solidFill>
                  <a:schemeClr val="accent5"/>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322483"/>
            <a:ext cx="4284663" cy="0"/>
          </a:xfrm>
          <a:prstGeom prst="line">
            <a:avLst/>
          </a:prstGeom>
          <a:ln w="12700" cap="flat">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28" name="Group 27">
            <a:extLst>
              <a:ext uri="{FF2B5EF4-FFF2-40B4-BE49-F238E27FC236}">
                <a16:creationId xmlns:a16="http://schemas.microsoft.com/office/drawing/2014/main" id="{10C94871-1278-4C9D-8FE4-92A94538EC1C}"/>
              </a:ext>
            </a:extLst>
          </p:cNvPr>
          <p:cNvGrpSpPr/>
          <p:nvPr userDrawn="1"/>
        </p:nvGrpSpPr>
        <p:grpSpPr>
          <a:xfrm>
            <a:off x="1533524" y="369094"/>
            <a:ext cx="2243139" cy="606869"/>
            <a:chOff x="1533524" y="369094"/>
            <a:chExt cx="2243139" cy="606869"/>
          </a:xfrm>
        </p:grpSpPr>
        <p:pic>
          <p:nvPicPr>
            <p:cNvPr id="29" name="Graphic 28">
              <a:extLst>
                <a:ext uri="{FF2B5EF4-FFF2-40B4-BE49-F238E27FC236}">
                  <a16:creationId xmlns:a16="http://schemas.microsoft.com/office/drawing/2014/main" id="{8ED2CFF3-8D2B-4D37-BCA7-ECF1D6193D2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30" name="Picture 29">
              <a:extLst>
                <a:ext uri="{FF2B5EF4-FFF2-40B4-BE49-F238E27FC236}">
                  <a16:creationId xmlns:a16="http://schemas.microsoft.com/office/drawing/2014/main" id="{0C11B633-41CA-4745-B60C-C77BAB1EE0E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71" t="847" r="871" b="847"/>
            <a:stretch/>
          </p:blipFill>
          <p:spPr>
            <a:xfrm>
              <a:off x="1533524" y="369094"/>
              <a:ext cx="607220" cy="606869"/>
            </a:xfrm>
            <a:prstGeom prst="ellipse">
              <a:avLst/>
            </a:prstGeom>
            <a:ln w="63500" cap="rnd">
              <a:noFill/>
            </a:ln>
            <a:effectLst/>
          </p:spPr>
        </p:pic>
      </p:grpSp>
    </p:spTree>
    <p:extLst>
      <p:ext uri="{BB962C8B-B14F-4D97-AF65-F5344CB8AC3E}">
        <p14:creationId xmlns:p14="http://schemas.microsoft.com/office/powerpoint/2010/main" val="56206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385604803"/>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F9A8087B-33BC-467D-9863-0D0966781CD6}"/>
              </a:ext>
            </a:extLst>
          </p:cNvPr>
          <p:cNvSpPr>
            <a:spLocks noGrp="1"/>
          </p:cNvSpPr>
          <p:nvPr>
            <p:ph type="pic" sz="quarter" idx="10"/>
          </p:nvPr>
        </p:nvSpPr>
        <p:spPr>
          <a:xfrm>
            <a:off x="0" y="0"/>
            <a:ext cx="12192000" cy="685800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solidFill>
            <a:schemeClr val="accent1"/>
          </a:solidFill>
        </p:spPr>
        <p:txBody>
          <a:bodyPr wrap="square" anchor="t">
            <a:noAutofit/>
          </a:bodyPr>
          <a:lstStyle>
            <a:lvl1pPr marL="342900" indent="-342900" algn="l">
              <a:buFont typeface="Arial" panose="020B0604020202020204" pitchFamily="34" charset="0"/>
              <a:buChar char="•"/>
              <a:defRPr/>
            </a:lvl1pPr>
          </a:lstStyle>
          <a:p>
            <a:endParaRPr lang="en-GB"/>
          </a:p>
        </p:txBody>
      </p:sp>
      <p:sp>
        <p:nvSpPr>
          <p:cNvPr id="23" name="Rectangle 22">
            <a:extLst>
              <a:ext uri="{FF2B5EF4-FFF2-40B4-BE49-F238E27FC236}">
                <a16:creationId xmlns:a16="http://schemas.microsoft.com/office/drawing/2014/main" id="{9C20C8F6-248D-4C3E-87B3-1E76EE1E9591}"/>
              </a:ext>
            </a:extLst>
          </p:cNvPr>
          <p:cNvSpPr/>
          <p:nvPr userDrawn="1"/>
        </p:nvSpPr>
        <p:spPr>
          <a:xfrm>
            <a:off x="1235074" y="6352"/>
            <a:ext cx="4860926" cy="479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accent5"/>
                </a:solidFill>
              </a:defRPr>
            </a:lvl1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319943"/>
            <a:ext cx="4284663" cy="0"/>
          </a:xfrm>
          <a:prstGeom prst="line">
            <a:avLst/>
          </a:prstGeom>
          <a:ln w="12700" cap="flat">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sp>
        <p:nvSpPr>
          <p:cNvPr id="22" name="Subtitle 2">
            <a:extLst>
              <a:ext uri="{FF2B5EF4-FFF2-40B4-BE49-F238E27FC236}">
                <a16:creationId xmlns:a16="http://schemas.microsoft.com/office/drawing/2014/main" id="{33F1287C-318B-4F40-9FF1-E19D09469A7B}"/>
              </a:ext>
            </a:extLst>
          </p:cNvPr>
          <p:cNvSpPr>
            <a:spLocks noGrp="1"/>
          </p:cNvSpPr>
          <p:nvPr>
            <p:ph type="subTitle" idx="1"/>
          </p:nvPr>
        </p:nvSpPr>
        <p:spPr>
          <a:xfrm>
            <a:off x="1235075" y="4400106"/>
            <a:ext cx="4860925" cy="351035"/>
          </a:xfrm>
          <a:solidFill>
            <a:schemeClr val="bg1"/>
          </a:solidFill>
        </p:spPr>
        <p:txBody>
          <a:bodyPr wrap="square" lIns="288000" rIns="288000" bIns="180000">
            <a:spAutoFit/>
          </a:bodyPr>
          <a:lstStyle>
            <a:lvl1pPr marL="0" indent="0" algn="l" eaLnBrk="1">
              <a:spcBef>
                <a:spcPts val="0"/>
              </a:spcBef>
              <a:buNone/>
              <a:defRPr sz="1100" cap="all" baseline="0">
                <a:solidFill>
                  <a:schemeClr val="accent5"/>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grpSp>
        <p:nvGrpSpPr>
          <p:cNvPr id="28" name="Group 27">
            <a:extLst>
              <a:ext uri="{FF2B5EF4-FFF2-40B4-BE49-F238E27FC236}">
                <a16:creationId xmlns:a16="http://schemas.microsoft.com/office/drawing/2014/main" id="{448B993E-BF37-4D48-AD6A-25908C6899FA}"/>
              </a:ext>
            </a:extLst>
          </p:cNvPr>
          <p:cNvGrpSpPr/>
          <p:nvPr userDrawn="1"/>
        </p:nvGrpSpPr>
        <p:grpSpPr>
          <a:xfrm>
            <a:off x="1533524" y="369094"/>
            <a:ext cx="2243139" cy="606869"/>
            <a:chOff x="1533524" y="369094"/>
            <a:chExt cx="2243139" cy="606869"/>
          </a:xfrm>
        </p:grpSpPr>
        <p:pic>
          <p:nvPicPr>
            <p:cNvPr id="29" name="Graphic 28">
              <a:extLst>
                <a:ext uri="{FF2B5EF4-FFF2-40B4-BE49-F238E27FC236}">
                  <a16:creationId xmlns:a16="http://schemas.microsoft.com/office/drawing/2014/main" id="{41D9DD3B-C3F8-4D09-9824-43A4FB97D0C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30" name="Picture 29">
              <a:extLst>
                <a:ext uri="{FF2B5EF4-FFF2-40B4-BE49-F238E27FC236}">
                  <a16:creationId xmlns:a16="http://schemas.microsoft.com/office/drawing/2014/main" id="{28A26939-CABE-4692-9903-32D6323ADF1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71" t="847" r="871" b="847"/>
            <a:stretch/>
          </p:blipFill>
          <p:spPr>
            <a:xfrm>
              <a:off x="1533524" y="369094"/>
              <a:ext cx="607220" cy="606869"/>
            </a:xfrm>
            <a:prstGeom prst="ellipse">
              <a:avLst/>
            </a:prstGeom>
            <a:ln w="63500" cap="rnd">
              <a:noFill/>
            </a:ln>
            <a:effectLst/>
          </p:spPr>
        </p:pic>
      </p:grpSp>
    </p:spTree>
    <p:extLst>
      <p:ext uri="{BB962C8B-B14F-4D97-AF65-F5344CB8AC3E}">
        <p14:creationId xmlns:p14="http://schemas.microsoft.com/office/powerpoint/2010/main" val="143662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B19A1F-D24D-476A-A31B-0745DE0518E3}"/>
              </a:ext>
            </a:extLst>
          </p:cNvPr>
          <p:cNvGraphicFramePr>
            <a:graphicFrameLocks noChangeAspect="1"/>
          </p:cNvGraphicFramePr>
          <p:nvPr userDrawn="1">
            <p:custDataLst>
              <p:tags r:id="rId1"/>
            </p:custDataLst>
            <p:extLst>
              <p:ext uri="{D42A27DB-BD31-4B8C-83A1-F6EECF244321}">
                <p14:modId xmlns:p14="http://schemas.microsoft.com/office/powerpoint/2010/main" val="3543799574"/>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id="{05B19A1F-D24D-476A-A31B-0745DE0518E3}"/>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2B2E8C-DDB9-4D4B-991B-BE1E80AE022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94061B1A-B0AC-447D-BEF0-C35B2F6D19CA}"/>
              </a:ext>
            </a:extLst>
          </p:cNvPr>
          <p:cNvSpPr>
            <a:spLocks noGrp="1"/>
          </p:cNvSpPr>
          <p:nvPr>
            <p:ph type="title"/>
          </p:nvPr>
        </p:nvSpPr>
        <p:spPr/>
        <p:txBody>
          <a:bodyPr/>
          <a:lstStyle/>
          <a:p>
            <a:r>
              <a:rPr lang="en-GB" noProof="0" dirty="0"/>
              <a:t>Click to edit Master title style</a:t>
            </a:r>
          </a:p>
        </p:txBody>
      </p:sp>
      <p:sp>
        <p:nvSpPr>
          <p:cNvPr id="10" name="Content Placeholder 9">
            <a:extLst>
              <a:ext uri="{FF2B5EF4-FFF2-40B4-BE49-F238E27FC236}">
                <a16:creationId xmlns:a16="http://schemas.microsoft.com/office/drawing/2014/main" id="{16D3483C-E7FA-4782-8C30-17337D097034}"/>
              </a:ext>
            </a:extLst>
          </p:cNvPr>
          <p:cNvSpPr>
            <a:spLocks noGrp="1"/>
          </p:cNvSpPr>
          <p:nvPr>
            <p:ph sz="quarter" idx="13"/>
          </p:nvPr>
        </p:nvSpPr>
        <p:spPr>
          <a:xfrm>
            <a:off x="828676" y="1830707"/>
            <a:ext cx="10536555"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08B9AA3C-3422-4F50-A689-DCD621EE8BA0}"/>
              </a:ext>
            </a:extLst>
          </p:cNvPr>
          <p:cNvSpPr>
            <a:spLocks noGrp="1"/>
          </p:cNvSpPr>
          <p:nvPr>
            <p:ph type="ftr" sz="quarter" idx="14"/>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7E416264-48BA-4754-AA02-FA6AD85394FF}"/>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07381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with Sub 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728085773"/>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6" y="1836492"/>
            <a:ext cx="10541633"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6" y="2241549"/>
            <a:ext cx="10541633"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D0613B91-D51F-4517-9FD9-E02C90581D3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BA4D521D-8276-4EFD-AA23-E75A9172708F}"/>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1674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B19A1F-D24D-476A-A31B-0745DE0518E3}"/>
              </a:ext>
            </a:extLst>
          </p:cNvPr>
          <p:cNvGraphicFramePr>
            <a:graphicFrameLocks noChangeAspect="1"/>
          </p:cNvGraphicFramePr>
          <p:nvPr userDrawn="1">
            <p:custDataLst>
              <p:tags r:id="rId1"/>
            </p:custDataLst>
            <p:extLst>
              <p:ext uri="{D42A27DB-BD31-4B8C-83A1-F6EECF244321}">
                <p14:modId xmlns:p14="http://schemas.microsoft.com/office/powerpoint/2010/main" val="2565159347"/>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id="{05B19A1F-D24D-476A-A31B-0745DE0518E3}"/>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2B2E8C-DDB9-4D4B-991B-BE1E80AE022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906AFC8A-F573-4DCA-AAB1-789495D6F80D}"/>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8" name="Title 7">
            <a:extLst>
              <a:ext uri="{FF2B5EF4-FFF2-40B4-BE49-F238E27FC236}">
                <a16:creationId xmlns:a16="http://schemas.microsoft.com/office/drawing/2014/main" id="{94061B1A-B0AC-447D-BEF0-C35B2F6D19CA}"/>
              </a:ext>
            </a:extLst>
          </p:cNvPr>
          <p:cNvSpPr>
            <a:spLocks noGrp="1"/>
          </p:cNvSpPr>
          <p:nvPr>
            <p:ph type="title"/>
          </p:nvPr>
        </p:nvSpPr>
        <p:spPr/>
        <p:txBody>
          <a:bodyPr/>
          <a:lstStyle>
            <a:lvl1pPr>
              <a:defRPr>
                <a:solidFill>
                  <a:schemeClr val="tx2"/>
                </a:solidFill>
              </a:defRPr>
            </a:lvl1pPr>
          </a:lstStyle>
          <a:p>
            <a:r>
              <a:rPr lang="en-GB" dirty="0"/>
              <a:t>Click to edit Master title style</a:t>
            </a:r>
          </a:p>
        </p:txBody>
      </p:sp>
      <p:sp>
        <p:nvSpPr>
          <p:cNvPr id="10" name="Content Placeholder 9">
            <a:extLst>
              <a:ext uri="{FF2B5EF4-FFF2-40B4-BE49-F238E27FC236}">
                <a16:creationId xmlns:a16="http://schemas.microsoft.com/office/drawing/2014/main" id="{16D3483C-E7FA-4782-8C30-17337D097034}"/>
              </a:ext>
            </a:extLst>
          </p:cNvPr>
          <p:cNvSpPr>
            <a:spLocks noGrp="1"/>
          </p:cNvSpPr>
          <p:nvPr>
            <p:ph sz="quarter" idx="13"/>
          </p:nvPr>
        </p:nvSpPr>
        <p:spPr>
          <a:xfrm>
            <a:off x="828676" y="1830707"/>
            <a:ext cx="10536555" cy="4191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A3268226-9F81-47A5-AC33-CAD421628489}"/>
              </a:ext>
            </a:extLst>
          </p:cNvPr>
          <p:cNvSpPr>
            <a:spLocks noGrp="1"/>
          </p:cNvSpPr>
          <p:nvPr>
            <p:ph type="ftr" sz="quarter" idx="14"/>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74FB7FD7-1337-425B-A227-B659A64CE196}"/>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76052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Blue with Sub 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2233398136"/>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0FF6C0BA-F5D8-4B1E-938B-E4EFD61EBD27}"/>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lvl1pPr>
              <a:defRPr>
                <a:solidFill>
                  <a:schemeClr val="tx2"/>
                </a:solidFill>
              </a:defRPr>
            </a:lvl1p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6" y="1836492"/>
            <a:ext cx="10541633" cy="286653"/>
          </a:xfrm>
        </p:spPr>
        <p:txBody>
          <a:bodyPr anchor="t" anchorCtr="0">
            <a:noAutofit/>
          </a:bodyPr>
          <a:lstStyle>
            <a:lvl1pPr marL="0" indent="0">
              <a:buNone/>
              <a:defRPr sz="1600" b="1">
                <a:solidFill>
                  <a:schemeClr val="bg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6" y="2241549"/>
            <a:ext cx="10541633" cy="378015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D0613B91-D51F-4517-9FD9-E02C90581D3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BA4D521D-8276-4EFD-AA23-E75A9172708F}"/>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91868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B19A1F-D24D-476A-A31B-0745DE0518E3}"/>
              </a:ext>
            </a:extLst>
          </p:cNvPr>
          <p:cNvGraphicFramePr>
            <a:graphicFrameLocks noChangeAspect="1"/>
          </p:cNvGraphicFramePr>
          <p:nvPr userDrawn="1">
            <p:custDataLst>
              <p:tags r:id="rId1"/>
            </p:custDataLst>
            <p:extLst>
              <p:ext uri="{D42A27DB-BD31-4B8C-83A1-F6EECF244321}">
                <p14:modId xmlns:p14="http://schemas.microsoft.com/office/powerpoint/2010/main" val="342502792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id="{05B19A1F-D24D-476A-A31B-0745DE0518E3}"/>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2B2E8C-DDB9-4D4B-991B-BE1E80AE022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94061B1A-B0AC-447D-BEF0-C35B2F6D19CA}"/>
              </a:ext>
            </a:extLst>
          </p:cNvPr>
          <p:cNvSpPr>
            <a:spLocks noGrp="1"/>
          </p:cNvSpPr>
          <p:nvPr>
            <p:ph type="title"/>
          </p:nvPr>
        </p:nvSpPr>
        <p:spPr/>
        <p:txBody>
          <a:bodyPr/>
          <a:lstStyle/>
          <a:p>
            <a:r>
              <a:rPr lang="en-GB" noProof="0" dirty="0"/>
              <a:t>Click to edit Master title style</a:t>
            </a:r>
          </a:p>
        </p:txBody>
      </p:sp>
      <p:sp>
        <p:nvSpPr>
          <p:cNvPr id="10" name="Content Placeholder 9">
            <a:extLst>
              <a:ext uri="{FF2B5EF4-FFF2-40B4-BE49-F238E27FC236}">
                <a16:creationId xmlns:a16="http://schemas.microsoft.com/office/drawing/2014/main" id="{16D3483C-E7FA-4782-8C30-17337D097034}"/>
              </a:ext>
            </a:extLst>
          </p:cNvPr>
          <p:cNvSpPr>
            <a:spLocks noGrp="1"/>
          </p:cNvSpPr>
          <p:nvPr>
            <p:ph sz="quarter" idx="13"/>
          </p:nvPr>
        </p:nvSpPr>
        <p:spPr>
          <a:xfrm>
            <a:off x="828676" y="1830707"/>
            <a:ext cx="10536555"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08B9AA3C-3422-4F50-A689-DCD621EE8BA0}"/>
              </a:ext>
            </a:extLst>
          </p:cNvPr>
          <p:cNvSpPr>
            <a:spLocks noGrp="1"/>
          </p:cNvSpPr>
          <p:nvPr>
            <p:ph type="ftr" sz="quarter" idx="14"/>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7E416264-48BA-4754-AA02-FA6AD85394FF}"/>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353729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1054670844"/>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1" name="Content Placeholder 10">
            <a:extLst>
              <a:ext uri="{FF2B5EF4-FFF2-40B4-BE49-F238E27FC236}">
                <a16:creationId xmlns:a16="http://schemas.microsoft.com/office/drawing/2014/main" id="{ED6846DB-97DE-4779-AAF7-AC1F34F0DE6D}"/>
              </a:ext>
            </a:extLst>
          </p:cNvPr>
          <p:cNvSpPr>
            <a:spLocks noGrp="1"/>
          </p:cNvSpPr>
          <p:nvPr>
            <p:ph sz="quarter" idx="13"/>
          </p:nvPr>
        </p:nvSpPr>
        <p:spPr>
          <a:xfrm>
            <a:off x="824867" y="1830707"/>
            <a:ext cx="4968240"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13" name="Content Placeholder 12">
            <a:extLst>
              <a:ext uri="{FF2B5EF4-FFF2-40B4-BE49-F238E27FC236}">
                <a16:creationId xmlns:a16="http://schemas.microsoft.com/office/drawing/2014/main" id="{59E18CF8-020B-4471-89E6-85F54EEEFE1D}"/>
              </a:ext>
            </a:extLst>
          </p:cNvPr>
          <p:cNvSpPr>
            <a:spLocks noGrp="1"/>
          </p:cNvSpPr>
          <p:nvPr>
            <p:ph sz="quarter" idx="14"/>
          </p:nvPr>
        </p:nvSpPr>
        <p:spPr>
          <a:xfrm>
            <a:off x="6398898" y="1830707"/>
            <a:ext cx="4966335"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6CA561E1-8545-4FA9-9BDC-392506752BA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A0054F62-0B85-4EBD-84A4-5D56AA871C92}"/>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333758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1976929526"/>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ntent Placeholder 10">
            <a:extLst>
              <a:ext uri="{FF2B5EF4-FFF2-40B4-BE49-F238E27FC236}">
                <a16:creationId xmlns:a16="http://schemas.microsoft.com/office/drawing/2014/main" id="{ED6846DB-97DE-4779-AAF7-AC1F34F0DE6D}"/>
              </a:ext>
            </a:extLst>
          </p:cNvPr>
          <p:cNvSpPr>
            <a:spLocks noGrp="1"/>
          </p:cNvSpPr>
          <p:nvPr>
            <p:ph sz="quarter" idx="13"/>
          </p:nvPr>
        </p:nvSpPr>
        <p:spPr>
          <a:xfrm>
            <a:off x="824867" y="1830707"/>
            <a:ext cx="4968240"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3" name="Picture Placeholder 2">
            <a:extLst>
              <a:ext uri="{FF2B5EF4-FFF2-40B4-BE49-F238E27FC236}">
                <a16:creationId xmlns:a16="http://schemas.microsoft.com/office/drawing/2014/main" id="{9C8A05AB-16D4-4417-A29E-1217E774BADB}"/>
              </a:ext>
            </a:extLst>
          </p:cNvPr>
          <p:cNvSpPr>
            <a:spLocks noGrp="1"/>
          </p:cNvSpPr>
          <p:nvPr>
            <p:ph type="pic" sz="quarter" idx="14"/>
          </p:nvPr>
        </p:nvSpPr>
        <p:spPr>
          <a:xfrm>
            <a:off x="6399213" y="3175"/>
            <a:ext cx="5792787" cy="6854825"/>
          </a:xfrm>
        </p:spPr>
        <p:txBody>
          <a:bodyPr/>
          <a:lstStyle/>
          <a:p>
            <a:endParaRPr lang="en-GB"/>
          </a:p>
        </p:txBody>
      </p:sp>
      <p:sp>
        <p:nvSpPr>
          <p:cNvPr id="4" name="Title 3">
            <a:extLst>
              <a:ext uri="{FF2B5EF4-FFF2-40B4-BE49-F238E27FC236}">
                <a16:creationId xmlns:a16="http://schemas.microsoft.com/office/drawing/2014/main" id="{483B4242-62B9-435B-86D3-DEEA7ACF2CFA}"/>
              </a:ext>
            </a:extLst>
          </p:cNvPr>
          <p:cNvSpPr>
            <a:spLocks noGrp="1"/>
          </p:cNvSpPr>
          <p:nvPr>
            <p:ph type="title"/>
          </p:nvPr>
        </p:nvSpPr>
        <p:spPr>
          <a:xfrm>
            <a:off x="829237" y="577216"/>
            <a:ext cx="4963552" cy="907097"/>
          </a:xfrm>
        </p:spPr>
        <p:txBody>
          <a:bodyPr/>
          <a:lstStyle/>
          <a:p>
            <a:r>
              <a:rPr lang="en-GB" dirty="0"/>
              <a:t>Click to edit Master title style</a:t>
            </a:r>
          </a:p>
        </p:txBody>
      </p:sp>
      <p:sp>
        <p:nvSpPr>
          <p:cNvPr id="10" name="Footer Placeholder 9">
            <a:extLst>
              <a:ext uri="{FF2B5EF4-FFF2-40B4-BE49-F238E27FC236}">
                <a16:creationId xmlns:a16="http://schemas.microsoft.com/office/drawing/2014/main" id="{3ABC70E0-D795-488D-8AC2-298449E2BE52}"/>
              </a:ext>
            </a:extLst>
          </p:cNvPr>
          <p:cNvSpPr>
            <a:spLocks noGrp="1"/>
          </p:cNvSpPr>
          <p:nvPr>
            <p:ph type="ftr" sz="quarter" idx="15"/>
          </p:nvPr>
        </p:nvSpPr>
        <p:spPr/>
        <p:txBody>
          <a:bodyPr/>
          <a:lstStyle>
            <a:lvl1pPr eaLnBrk="1">
              <a:defRPr/>
            </a:lvl1pPr>
          </a:lstStyle>
          <a:p>
            <a:endParaRPr lang="en-GB" dirty="0"/>
          </a:p>
        </p:txBody>
      </p:sp>
      <p:sp>
        <p:nvSpPr>
          <p:cNvPr id="12" name="Slide Number Placeholder 11">
            <a:extLst>
              <a:ext uri="{FF2B5EF4-FFF2-40B4-BE49-F238E27FC236}">
                <a16:creationId xmlns:a16="http://schemas.microsoft.com/office/drawing/2014/main" id="{F5E9F28C-9388-465B-9107-6F50B2EE6BEA}"/>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48104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with Sub head 0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332705642"/>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7" y="1836492"/>
            <a:ext cx="4968240"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2" name="Text Placeholder 4">
            <a:extLst>
              <a:ext uri="{FF2B5EF4-FFF2-40B4-BE49-F238E27FC236}">
                <a16:creationId xmlns:a16="http://schemas.microsoft.com/office/drawing/2014/main" id="{A851DCF0-9768-4EEE-9C12-5CAFCAFF4C0B}"/>
              </a:ext>
            </a:extLst>
          </p:cNvPr>
          <p:cNvSpPr>
            <a:spLocks noGrp="1"/>
          </p:cNvSpPr>
          <p:nvPr>
            <p:ph type="body" sz="quarter" idx="3"/>
          </p:nvPr>
        </p:nvSpPr>
        <p:spPr>
          <a:xfrm>
            <a:off x="6398898" y="1836492"/>
            <a:ext cx="4966336" cy="286653"/>
          </a:xfrm>
        </p:spPr>
        <p:txBody>
          <a:bodyPr anchor="t" anchorCtr="0">
            <a:noAutofit/>
          </a:bodyPr>
          <a:lstStyle>
            <a:lvl1pPr marL="0" indent="0">
              <a:buNone/>
              <a:defRPr sz="168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7" y="2241549"/>
            <a:ext cx="4968240"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15" name="Content Placeholder 12">
            <a:extLst>
              <a:ext uri="{FF2B5EF4-FFF2-40B4-BE49-F238E27FC236}">
                <a16:creationId xmlns:a16="http://schemas.microsoft.com/office/drawing/2014/main" id="{3279856D-28DF-4275-908D-D6BF96710C74}"/>
              </a:ext>
            </a:extLst>
          </p:cNvPr>
          <p:cNvSpPr>
            <a:spLocks noGrp="1"/>
          </p:cNvSpPr>
          <p:nvPr>
            <p:ph sz="quarter" idx="14"/>
          </p:nvPr>
        </p:nvSpPr>
        <p:spPr>
          <a:xfrm>
            <a:off x="6398898" y="2241549"/>
            <a:ext cx="4966335"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D0613B91-D51F-4517-9FD9-E02C90581D3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BA4D521D-8276-4EFD-AA23-E75A9172708F}"/>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778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with Sub head 0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3686841163"/>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7" y="1836492"/>
            <a:ext cx="4968240"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7" y="2241549"/>
            <a:ext cx="4968240"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3" name="Chart Placeholder 2">
            <a:extLst>
              <a:ext uri="{FF2B5EF4-FFF2-40B4-BE49-F238E27FC236}">
                <a16:creationId xmlns:a16="http://schemas.microsoft.com/office/drawing/2014/main" id="{0C8456C9-98B9-4B92-A9A4-9A0FFCE17519}"/>
              </a:ext>
            </a:extLst>
          </p:cNvPr>
          <p:cNvSpPr>
            <a:spLocks noGrp="1"/>
          </p:cNvSpPr>
          <p:nvPr>
            <p:ph type="chart" sz="quarter" idx="14"/>
          </p:nvPr>
        </p:nvSpPr>
        <p:spPr>
          <a:xfrm>
            <a:off x="6399213" y="1830388"/>
            <a:ext cx="4967287" cy="4191000"/>
          </a:xfrm>
        </p:spPr>
        <p:txBody>
          <a:bodyPr/>
          <a:lstStyle/>
          <a:p>
            <a:endParaRPr lang="en-GB"/>
          </a:p>
        </p:txBody>
      </p:sp>
      <p:sp>
        <p:nvSpPr>
          <p:cNvPr id="4" name="Footer Placeholder 3">
            <a:extLst>
              <a:ext uri="{FF2B5EF4-FFF2-40B4-BE49-F238E27FC236}">
                <a16:creationId xmlns:a16="http://schemas.microsoft.com/office/drawing/2014/main" id="{E8665D8F-5853-4213-A499-47CFC77993BB}"/>
              </a:ext>
            </a:extLst>
          </p:cNvPr>
          <p:cNvSpPr>
            <a:spLocks noGrp="1"/>
          </p:cNvSpPr>
          <p:nvPr>
            <p:ph type="ftr" sz="quarter" idx="15"/>
          </p:nvPr>
        </p:nvSpPr>
        <p:spPr/>
        <p:txBody>
          <a:bodyPr/>
          <a:lstStyle>
            <a:lvl1pPr eaLnBrk="1">
              <a:defRPr/>
            </a:lvl1pPr>
          </a:lstStyle>
          <a:p>
            <a:endParaRPr lang="en-GB" dirty="0"/>
          </a:p>
        </p:txBody>
      </p:sp>
      <p:sp>
        <p:nvSpPr>
          <p:cNvPr id="11" name="Slide Number Placeholder 10">
            <a:extLst>
              <a:ext uri="{FF2B5EF4-FFF2-40B4-BE49-F238E27FC236}">
                <a16:creationId xmlns:a16="http://schemas.microsoft.com/office/drawing/2014/main" id="{F368E036-9C4C-4396-9444-5A589716F385}"/>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73772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ntent with Sub head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4023872510"/>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a:xfrm>
            <a:off x="829237" y="577216"/>
            <a:ext cx="4963552" cy="907097"/>
          </a:xfrm>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7" y="1836492"/>
            <a:ext cx="4968240"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7" y="2241549"/>
            <a:ext cx="4968240"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11" name="Picture Placeholder 2">
            <a:extLst>
              <a:ext uri="{FF2B5EF4-FFF2-40B4-BE49-F238E27FC236}">
                <a16:creationId xmlns:a16="http://schemas.microsoft.com/office/drawing/2014/main" id="{7C1D5F55-2691-47AF-8B04-7C6A7A77DC97}"/>
              </a:ext>
            </a:extLst>
          </p:cNvPr>
          <p:cNvSpPr>
            <a:spLocks noGrp="1"/>
          </p:cNvSpPr>
          <p:nvPr>
            <p:ph type="pic" sz="quarter" idx="14"/>
          </p:nvPr>
        </p:nvSpPr>
        <p:spPr>
          <a:xfrm>
            <a:off x="6399213" y="3175"/>
            <a:ext cx="5792787" cy="6854825"/>
          </a:xfrm>
        </p:spPr>
        <p:txBody>
          <a:bodyPr/>
          <a:lstStyle>
            <a:lvl1pPr marL="342900" indent="-342900">
              <a:buFont typeface="Arial" panose="020B0604020202020204" pitchFamily="34" charset="0"/>
              <a:buChar char="•"/>
              <a:defRPr/>
            </a:lvl1pPr>
          </a:lstStyle>
          <a:p>
            <a:endParaRPr lang="en-GB"/>
          </a:p>
        </p:txBody>
      </p:sp>
      <p:sp>
        <p:nvSpPr>
          <p:cNvPr id="2" name="Footer Placeholder 1">
            <a:extLst>
              <a:ext uri="{FF2B5EF4-FFF2-40B4-BE49-F238E27FC236}">
                <a16:creationId xmlns:a16="http://schemas.microsoft.com/office/drawing/2014/main" id="{F0370756-D056-4567-AAA8-F01FC46FB962}"/>
              </a:ext>
            </a:extLst>
          </p:cNvPr>
          <p:cNvSpPr>
            <a:spLocks noGrp="1"/>
          </p:cNvSpPr>
          <p:nvPr>
            <p:ph type="ftr" sz="quarter" idx="15"/>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D8636BE3-5129-43BD-8534-2B1949CCA07A}"/>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03901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41198B-7822-4395-9D3F-40CE6DC016BC}"/>
              </a:ext>
            </a:extLst>
          </p:cNvPr>
          <p:cNvGraphicFramePr>
            <a:graphicFrameLocks noChangeAspect="1"/>
          </p:cNvGraphicFramePr>
          <p:nvPr userDrawn="1">
            <p:custDataLst>
              <p:tags r:id="rId1"/>
            </p:custDataLst>
            <p:extLst>
              <p:ext uri="{D42A27DB-BD31-4B8C-83A1-F6EECF244321}">
                <p14:modId xmlns:p14="http://schemas.microsoft.com/office/powerpoint/2010/main" val="1424839162"/>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C041198B-7822-4395-9D3F-40CE6DC016BC}"/>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BB9E0B-F9DD-4869-B2C0-64A92559BA9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GB" noProof="0" dirty="0"/>
              <a:t>Click to edit Master title style</a:t>
            </a:r>
          </a:p>
        </p:txBody>
      </p:sp>
      <p:sp>
        <p:nvSpPr>
          <p:cNvPr id="7" name="Footer Placeholder 6">
            <a:extLst>
              <a:ext uri="{FF2B5EF4-FFF2-40B4-BE49-F238E27FC236}">
                <a16:creationId xmlns:a16="http://schemas.microsoft.com/office/drawing/2014/main" id="{0E5C3AB9-69FD-4C4F-8D38-537257DD2FCD}"/>
              </a:ext>
            </a:extLst>
          </p:cNvPr>
          <p:cNvSpPr>
            <a:spLocks noGrp="1"/>
          </p:cNvSpPr>
          <p:nvPr>
            <p:ph type="ftr" sz="quarter" idx="10"/>
          </p:nvPr>
        </p:nvSpPr>
        <p:spPr/>
        <p:txBody>
          <a:bodyPr/>
          <a:lstStyle>
            <a:lvl1pPr eaLnBrk="1">
              <a:defRPr/>
            </a:lvl1pPr>
          </a:lstStyle>
          <a:p>
            <a:endParaRPr lang="en-GB" dirty="0"/>
          </a:p>
        </p:txBody>
      </p:sp>
      <p:sp>
        <p:nvSpPr>
          <p:cNvPr id="8" name="Slide Number Placeholder 7">
            <a:extLst>
              <a:ext uri="{FF2B5EF4-FFF2-40B4-BE49-F238E27FC236}">
                <a16:creationId xmlns:a16="http://schemas.microsoft.com/office/drawing/2014/main" id="{FD9BB4E4-A757-4FA8-BD51-8A76F8814BE4}"/>
              </a:ext>
            </a:extLst>
          </p:cNvPr>
          <p:cNvSpPr>
            <a:spLocks noGrp="1"/>
          </p:cNvSpPr>
          <p:nvPr>
            <p:ph type="sldNum" sz="quarter" idx="11"/>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414954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Blu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41198B-7822-4395-9D3F-40CE6DC016BC}"/>
              </a:ext>
            </a:extLst>
          </p:cNvPr>
          <p:cNvGraphicFramePr>
            <a:graphicFrameLocks noChangeAspect="1"/>
          </p:cNvGraphicFramePr>
          <p:nvPr userDrawn="1">
            <p:custDataLst>
              <p:tags r:id="rId1"/>
            </p:custDataLst>
            <p:extLst>
              <p:ext uri="{D42A27DB-BD31-4B8C-83A1-F6EECF244321}">
                <p14:modId xmlns:p14="http://schemas.microsoft.com/office/powerpoint/2010/main" val="3478476509"/>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a16="http://schemas.microsoft.com/office/drawing/2014/main" id="{C041198B-7822-4395-9D3F-40CE6DC016BC}"/>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EBB9E0B-F9DD-4869-B2C0-64A92559BA9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EE5BA2E3-82B7-4C36-9767-793A81D6BD3A}"/>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2" name="Title 1"/>
          <p:cNvSpPr>
            <a:spLocks noGrp="1"/>
          </p:cNvSpPr>
          <p:nvPr>
            <p:ph type="title"/>
          </p:nvPr>
        </p:nvSpPr>
        <p:spPr/>
        <p:txBody>
          <a:bodyPr/>
          <a:lstStyle>
            <a:lvl1pPr>
              <a:defRPr>
                <a:solidFill>
                  <a:schemeClr val="tx2"/>
                </a:solidFill>
              </a:defRPr>
            </a:lvl1pPr>
          </a:lstStyle>
          <a:p>
            <a:r>
              <a:rPr lang="en-GB" noProof="0" dirty="0"/>
              <a:t>Click to edit Master title style</a:t>
            </a:r>
          </a:p>
        </p:txBody>
      </p:sp>
      <p:sp>
        <p:nvSpPr>
          <p:cNvPr id="8" name="Footer Placeholder 7">
            <a:extLst>
              <a:ext uri="{FF2B5EF4-FFF2-40B4-BE49-F238E27FC236}">
                <a16:creationId xmlns:a16="http://schemas.microsoft.com/office/drawing/2014/main" id="{7C2378D1-8F5C-4092-8710-DD705A3E84A3}"/>
              </a:ext>
            </a:extLst>
          </p:cNvPr>
          <p:cNvSpPr>
            <a:spLocks noGrp="1"/>
          </p:cNvSpPr>
          <p:nvPr>
            <p:ph type="ftr" sz="quarter" idx="10"/>
          </p:nvPr>
        </p:nvSpPr>
        <p:spPr/>
        <p:txBody>
          <a:bodyPr/>
          <a:lstStyle>
            <a:lvl1pPr eaLnBrk="1">
              <a:defRPr/>
            </a:lvl1pPr>
          </a:lstStyle>
          <a:p>
            <a:endParaRPr lang="en-GB" dirty="0"/>
          </a:p>
        </p:txBody>
      </p:sp>
      <p:sp>
        <p:nvSpPr>
          <p:cNvPr id="9" name="Slide Number Placeholder 8">
            <a:extLst>
              <a:ext uri="{FF2B5EF4-FFF2-40B4-BE49-F238E27FC236}">
                <a16:creationId xmlns:a16="http://schemas.microsoft.com/office/drawing/2014/main" id="{965B8A1A-F1D3-443F-B5D4-76D5F0DBDD7E}"/>
              </a:ext>
            </a:extLst>
          </p:cNvPr>
          <p:cNvSpPr>
            <a:spLocks noGrp="1"/>
          </p:cNvSpPr>
          <p:nvPr>
            <p:ph type="sldNum" sz="quarter" idx="11"/>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36067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A702FF-1FBA-4017-9DB9-C02D09C91C0B}"/>
              </a:ext>
            </a:extLst>
          </p:cNvPr>
          <p:cNvGraphicFramePr>
            <a:graphicFrameLocks noChangeAspect="1"/>
          </p:cNvGraphicFramePr>
          <p:nvPr userDrawn="1">
            <p:custDataLst>
              <p:tags r:id="rId1"/>
            </p:custDataLst>
            <p:extLst>
              <p:ext uri="{D42A27DB-BD31-4B8C-83A1-F6EECF244321}">
                <p14:modId xmlns:p14="http://schemas.microsoft.com/office/powerpoint/2010/main" val="122816740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a:extLst>
                          <a:ext uri="{FF2B5EF4-FFF2-40B4-BE49-F238E27FC236}">
                            <a16:creationId xmlns:a16="http://schemas.microsoft.com/office/drawing/2014/main" id="{91A702FF-1FBA-4017-9DB9-C02D09C91C0B}"/>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3A72EFE-A939-4314-9B37-CFBB34A6B585}"/>
              </a:ext>
            </a:extLst>
          </p:cNvPr>
          <p:cNvSpPr>
            <a:spLocks noGrp="1"/>
          </p:cNvSpPr>
          <p:nvPr>
            <p:ph type="ftr" sz="quarter" idx="10"/>
          </p:nvPr>
        </p:nvSpPr>
        <p:spPr/>
        <p:txBody>
          <a:bodyPr/>
          <a:lstStyle>
            <a:lvl1pPr eaLnBrk="1">
              <a:defRPr/>
            </a:lvl1pPr>
          </a:lstStyle>
          <a:p>
            <a:endParaRPr lang="en-GB" dirty="0"/>
          </a:p>
        </p:txBody>
      </p:sp>
      <p:sp>
        <p:nvSpPr>
          <p:cNvPr id="6" name="Slide Number Placeholder 5">
            <a:extLst>
              <a:ext uri="{FF2B5EF4-FFF2-40B4-BE49-F238E27FC236}">
                <a16:creationId xmlns:a16="http://schemas.microsoft.com/office/drawing/2014/main" id="{A86CF783-739F-44F7-AB7E-B1400EF40E4B}"/>
              </a:ext>
            </a:extLst>
          </p:cNvPr>
          <p:cNvSpPr>
            <a:spLocks noGrp="1"/>
          </p:cNvSpPr>
          <p:nvPr>
            <p:ph type="sldNum" sz="quarter" idx="11"/>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36705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0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C70547-57E7-43AE-8B74-42412D44DC04}"/>
              </a:ext>
            </a:extLst>
          </p:cNvPr>
          <p:cNvGraphicFramePr>
            <a:graphicFrameLocks noChangeAspect="1"/>
          </p:cNvGraphicFramePr>
          <p:nvPr userDrawn="1">
            <p:custDataLst>
              <p:tags r:id="rId1"/>
            </p:custDataLst>
            <p:extLst>
              <p:ext uri="{D42A27DB-BD31-4B8C-83A1-F6EECF244321}">
                <p14:modId xmlns:p14="http://schemas.microsoft.com/office/powerpoint/2010/main" val="420924501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A1C70547-57E7-43AE-8B74-42412D44DC0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Picture Placeholder 6"/>
          <p:cNvSpPr>
            <a:spLocks noGrp="1"/>
          </p:cNvSpPr>
          <p:nvPr>
            <p:ph type="pic" sz="quarter" idx="13"/>
          </p:nvPr>
        </p:nvSpPr>
        <p:spPr>
          <a:xfrm>
            <a:off x="0" y="21"/>
            <a:ext cx="12192000" cy="6179819"/>
          </a:xfrm>
        </p:spPr>
        <p:txBody>
          <a:bodyPr/>
          <a:lstStyle/>
          <a:p>
            <a:r>
              <a:rPr lang="en-GB" noProof="0" dirty="0"/>
              <a:t>Click icon to add picture</a:t>
            </a:r>
          </a:p>
        </p:txBody>
      </p:sp>
      <p:sp>
        <p:nvSpPr>
          <p:cNvPr id="2" name="Footer Placeholder 1">
            <a:extLst>
              <a:ext uri="{FF2B5EF4-FFF2-40B4-BE49-F238E27FC236}">
                <a16:creationId xmlns:a16="http://schemas.microsoft.com/office/drawing/2014/main" id="{2EBD1446-BADE-496E-A120-409A271657F5}"/>
              </a:ext>
            </a:extLst>
          </p:cNvPr>
          <p:cNvSpPr>
            <a:spLocks noGrp="1"/>
          </p:cNvSpPr>
          <p:nvPr>
            <p:ph type="ftr" sz="quarter" idx="14"/>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52841E6B-1A10-4CB5-A9B6-2036ABE3C138}"/>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60737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icture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C70547-57E7-43AE-8B74-42412D44DC04}"/>
              </a:ext>
            </a:extLst>
          </p:cNvPr>
          <p:cNvGraphicFramePr>
            <a:graphicFrameLocks noChangeAspect="1"/>
          </p:cNvGraphicFramePr>
          <p:nvPr userDrawn="1">
            <p:custDataLst>
              <p:tags r:id="rId1"/>
            </p:custDataLst>
            <p:extLst>
              <p:ext uri="{D42A27DB-BD31-4B8C-83A1-F6EECF244321}">
                <p14:modId xmlns:p14="http://schemas.microsoft.com/office/powerpoint/2010/main" val="4334222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A1C70547-57E7-43AE-8B74-42412D44DC0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7" name="Picture Placeholder 6"/>
          <p:cNvSpPr>
            <a:spLocks noGrp="1"/>
          </p:cNvSpPr>
          <p:nvPr>
            <p:ph type="pic" sz="quarter" idx="13"/>
          </p:nvPr>
        </p:nvSpPr>
        <p:spPr>
          <a:xfrm>
            <a:off x="0" y="21"/>
            <a:ext cx="12192000" cy="6857979"/>
          </a:xfrm>
        </p:spPr>
        <p:txBody>
          <a:bodyPr/>
          <a:lstStyle/>
          <a:p>
            <a:r>
              <a:rPr lang="en-GB" noProof="0" dirty="0"/>
              <a:t>Click icon to add picture</a:t>
            </a:r>
          </a:p>
        </p:txBody>
      </p:sp>
      <p:sp>
        <p:nvSpPr>
          <p:cNvPr id="2" name="Footer Placeholder 1">
            <a:extLst>
              <a:ext uri="{FF2B5EF4-FFF2-40B4-BE49-F238E27FC236}">
                <a16:creationId xmlns:a16="http://schemas.microsoft.com/office/drawing/2014/main" id="{2EBD1446-BADE-496E-A120-409A271657F5}"/>
              </a:ext>
            </a:extLst>
          </p:cNvPr>
          <p:cNvSpPr>
            <a:spLocks noGrp="1"/>
          </p:cNvSpPr>
          <p:nvPr>
            <p:ph type="ftr" sz="quarter" idx="14"/>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52841E6B-1A10-4CB5-A9B6-2036ABE3C138}"/>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89221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ith Sub 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4148168922"/>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6" y="1836492"/>
            <a:ext cx="10541633"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6" y="2241549"/>
            <a:ext cx="10541633"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D0613B91-D51F-4517-9FD9-E02C90581D3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BA4D521D-8276-4EFD-AA23-E75A9172708F}"/>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52691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3703417271"/>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ntent Placeholder 10">
            <a:extLst>
              <a:ext uri="{FF2B5EF4-FFF2-40B4-BE49-F238E27FC236}">
                <a16:creationId xmlns:a16="http://schemas.microsoft.com/office/drawing/2014/main" id="{ED6846DB-97DE-4779-AAF7-AC1F34F0DE6D}"/>
              </a:ext>
            </a:extLst>
          </p:cNvPr>
          <p:cNvSpPr>
            <a:spLocks noGrp="1"/>
          </p:cNvSpPr>
          <p:nvPr>
            <p:ph sz="quarter" idx="13" hasCustomPrompt="1"/>
          </p:nvPr>
        </p:nvSpPr>
        <p:spPr>
          <a:xfrm>
            <a:off x="824867" y="1830707"/>
            <a:ext cx="4968240" cy="4191000"/>
          </a:xfrm>
        </p:spPr>
        <p:txBody>
          <a:bodyPr/>
          <a:lstStyle>
            <a:lvl1pPr marL="2057400" marR="0" indent="-2057400" algn="l" defTabSz="548610" rtl="0" eaLnBrk="1" fontAlgn="auto" latinLnBrk="0" hangingPunct="1">
              <a:lnSpc>
                <a:spcPct val="100000"/>
              </a:lnSpc>
              <a:spcBef>
                <a:spcPts val="1200"/>
              </a:spcBef>
              <a:spcAft>
                <a:spcPts val="0"/>
              </a:spcAft>
              <a:buClr>
                <a:schemeClr val="accent1"/>
              </a:buClr>
              <a:buSzPct val="120000"/>
              <a:buFont typeface="Arial" panose="020B0604020202020204" pitchFamily="34" charset="0"/>
              <a:buNone/>
              <a:tabLst/>
              <a:defRPr/>
            </a:lvl1pPr>
            <a:lvl2pPr marL="236212" indent="0">
              <a:buNone/>
              <a:defRPr/>
            </a:lvl2pPr>
            <a:lvl3pPr marL="496872" indent="0">
              <a:buNone/>
              <a:defRPr/>
            </a:lvl3pPr>
          </a:lstStyle>
          <a:p>
            <a:pPr lvl="0"/>
            <a:r>
              <a:rPr lang="en-GB" dirty="0"/>
              <a:t>00.00 – 00.00	Part one</a:t>
            </a:r>
          </a:p>
        </p:txBody>
      </p:sp>
      <p:sp>
        <p:nvSpPr>
          <p:cNvPr id="3" name="Picture Placeholder 2">
            <a:extLst>
              <a:ext uri="{FF2B5EF4-FFF2-40B4-BE49-F238E27FC236}">
                <a16:creationId xmlns:a16="http://schemas.microsoft.com/office/drawing/2014/main" id="{9C8A05AB-16D4-4417-A29E-1217E774BADB}"/>
              </a:ext>
            </a:extLst>
          </p:cNvPr>
          <p:cNvSpPr>
            <a:spLocks noGrp="1"/>
          </p:cNvSpPr>
          <p:nvPr>
            <p:ph type="pic" sz="quarter" idx="14"/>
          </p:nvPr>
        </p:nvSpPr>
        <p:spPr>
          <a:xfrm>
            <a:off x="6399213" y="3175"/>
            <a:ext cx="5792787" cy="6854825"/>
          </a:xfrm>
        </p:spPr>
        <p:txBody>
          <a:bodyPr/>
          <a:lstStyle/>
          <a:p>
            <a:endParaRPr lang="en-GB"/>
          </a:p>
        </p:txBody>
      </p:sp>
      <p:sp>
        <p:nvSpPr>
          <p:cNvPr id="4" name="Title 3">
            <a:extLst>
              <a:ext uri="{FF2B5EF4-FFF2-40B4-BE49-F238E27FC236}">
                <a16:creationId xmlns:a16="http://schemas.microsoft.com/office/drawing/2014/main" id="{483B4242-62B9-435B-86D3-DEEA7ACF2CFA}"/>
              </a:ext>
            </a:extLst>
          </p:cNvPr>
          <p:cNvSpPr>
            <a:spLocks noGrp="1"/>
          </p:cNvSpPr>
          <p:nvPr>
            <p:ph type="title" hasCustomPrompt="1"/>
          </p:nvPr>
        </p:nvSpPr>
        <p:spPr>
          <a:xfrm>
            <a:off x="829237" y="577216"/>
            <a:ext cx="4963552" cy="907097"/>
          </a:xfrm>
        </p:spPr>
        <p:txBody>
          <a:bodyPr/>
          <a:lstStyle>
            <a:lvl1pPr>
              <a:defRPr/>
            </a:lvl1pPr>
          </a:lstStyle>
          <a:p>
            <a:r>
              <a:rPr lang="en-GB" dirty="0"/>
              <a:t>Agenda</a:t>
            </a:r>
          </a:p>
        </p:txBody>
      </p:sp>
      <p:sp>
        <p:nvSpPr>
          <p:cNvPr id="10" name="Footer Placeholder 9">
            <a:extLst>
              <a:ext uri="{FF2B5EF4-FFF2-40B4-BE49-F238E27FC236}">
                <a16:creationId xmlns:a16="http://schemas.microsoft.com/office/drawing/2014/main" id="{3ABC70E0-D795-488D-8AC2-298449E2BE52}"/>
              </a:ext>
            </a:extLst>
          </p:cNvPr>
          <p:cNvSpPr>
            <a:spLocks noGrp="1"/>
          </p:cNvSpPr>
          <p:nvPr>
            <p:ph type="ftr" sz="quarter" idx="15"/>
          </p:nvPr>
        </p:nvSpPr>
        <p:spPr/>
        <p:txBody>
          <a:bodyPr/>
          <a:lstStyle>
            <a:lvl1pPr eaLnBrk="1">
              <a:defRPr/>
            </a:lvl1pPr>
          </a:lstStyle>
          <a:p>
            <a:endParaRPr lang="en-GB" dirty="0"/>
          </a:p>
        </p:txBody>
      </p:sp>
      <p:sp>
        <p:nvSpPr>
          <p:cNvPr id="12" name="Slide Number Placeholder 11">
            <a:extLst>
              <a:ext uri="{FF2B5EF4-FFF2-40B4-BE49-F238E27FC236}">
                <a16:creationId xmlns:a16="http://schemas.microsoft.com/office/drawing/2014/main" id="{F5E9F28C-9388-465B-9107-6F50B2EE6BEA}"/>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417851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overvie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403DDC-E99F-4F5C-9DB8-4CB79AB575B7}"/>
              </a:ext>
            </a:extLst>
          </p:cNvPr>
          <p:cNvGraphicFramePr>
            <a:graphicFrameLocks noChangeAspect="1"/>
          </p:cNvGraphicFramePr>
          <p:nvPr userDrawn="1">
            <p:custDataLst>
              <p:tags r:id="rId1"/>
            </p:custDataLst>
            <p:extLst>
              <p:ext uri="{D42A27DB-BD31-4B8C-83A1-F6EECF244321}">
                <p14:modId xmlns:p14="http://schemas.microsoft.com/office/powerpoint/2010/main" val="3636306831"/>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56403DDC-E99F-4F5C-9DB8-4CB79AB575B7}"/>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3F600FB-64F8-427B-971C-CADB5FAA6340}"/>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35D5D76E-3B21-4346-8387-3ECEA55A7AF8}"/>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10" name="Text Placeholder 4"/>
          <p:cNvSpPr>
            <a:spLocks noGrp="1"/>
          </p:cNvSpPr>
          <p:nvPr>
            <p:ph type="body" sz="quarter" idx="10"/>
          </p:nvPr>
        </p:nvSpPr>
        <p:spPr>
          <a:xfrm>
            <a:off x="825499" y="2753429"/>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26" name="Text Placeholder 4">
            <a:extLst>
              <a:ext uri="{FF2B5EF4-FFF2-40B4-BE49-F238E27FC236}">
                <a16:creationId xmlns:a16="http://schemas.microsoft.com/office/drawing/2014/main" id="{DFBA4834-1B47-48FA-B341-B048E3128FB1}"/>
              </a:ext>
            </a:extLst>
          </p:cNvPr>
          <p:cNvSpPr>
            <a:spLocks noGrp="1"/>
          </p:cNvSpPr>
          <p:nvPr>
            <p:ph type="body" sz="quarter" idx="19"/>
          </p:nvPr>
        </p:nvSpPr>
        <p:spPr>
          <a:xfrm>
            <a:off x="825499" y="4822697"/>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29" name="Text Placeholder 4">
            <a:extLst>
              <a:ext uri="{FF2B5EF4-FFF2-40B4-BE49-F238E27FC236}">
                <a16:creationId xmlns:a16="http://schemas.microsoft.com/office/drawing/2014/main" id="{CD3F43B7-3974-4835-A8E9-FAB67672FBBA}"/>
              </a:ext>
            </a:extLst>
          </p:cNvPr>
          <p:cNvSpPr>
            <a:spLocks noGrp="1"/>
          </p:cNvSpPr>
          <p:nvPr>
            <p:ph type="body" sz="quarter" idx="21"/>
          </p:nvPr>
        </p:nvSpPr>
        <p:spPr>
          <a:xfrm>
            <a:off x="4775298" y="2755017"/>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32" name="Text Placeholder 4">
            <a:extLst>
              <a:ext uri="{FF2B5EF4-FFF2-40B4-BE49-F238E27FC236}">
                <a16:creationId xmlns:a16="http://schemas.microsoft.com/office/drawing/2014/main" id="{C0D2E8FF-F2DE-4D53-A047-6387A7131458}"/>
              </a:ext>
            </a:extLst>
          </p:cNvPr>
          <p:cNvSpPr>
            <a:spLocks noGrp="1"/>
          </p:cNvSpPr>
          <p:nvPr>
            <p:ph type="body" sz="quarter" idx="23"/>
          </p:nvPr>
        </p:nvSpPr>
        <p:spPr>
          <a:xfrm>
            <a:off x="4775298" y="4824285"/>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35" name="Text Placeholder 4">
            <a:extLst>
              <a:ext uri="{FF2B5EF4-FFF2-40B4-BE49-F238E27FC236}">
                <a16:creationId xmlns:a16="http://schemas.microsoft.com/office/drawing/2014/main" id="{A89F8303-B8B6-4740-9407-07CFA2BE5364}"/>
              </a:ext>
            </a:extLst>
          </p:cNvPr>
          <p:cNvSpPr>
            <a:spLocks noGrp="1"/>
          </p:cNvSpPr>
          <p:nvPr>
            <p:ph type="body" sz="quarter" idx="25"/>
          </p:nvPr>
        </p:nvSpPr>
        <p:spPr>
          <a:xfrm>
            <a:off x="8725097" y="2753429"/>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38" name="Text Placeholder 4">
            <a:extLst>
              <a:ext uri="{FF2B5EF4-FFF2-40B4-BE49-F238E27FC236}">
                <a16:creationId xmlns:a16="http://schemas.microsoft.com/office/drawing/2014/main" id="{65FBF798-2395-4DEA-893B-0A69A9C4E01A}"/>
              </a:ext>
            </a:extLst>
          </p:cNvPr>
          <p:cNvSpPr>
            <a:spLocks noGrp="1"/>
          </p:cNvSpPr>
          <p:nvPr>
            <p:ph type="body" sz="quarter" idx="27"/>
          </p:nvPr>
        </p:nvSpPr>
        <p:spPr>
          <a:xfrm>
            <a:off x="8725097" y="4822697"/>
            <a:ext cx="2640000" cy="913576"/>
          </a:xfrm>
        </p:spPr>
        <p:txBody>
          <a:bodyPr lIns="0" tIns="0" rIns="0" bIns="0">
            <a:noAutofit/>
          </a:bodyPr>
          <a:lstStyle>
            <a:lvl1pPr marL="0" indent="0" eaLnBrk="1">
              <a:lnSpc>
                <a:spcPct val="100000"/>
              </a:lnSpc>
              <a:spcBef>
                <a:spcPts val="0"/>
              </a:spcBef>
              <a:buNone/>
              <a:defRPr sz="20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4" name="Title 3">
            <a:extLst>
              <a:ext uri="{FF2B5EF4-FFF2-40B4-BE49-F238E27FC236}">
                <a16:creationId xmlns:a16="http://schemas.microsoft.com/office/drawing/2014/main" id="{863D80F3-4A3C-487A-BDD1-1179B87AD895}"/>
              </a:ext>
            </a:extLst>
          </p:cNvPr>
          <p:cNvSpPr>
            <a:spLocks noGrp="1"/>
          </p:cNvSpPr>
          <p:nvPr>
            <p:ph type="title"/>
          </p:nvPr>
        </p:nvSpPr>
        <p:spPr/>
        <p:txBody>
          <a:bodyPr/>
          <a:lstStyle>
            <a:lvl1pPr>
              <a:defRPr>
                <a:solidFill>
                  <a:schemeClr val="tx2"/>
                </a:solidFill>
              </a:defRPr>
            </a:lvl1pPr>
          </a:lstStyle>
          <a:p>
            <a:r>
              <a:rPr lang="en-GB" dirty="0"/>
              <a:t>Click to edit Master title style</a:t>
            </a:r>
          </a:p>
        </p:txBody>
      </p:sp>
      <p:sp>
        <p:nvSpPr>
          <p:cNvPr id="7" name="Footer Placeholder 6">
            <a:extLst>
              <a:ext uri="{FF2B5EF4-FFF2-40B4-BE49-F238E27FC236}">
                <a16:creationId xmlns:a16="http://schemas.microsoft.com/office/drawing/2014/main" id="{CAC487C7-5173-42A6-959E-EA91A12A5B8D}"/>
              </a:ext>
            </a:extLst>
          </p:cNvPr>
          <p:cNvSpPr>
            <a:spLocks noGrp="1"/>
          </p:cNvSpPr>
          <p:nvPr>
            <p:ph type="ftr" sz="quarter" idx="29"/>
          </p:nvPr>
        </p:nvSpPr>
        <p:spPr/>
        <p:txBody>
          <a:bodyPr/>
          <a:lstStyle>
            <a:lvl1pPr eaLnBrk="1">
              <a:defRPr/>
            </a:lvl1pPr>
          </a:lstStyle>
          <a:p>
            <a:endParaRPr lang="en-GB" dirty="0"/>
          </a:p>
        </p:txBody>
      </p:sp>
      <p:sp>
        <p:nvSpPr>
          <p:cNvPr id="8" name="Slide Number Placeholder 7">
            <a:extLst>
              <a:ext uri="{FF2B5EF4-FFF2-40B4-BE49-F238E27FC236}">
                <a16:creationId xmlns:a16="http://schemas.microsoft.com/office/drawing/2014/main" id="{67EDB19D-C3B2-48FD-864B-FA498F61F2C3}"/>
              </a:ext>
            </a:extLst>
          </p:cNvPr>
          <p:cNvSpPr>
            <a:spLocks noGrp="1"/>
          </p:cNvSpPr>
          <p:nvPr>
            <p:ph type="sldNum" sz="quarter" idx="30"/>
          </p:nvPr>
        </p:nvSpPr>
        <p:spPr/>
        <p:txBody>
          <a:bodyPr/>
          <a:lstStyle/>
          <a:p>
            <a:fld id="{5B2ACB19-C0E1-7345-B8BA-15A723BE30E5}" type="slidenum">
              <a:rPr lang="en-GB" smtClean="0"/>
              <a:pPr/>
              <a:t>‹#›</a:t>
            </a:fld>
            <a:endParaRPr lang="en-GB" dirty="0"/>
          </a:p>
        </p:txBody>
      </p:sp>
      <p:sp>
        <p:nvSpPr>
          <p:cNvPr id="42" name="Plassholder for tekst 13">
            <a:extLst>
              <a:ext uri="{FF2B5EF4-FFF2-40B4-BE49-F238E27FC236}">
                <a16:creationId xmlns:a16="http://schemas.microsoft.com/office/drawing/2014/main" id="{5B1FC8BA-51AF-415E-A4F8-0349DAF4E4A3}"/>
              </a:ext>
            </a:extLst>
          </p:cNvPr>
          <p:cNvSpPr>
            <a:spLocks noGrp="1"/>
          </p:cNvSpPr>
          <p:nvPr>
            <p:ph type="body" sz="quarter" idx="31" hasCustomPrompt="1"/>
          </p:nvPr>
        </p:nvSpPr>
        <p:spPr>
          <a:xfrm>
            <a:off x="4775298" y="1830389"/>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3" name="Plassholder for tekst 13">
            <a:extLst>
              <a:ext uri="{FF2B5EF4-FFF2-40B4-BE49-F238E27FC236}">
                <a16:creationId xmlns:a16="http://schemas.microsoft.com/office/drawing/2014/main" id="{C79AF395-5DA0-43BE-964A-9D760C68CFD2}"/>
              </a:ext>
            </a:extLst>
          </p:cNvPr>
          <p:cNvSpPr>
            <a:spLocks noGrp="1"/>
          </p:cNvSpPr>
          <p:nvPr>
            <p:ph type="body" sz="quarter" idx="32" hasCustomPrompt="1"/>
          </p:nvPr>
        </p:nvSpPr>
        <p:spPr>
          <a:xfrm>
            <a:off x="829236" y="1830389"/>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4" name="Plassholder for tekst 13">
            <a:extLst>
              <a:ext uri="{FF2B5EF4-FFF2-40B4-BE49-F238E27FC236}">
                <a16:creationId xmlns:a16="http://schemas.microsoft.com/office/drawing/2014/main" id="{6F856F4B-C1E9-4A7E-ADC8-9BF349BDF8A5}"/>
              </a:ext>
            </a:extLst>
          </p:cNvPr>
          <p:cNvSpPr>
            <a:spLocks noGrp="1"/>
          </p:cNvSpPr>
          <p:nvPr>
            <p:ph type="body" sz="quarter" idx="33" hasCustomPrompt="1"/>
          </p:nvPr>
        </p:nvSpPr>
        <p:spPr>
          <a:xfrm>
            <a:off x="8726500" y="1830389"/>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5" name="Plassholder for tekst 13">
            <a:extLst>
              <a:ext uri="{FF2B5EF4-FFF2-40B4-BE49-F238E27FC236}">
                <a16:creationId xmlns:a16="http://schemas.microsoft.com/office/drawing/2014/main" id="{1FAF68DD-F083-4112-AEE7-A6FF3667E235}"/>
              </a:ext>
            </a:extLst>
          </p:cNvPr>
          <p:cNvSpPr>
            <a:spLocks noGrp="1"/>
          </p:cNvSpPr>
          <p:nvPr>
            <p:ph type="body" sz="quarter" idx="34" hasCustomPrompt="1"/>
          </p:nvPr>
        </p:nvSpPr>
        <p:spPr>
          <a:xfrm>
            <a:off x="4776000" y="3898068"/>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6" name="Plassholder for tekst 13">
            <a:extLst>
              <a:ext uri="{FF2B5EF4-FFF2-40B4-BE49-F238E27FC236}">
                <a16:creationId xmlns:a16="http://schemas.microsoft.com/office/drawing/2014/main" id="{A3BE0F03-ED02-4E92-AF74-B8C0C2010E1C}"/>
              </a:ext>
            </a:extLst>
          </p:cNvPr>
          <p:cNvSpPr>
            <a:spLocks noGrp="1"/>
          </p:cNvSpPr>
          <p:nvPr>
            <p:ph type="body" sz="quarter" idx="35" hasCustomPrompt="1"/>
          </p:nvPr>
        </p:nvSpPr>
        <p:spPr>
          <a:xfrm>
            <a:off x="829938" y="3898068"/>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
        <p:nvSpPr>
          <p:cNvPr id="47" name="Plassholder for tekst 13">
            <a:extLst>
              <a:ext uri="{FF2B5EF4-FFF2-40B4-BE49-F238E27FC236}">
                <a16:creationId xmlns:a16="http://schemas.microsoft.com/office/drawing/2014/main" id="{56563C9C-49B1-46FC-BD14-AF22D17F3E9A}"/>
              </a:ext>
            </a:extLst>
          </p:cNvPr>
          <p:cNvSpPr>
            <a:spLocks noGrp="1"/>
          </p:cNvSpPr>
          <p:nvPr>
            <p:ph type="body" sz="quarter" idx="36" hasCustomPrompt="1"/>
          </p:nvPr>
        </p:nvSpPr>
        <p:spPr>
          <a:xfrm>
            <a:off x="8727202" y="3898068"/>
            <a:ext cx="2640000" cy="719594"/>
          </a:xfrm>
          <a:blipFill dpi="0" rotWithShape="0">
            <a:blip r:embed="rId6">
              <a:extLst>
                <a:ext uri="{96DAC541-7B7A-43D3-8B79-37D633B846F1}">
                  <asvg:svgBlip xmlns:asvg="http://schemas.microsoft.com/office/drawing/2016/SVG/main" r:embed="rId7"/>
                </a:ext>
              </a:extLst>
            </a:blip>
            <a:srcRect/>
            <a:stretch>
              <a:fillRect t="97000"/>
            </a:stretch>
          </a:blipFill>
          <a:ln>
            <a:noFill/>
          </a:ln>
        </p:spPr>
        <p:txBody>
          <a:bodyPr wrap="square" bIns="36000">
            <a:noAutofit/>
          </a:bodyPr>
          <a:lstStyle>
            <a:lvl1pPr marL="0" indent="0">
              <a:lnSpc>
                <a:spcPct val="100000"/>
              </a:lnSpc>
              <a:spcBef>
                <a:spcPts val="0"/>
              </a:spcBef>
              <a:buNone/>
              <a:defRPr sz="4000" b="1">
                <a:solidFill>
                  <a:schemeClr val="tx2"/>
                </a:solidFill>
              </a:defRPr>
            </a:lvl1pPr>
          </a:lstStyle>
          <a:p>
            <a:pPr lvl="0"/>
            <a:r>
              <a:rPr lang="en-GB" dirty="0"/>
              <a:t>0</a:t>
            </a:r>
          </a:p>
        </p:txBody>
      </p:sp>
    </p:spTree>
    <p:extLst>
      <p:ext uri="{BB962C8B-B14F-4D97-AF65-F5344CB8AC3E}">
        <p14:creationId xmlns:p14="http://schemas.microsoft.com/office/powerpoint/2010/main" val="41518937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 0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53601120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027498F8-B643-49CA-B711-9895BAAEF51D}"/>
              </a:ext>
            </a:extLst>
          </p:cNvPr>
          <p:cNvSpPr/>
          <p:nvPr userDrawn="1"/>
        </p:nvSpPr>
        <p:spPr>
          <a:xfrm>
            <a:off x="1235074" y="2"/>
            <a:ext cx="4860926" cy="4794781"/>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tx2"/>
                </a:solidFill>
              </a:defRPr>
            </a:lvl1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
        <p:nvSpPr>
          <p:cNvPr id="8" name="Subtitle 2">
            <a:extLst>
              <a:ext uri="{FF2B5EF4-FFF2-40B4-BE49-F238E27FC236}">
                <a16:creationId xmlns:a16="http://schemas.microsoft.com/office/drawing/2014/main" id="{5944DA81-A1C5-4AC7-A37D-7026E9D4025C}"/>
              </a:ext>
            </a:extLst>
          </p:cNvPr>
          <p:cNvSpPr>
            <a:spLocks noGrp="1"/>
          </p:cNvSpPr>
          <p:nvPr>
            <p:ph type="subTitle" idx="1"/>
          </p:nvPr>
        </p:nvSpPr>
        <p:spPr>
          <a:xfrm>
            <a:off x="1235074" y="4368356"/>
            <a:ext cx="4860926" cy="427979"/>
          </a:xfrm>
          <a:solidFill>
            <a:schemeClr val="accent2">
              <a:lumMod val="60000"/>
              <a:lumOff val="40000"/>
            </a:schemeClr>
          </a:solidFill>
        </p:spPr>
        <p:txBody>
          <a:bodyPr lIns="288000" rIns="288000" bIns="180000">
            <a:spAutoFit/>
          </a:bodyPr>
          <a:lstStyle>
            <a:lvl1pPr marL="0" indent="0" algn="l" eaLnBrk="1">
              <a:spcBef>
                <a:spcPts val="0"/>
              </a:spcBef>
              <a:buNone/>
              <a:defRPr sz="1600" cap="all" baseline="0">
                <a:solidFill>
                  <a:schemeClr val="tx2"/>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spTree>
    <p:extLst>
      <p:ext uri="{BB962C8B-B14F-4D97-AF65-F5344CB8AC3E}">
        <p14:creationId xmlns:p14="http://schemas.microsoft.com/office/powerpoint/2010/main" val="427994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hapter 02">
    <p:bg>
      <p:bgPr>
        <a:solidFill>
          <a:schemeClr val="accent2">
            <a:lumMod val="60000"/>
            <a:lumOff val="4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3182247351"/>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F9A8087B-33BC-467D-9863-0D0966781CD6}"/>
              </a:ext>
            </a:extLst>
          </p:cNvPr>
          <p:cNvSpPr>
            <a:spLocks noGrp="1"/>
          </p:cNvSpPr>
          <p:nvPr>
            <p:ph type="pic" sz="quarter" idx="10"/>
          </p:nvPr>
        </p:nvSpPr>
        <p:spPr>
          <a:xfrm>
            <a:off x="0" y="0"/>
            <a:ext cx="12192000" cy="685800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solidFill>
            <a:schemeClr val="bg1"/>
          </a:solidFill>
        </p:spPr>
        <p:txBody>
          <a:bodyPr wrap="square" anchor="t">
            <a:noAutofit/>
          </a:bodyPr>
          <a:lstStyle>
            <a:lvl1pPr marL="342900" indent="-342900" algn="l">
              <a:buFont typeface="Arial" panose="020B0604020202020204" pitchFamily="34" charset="0"/>
              <a:buChar char="•"/>
              <a:defRPr/>
            </a:lvl1pPr>
          </a:lstStyle>
          <a:p>
            <a:endParaRPr lang="en-GB"/>
          </a:p>
        </p:txBody>
      </p:sp>
      <p:sp>
        <p:nvSpPr>
          <p:cNvPr id="2" name="Title 1"/>
          <p:cNvSpPr>
            <a:spLocks noGrp="1"/>
          </p:cNvSpPr>
          <p:nvPr>
            <p:ph type="ctrTitle"/>
          </p:nvPr>
        </p:nvSpPr>
        <p:spPr>
          <a:xfrm>
            <a:off x="1524000" y="1830393"/>
            <a:ext cx="4284663" cy="2271708"/>
          </a:xfrm>
        </p:spPr>
        <p:txBody>
          <a:bodyPr anchor="b">
            <a:noAutofit/>
          </a:bodyPr>
          <a:lstStyle>
            <a:lvl1pPr algn="l" eaLnBrk="1">
              <a:lnSpc>
                <a:spcPct val="90000"/>
              </a:lnSpc>
              <a:defRPr sz="3600" cap="none" baseline="0">
                <a:solidFill>
                  <a:schemeClr val="tx2"/>
                </a:solidFill>
              </a:defRPr>
            </a:lvl1pPr>
          </a:lstStyle>
          <a:p>
            <a:endParaRPr lang="en-GB" noProof="0"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sp>
        <p:nvSpPr>
          <p:cNvPr id="8" name="Subtitle 2">
            <a:extLst>
              <a:ext uri="{FF2B5EF4-FFF2-40B4-BE49-F238E27FC236}">
                <a16:creationId xmlns:a16="http://schemas.microsoft.com/office/drawing/2014/main" id="{99E99776-DDA5-4531-9FAA-7E1F063C972D}"/>
              </a:ext>
            </a:extLst>
          </p:cNvPr>
          <p:cNvSpPr>
            <a:spLocks noGrp="1"/>
          </p:cNvSpPr>
          <p:nvPr>
            <p:ph type="subTitle" idx="1"/>
          </p:nvPr>
        </p:nvSpPr>
        <p:spPr>
          <a:xfrm>
            <a:off x="1235074" y="4368356"/>
            <a:ext cx="4860926" cy="427979"/>
          </a:xfrm>
          <a:solidFill>
            <a:schemeClr val="accent2">
              <a:lumMod val="60000"/>
              <a:lumOff val="40000"/>
            </a:schemeClr>
          </a:solidFill>
        </p:spPr>
        <p:txBody>
          <a:bodyPr lIns="288000" rIns="288000" bIns="180000">
            <a:spAutoFit/>
          </a:bodyPr>
          <a:lstStyle>
            <a:lvl1pPr marL="0" indent="0" algn="l" eaLnBrk="1">
              <a:spcBef>
                <a:spcPts val="0"/>
              </a:spcBef>
              <a:buNone/>
              <a:defRPr sz="1600" cap="all" baseline="0">
                <a:solidFill>
                  <a:schemeClr val="tx2"/>
                </a:solidFill>
              </a:defRPr>
            </a:lvl1pPr>
            <a:lvl2pPr marL="548610" indent="0" algn="ctr">
              <a:buNone/>
              <a:defRPr>
                <a:solidFill>
                  <a:schemeClr val="tx1">
                    <a:tint val="75000"/>
                  </a:schemeClr>
                </a:solidFill>
              </a:defRPr>
            </a:lvl2pPr>
            <a:lvl3pPr marL="1097221" indent="0" algn="ctr">
              <a:buNone/>
              <a:defRPr>
                <a:solidFill>
                  <a:schemeClr val="tx1">
                    <a:tint val="75000"/>
                  </a:schemeClr>
                </a:solidFill>
              </a:defRPr>
            </a:lvl3pPr>
            <a:lvl4pPr marL="1645831" indent="0" algn="ctr">
              <a:buNone/>
              <a:defRPr>
                <a:solidFill>
                  <a:schemeClr val="tx1">
                    <a:tint val="75000"/>
                  </a:schemeClr>
                </a:solidFill>
              </a:defRPr>
            </a:lvl4pPr>
            <a:lvl5pPr marL="2194440" indent="0" algn="ctr">
              <a:buNone/>
              <a:defRPr>
                <a:solidFill>
                  <a:schemeClr val="tx1">
                    <a:tint val="75000"/>
                  </a:schemeClr>
                </a:solidFill>
              </a:defRPr>
            </a:lvl5pPr>
            <a:lvl6pPr marL="2743051" indent="0" algn="ctr">
              <a:buNone/>
              <a:defRPr>
                <a:solidFill>
                  <a:schemeClr val="tx1">
                    <a:tint val="75000"/>
                  </a:schemeClr>
                </a:solidFill>
              </a:defRPr>
            </a:lvl6pPr>
            <a:lvl7pPr marL="3291660" indent="0" algn="ctr">
              <a:buNone/>
              <a:defRPr>
                <a:solidFill>
                  <a:schemeClr val="tx1">
                    <a:tint val="75000"/>
                  </a:schemeClr>
                </a:solidFill>
              </a:defRPr>
            </a:lvl7pPr>
            <a:lvl8pPr marL="3840269" indent="0" algn="ctr">
              <a:buNone/>
              <a:defRPr>
                <a:solidFill>
                  <a:schemeClr val="tx1">
                    <a:tint val="75000"/>
                  </a:schemeClr>
                </a:solidFill>
              </a:defRPr>
            </a:lvl8pPr>
            <a:lvl9pPr marL="4388877" indent="0" algn="ctr">
              <a:buNone/>
              <a:defRPr>
                <a:solidFill>
                  <a:schemeClr val="tx1">
                    <a:tint val="75000"/>
                  </a:schemeClr>
                </a:solidFill>
              </a:defRPr>
            </a:lvl9pPr>
          </a:lstStyle>
          <a:p>
            <a:endParaRPr lang="en-GB" noProof="0" dirty="0"/>
          </a:p>
        </p:txBody>
      </p:sp>
    </p:spTree>
    <p:extLst>
      <p:ext uri="{BB962C8B-B14F-4D97-AF65-F5344CB8AC3E}">
        <p14:creationId xmlns:p14="http://schemas.microsoft.com/office/powerpoint/2010/main" val="2064787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425057-A686-4E31-B8A1-F9DA3356ADF8}"/>
              </a:ext>
            </a:extLst>
          </p:cNvPr>
          <p:cNvGraphicFramePr>
            <a:graphicFrameLocks noChangeAspect="1"/>
          </p:cNvGraphicFramePr>
          <p:nvPr userDrawn="1">
            <p:custDataLst>
              <p:tags r:id="rId1"/>
            </p:custDataLst>
            <p:extLst>
              <p:ext uri="{D42A27DB-BD31-4B8C-83A1-F6EECF244321}">
                <p14:modId xmlns:p14="http://schemas.microsoft.com/office/powerpoint/2010/main" val="365170349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5A425057-A686-4E31-B8A1-F9DA3356ADF8}"/>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0EACD11-8C82-4B33-9818-2E9B80C745F4}"/>
              </a:ext>
            </a:extLst>
          </p:cNvPr>
          <p:cNvSpPr/>
          <p:nvPr userDrawn="1"/>
        </p:nvSpPr>
        <p:spPr>
          <a:xfrm>
            <a:off x="0" y="0"/>
            <a:ext cx="6096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22" name="Text Placeholder 4">
            <a:extLst>
              <a:ext uri="{FF2B5EF4-FFF2-40B4-BE49-F238E27FC236}">
                <a16:creationId xmlns:a16="http://schemas.microsoft.com/office/drawing/2014/main" id="{A07FF22D-3C6C-48BB-8040-D34A9441D6EB}"/>
              </a:ext>
            </a:extLst>
          </p:cNvPr>
          <p:cNvSpPr>
            <a:spLocks noGrp="1"/>
          </p:cNvSpPr>
          <p:nvPr>
            <p:ph type="body" sz="quarter" idx="18"/>
          </p:nvPr>
        </p:nvSpPr>
        <p:spPr>
          <a:xfrm>
            <a:off x="1235076" y="1484313"/>
            <a:ext cx="3636962" cy="4127919"/>
          </a:xfrm>
          <a:blipFill dpi="0" rotWithShape="0">
            <a:blip r:embed="rId5">
              <a:extLst>
                <a:ext uri="{96DAC541-7B7A-43D3-8B79-37D633B846F1}">
                  <asvg:svgBlip xmlns:asvg="http://schemas.microsoft.com/office/drawing/2016/SVG/main" r:embed="rId6"/>
                </a:ext>
              </a:extLst>
            </a:blip>
            <a:srcRect/>
            <a:stretch>
              <a:fillRect t="-10000" b="98000"/>
            </a:stretch>
          </a:blipFill>
        </p:spPr>
        <p:txBody>
          <a:bodyPr lIns="0" tIns="288000" rIns="0" bIns="0">
            <a:noAutofit/>
          </a:bodyPr>
          <a:lstStyle>
            <a:lvl1pPr marL="0" indent="0" eaLnBrk="1">
              <a:lnSpc>
                <a:spcPct val="100000"/>
              </a:lnSpc>
              <a:buNone/>
              <a:defRPr sz="3200" b="1">
                <a:solidFill>
                  <a:schemeClr val="tx2"/>
                </a:solidFill>
              </a:defRPr>
            </a:lvl1pPr>
            <a:lvl2pPr>
              <a:defRPr sz="1440"/>
            </a:lvl2pPr>
            <a:lvl3pPr>
              <a:defRPr sz="1440"/>
            </a:lvl3pPr>
            <a:lvl4pPr>
              <a:defRPr sz="1440"/>
            </a:lvl4pPr>
            <a:lvl5pPr>
              <a:defRPr sz="1440"/>
            </a:lvl5pPr>
          </a:lstStyle>
          <a:p>
            <a:pPr lvl="0"/>
            <a:endParaRPr lang="en-GB" noProof="0" dirty="0"/>
          </a:p>
        </p:txBody>
      </p:sp>
      <p:sp>
        <p:nvSpPr>
          <p:cNvPr id="2" name="Footer Placeholder 1">
            <a:extLst>
              <a:ext uri="{FF2B5EF4-FFF2-40B4-BE49-F238E27FC236}">
                <a16:creationId xmlns:a16="http://schemas.microsoft.com/office/drawing/2014/main" id="{04C69016-ED83-4DA8-8515-95C6620C560B}"/>
              </a:ext>
            </a:extLst>
          </p:cNvPr>
          <p:cNvSpPr>
            <a:spLocks noGrp="1"/>
          </p:cNvSpPr>
          <p:nvPr>
            <p:ph type="ftr" sz="quarter" idx="19"/>
          </p:nvPr>
        </p:nvSpPr>
        <p:spPr/>
        <p:txBody>
          <a:bodyPr/>
          <a:lstStyle>
            <a:lvl1pPr eaLnBrk="1">
              <a:defRPr/>
            </a:lvl1pPr>
          </a:lstStyle>
          <a:p>
            <a:endParaRPr lang="en-GB" dirty="0"/>
          </a:p>
        </p:txBody>
      </p:sp>
      <p:sp>
        <p:nvSpPr>
          <p:cNvPr id="4" name="Slide Number Placeholder 3">
            <a:extLst>
              <a:ext uri="{FF2B5EF4-FFF2-40B4-BE49-F238E27FC236}">
                <a16:creationId xmlns:a16="http://schemas.microsoft.com/office/drawing/2014/main" id="{B841C938-DD81-4B48-A39A-291BD5BE17DF}"/>
              </a:ext>
            </a:extLst>
          </p:cNvPr>
          <p:cNvSpPr>
            <a:spLocks noGrp="1"/>
          </p:cNvSpPr>
          <p:nvPr>
            <p:ph type="sldNum" sz="quarter" idx="20"/>
          </p:nvPr>
        </p:nvSpPr>
        <p:spPr/>
        <p:txBody>
          <a:bodyPr/>
          <a:lstStyle/>
          <a:p>
            <a:fld id="{5B2ACB19-C0E1-7345-B8BA-15A723BE30E5}" type="slidenum">
              <a:rPr lang="en-GB" smtClean="0"/>
              <a:pPr/>
              <a:t>‹#›</a:t>
            </a:fld>
            <a:endParaRPr lang="en-GB" dirty="0"/>
          </a:p>
        </p:txBody>
      </p:sp>
      <p:sp>
        <p:nvSpPr>
          <p:cNvPr id="6" name="Picture Placeholder 5">
            <a:extLst>
              <a:ext uri="{FF2B5EF4-FFF2-40B4-BE49-F238E27FC236}">
                <a16:creationId xmlns:a16="http://schemas.microsoft.com/office/drawing/2014/main" id="{888CA222-7E26-47F7-846B-8C915D47E00A}"/>
              </a:ext>
            </a:extLst>
          </p:cNvPr>
          <p:cNvSpPr>
            <a:spLocks noGrp="1"/>
          </p:cNvSpPr>
          <p:nvPr>
            <p:ph type="pic" sz="quarter" idx="21"/>
          </p:nvPr>
        </p:nvSpPr>
        <p:spPr>
          <a:xfrm>
            <a:off x="6096000" y="0"/>
            <a:ext cx="6096000" cy="6140450"/>
          </a:xfrm>
        </p:spPr>
        <p:txBody>
          <a:bodyPr/>
          <a:lstStyle/>
          <a:p>
            <a:endParaRPr lang="en-GB"/>
          </a:p>
        </p:txBody>
      </p:sp>
    </p:spTree>
    <p:extLst>
      <p:ext uri="{BB962C8B-B14F-4D97-AF65-F5344CB8AC3E}">
        <p14:creationId xmlns:p14="http://schemas.microsoft.com/office/powerpoint/2010/main" val="4102370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78">
          <p15:clr>
            <a:srgbClr val="FBAE40"/>
          </p15:clr>
        </p15:guide>
        <p15:guide id="2" pos="3840">
          <p15:clr>
            <a:srgbClr val="FBAE40"/>
          </p15:clr>
        </p15:guide>
        <p15:guide id="3" pos="306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0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118116850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14" name="Graphic 5">
            <a:extLst>
              <a:ext uri="{FF2B5EF4-FFF2-40B4-BE49-F238E27FC236}">
                <a16:creationId xmlns:a16="http://schemas.microsoft.com/office/drawing/2014/main" id="{3A45DB2C-420A-4A46-9176-30488C4A057E}"/>
              </a:ext>
            </a:extLst>
          </p:cNvPr>
          <p:cNvSpPr/>
          <p:nvPr/>
        </p:nvSpPr>
        <p:spPr>
          <a:xfrm>
            <a:off x="4926457" y="0"/>
            <a:ext cx="7265543" cy="6845276"/>
          </a:xfrm>
          <a:custGeom>
            <a:avLst/>
            <a:gdLst>
              <a:gd name="connsiteX0" fmla="*/ 2134621 w 7265542"/>
              <a:gd name="connsiteY0" fmla="*/ 6837897 h 6845276"/>
              <a:gd name="connsiteX1" fmla="*/ 1877972 w 7265542"/>
              <a:gd name="connsiteY1" fmla="*/ 6655441 h 6845276"/>
              <a:gd name="connsiteX2" fmla="*/ 1560503 w 7265542"/>
              <a:gd name="connsiteY2" fmla="*/ 6389519 h 6845276"/>
              <a:gd name="connsiteX3" fmla="*/ 1495609 w 7265542"/>
              <a:gd name="connsiteY3" fmla="*/ 6305670 h 6845276"/>
              <a:gd name="connsiteX4" fmla="*/ 1541926 w 7265542"/>
              <a:gd name="connsiteY4" fmla="*/ 6292947 h 6845276"/>
              <a:gd name="connsiteX5" fmla="*/ 1909402 w 7265542"/>
              <a:gd name="connsiteY5" fmla="*/ 6333789 h 6845276"/>
              <a:gd name="connsiteX6" fmla="*/ 2362258 w 7265542"/>
              <a:gd name="connsiteY6" fmla="*/ 6339133 h 6845276"/>
              <a:gd name="connsiteX7" fmla="*/ 2887769 w 7265542"/>
              <a:gd name="connsiteY7" fmla="*/ 6288239 h 6845276"/>
              <a:gd name="connsiteX8" fmla="*/ 3362637 w 7265542"/>
              <a:gd name="connsiteY8" fmla="*/ 6207444 h 6845276"/>
              <a:gd name="connsiteX9" fmla="*/ 3823255 w 7265542"/>
              <a:gd name="connsiteY9" fmla="*/ 6126650 h 6845276"/>
              <a:gd name="connsiteX10" fmla="*/ 4278274 w 7265542"/>
              <a:gd name="connsiteY10" fmla="*/ 6088479 h 6845276"/>
              <a:gd name="connsiteX11" fmla="*/ 4877204 w 7265542"/>
              <a:gd name="connsiteY11" fmla="*/ 6126650 h 6845276"/>
              <a:gd name="connsiteX12" fmla="*/ 5343929 w 7265542"/>
              <a:gd name="connsiteY12" fmla="*/ 6239635 h 6845276"/>
              <a:gd name="connsiteX13" fmla="*/ 5368487 w 7265542"/>
              <a:gd name="connsiteY13" fmla="*/ 6267372 h 6845276"/>
              <a:gd name="connsiteX14" fmla="*/ 5347238 w 7265542"/>
              <a:gd name="connsiteY14" fmla="*/ 6276406 h 6845276"/>
              <a:gd name="connsiteX15" fmla="*/ 4678070 w 7265542"/>
              <a:gd name="connsiteY15" fmla="*/ 6324629 h 6845276"/>
              <a:gd name="connsiteX16" fmla="*/ 3901891 w 7265542"/>
              <a:gd name="connsiteY16" fmla="*/ 6573374 h 6845276"/>
              <a:gd name="connsiteX17" fmla="*/ 3526017 w 7265542"/>
              <a:gd name="connsiteY17" fmla="*/ 6721095 h 6845276"/>
              <a:gd name="connsiteX18" fmla="*/ 3009413 w 7265542"/>
              <a:gd name="connsiteY18" fmla="*/ 6854310 h 6845276"/>
              <a:gd name="connsiteX19" fmla="*/ 7275215 w 7265542"/>
              <a:gd name="connsiteY19" fmla="*/ 6854311 h 6845276"/>
              <a:gd name="connsiteX20" fmla="*/ 7275215 w 7265542"/>
              <a:gd name="connsiteY20" fmla="*/ 0 h 6845276"/>
              <a:gd name="connsiteX21" fmla="*/ 1146711 w 7265542"/>
              <a:gd name="connsiteY21" fmla="*/ 0 h 6845276"/>
              <a:gd name="connsiteX22" fmla="*/ 2 w 7265542"/>
              <a:gd name="connsiteY22" fmla="*/ 3050347 h 6845276"/>
              <a:gd name="connsiteX23" fmla="*/ 1986638 w 7265542"/>
              <a:gd name="connsiteY23" fmla="*/ 6854692 h 6845276"/>
              <a:gd name="connsiteX24" fmla="*/ 2162105 w 7265542"/>
              <a:gd name="connsiteY24" fmla="*/ 6854692 h 6845276"/>
              <a:gd name="connsiteX25" fmla="*/ 2134621 w 7265542"/>
              <a:gd name="connsiteY25" fmla="*/ 6837897 h 6845276"/>
              <a:gd name="connsiteX26" fmla="*/ 481360 w 7265542"/>
              <a:gd name="connsiteY26" fmla="*/ 1206321 h 6845276"/>
              <a:gd name="connsiteX27" fmla="*/ 755694 w 7265542"/>
              <a:gd name="connsiteY27" fmla="*/ 684655 h 6845276"/>
              <a:gd name="connsiteX28" fmla="*/ 796285 w 7265542"/>
              <a:gd name="connsiteY28" fmla="*/ 621037 h 6845276"/>
              <a:gd name="connsiteX29" fmla="*/ 858761 w 7265542"/>
              <a:gd name="connsiteY29" fmla="*/ 601061 h 6845276"/>
              <a:gd name="connsiteX30" fmla="*/ 893498 w 7265542"/>
              <a:gd name="connsiteY30" fmla="*/ 609204 h 6845276"/>
              <a:gd name="connsiteX31" fmla="*/ 1269626 w 7265542"/>
              <a:gd name="connsiteY31" fmla="*/ 624727 h 6845276"/>
              <a:gd name="connsiteX32" fmla="*/ 2060311 w 7265542"/>
              <a:gd name="connsiteY32" fmla="*/ 534390 h 6845276"/>
              <a:gd name="connsiteX33" fmla="*/ 2977475 w 7265542"/>
              <a:gd name="connsiteY33" fmla="*/ 385778 h 6845276"/>
              <a:gd name="connsiteX34" fmla="*/ 3465449 w 7265542"/>
              <a:gd name="connsiteY34" fmla="*/ 307529 h 6845276"/>
              <a:gd name="connsiteX35" fmla="*/ 4516472 w 7265542"/>
              <a:gd name="connsiteY35" fmla="*/ 287171 h 6845276"/>
              <a:gd name="connsiteX36" fmla="*/ 5616610 w 7265542"/>
              <a:gd name="connsiteY36" fmla="*/ 451559 h 6845276"/>
              <a:gd name="connsiteX37" fmla="*/ 6033074 w 7265542"/>
              <a:gd name="connsiteY37" fmla="*/ 554366 h 6845276"/>
              <a:gd name="connsiteX38" fmla="*/ 6356270 w 7265542"/>
              <a:gd name="connsiteY38" fmla="*/ 650556 h 6845276"/>
              <a:gd name="connsiteX39" fmla="*/ 6368104 w 7265542"/>
              <a:gd name="connsiteY39" fmla="*/ 662389 h 6845276"/>
              <a:gd name="connsiteX40" fmla="*/ 6354235 w 7265542"/>
              <a:gd name="connsiteY40" fmla="*/ 670150 h 6845276"/>
              <a:gd name="connsiteX41" fmla="*/ 6323951 w 7265542"/>
              <a:gd name="connsiteY41" fmla="*/ 668623 h 6845276"/>
              <a:gd name="connsiteX42" fmla="*/ 5538483 w 7265542"/>
              <a:gd name="connsiteY42" fmla="*/ 638087 h 6845276"/>
              <a:gd name="connsiteX43" fmla="*/ 4388084 w 7265542"/>
              <a:gd name="connsiteY43" fmla="*/ 695852 h 6845276"/>
              <a:gd name="connsiteX44" fmla="*/ 3048476 w 7265542"/>
              <a:gd name="connsiteY44" fmla="*/ 978569 h 6845276"/>
              <a:gd name="connsiteX45" fmla="*/ 2052295 w 7265542"/>
              <a:gd name="connsiteY45" fmla="*/ 1292460 h 6845276"/>
              <a:gd name="connsiteX46" fmla="*/ 1135258 w 7265542"/>
              <a:gd name="connsiteY46" fmla="*/ 1461301 h 6845276"/>
              <a:gd name="connsiteX47" fmla="*/ 715994 w 7265542"/>
              <a:gd name="connsiteY47" fmla="*/ 1438653 h 6845276"/>
              <a:gd name="connsiteX48" fmla="*/ 512407 w 7265542"/>
              <a:gd name="connsiteY48" fmla="*/ 1355950 h 6845276"/>
              <a:gd name="connsiteX49" fmla="*/ 481360 w 7265542"/>
              <a:gd name="connsiteY49" fmla="*/ 1206321 h 6845276"/>
              <a:gd name="connsiteX50" fmla="*/ 90853 w 7265542"/>
              <a:gd name="connsiteY50" fmla="*/ 3171730 h 6845276"/>
              <a:gd name="connsiteX51" fmla="*/ 124444 w 7265542"/>
              <a:gd name="connsiteY51" fmla="*/ 2481222 h 6845276"/>
              <a:gd name="connsiteX52" fmla="*/ 130807 w 7265542"/>
              <a:gd name="connsiteY52" fmla="*/ 2431727 h 6845276"/>
              <a:gd name="connsiteX53" fmla="*/ 158673 w 7265542"/>
              <a:gd name="connsiteY53" fmla="*/ 2387958 h 6845276"/>
              <a:gd name="connsiteX54" fmla="*/ 223057 w 7265542"/>
              <a:gd name="connsiteY54" fmla="*/ 2384777 h 6845276"/>
              <a:gd name="connsiteX55" fmla="*/ 259322 w 7265542"/>
              <a:gd name="connsiteY55" fmla="*/ 2391266 h 6845276"/>
              <a:gd name="connsiteX56" fmla="*/ 507444 w 7265542"/>
              <a:gd name="connsiteY56" fmla="*/ 2427656 h 6845276"/>
              <a:gd name="connsiteX57" fmla="*/ 1094159 w 7265542"/>
              <a:gd name="connsiteY57" fmla="*/ 2453103 h 6845276"/>
              <a:gd name="connsiteX58" fmla="*/ 1746532 w 7265542"/>
              <a:gd name="connsiteY58" fmla="*/ 2400936 h 6845276"/>
              <a:gd name="connsiteX59" fmla="*/ 2181191 w 7265542"/>
              <a:gd name="connsiteY59" fmla="*/ 2333247 h 6845276"/>
              <a:gd name="connsiteX60" fmla="*/ 2915889 w 7265542"/>
              <a:gd name="connsiteY60" fmla="*/ 2187562 h 6845276"/>
              <a:gd name="connsiteX61" fmla="*/ 3574496 w 7265542"/>
              <a:gd name="connsiteY61" fmla="*/ 2056255 h 6845276"/>
              <a:gd name="connsiteX62" fmla="*/ 4130291 w 7265542"/>
              <a:gd name="connsiteY62" fmla="*/ 1971898 h 6845276"/>
              <a:gd name="connsiteX63" fmla="*/ 4859390 w 7265542"/>
              <a:gd name="connsiteY63" fmla="*/ 1932327 h 6845276"/>
              <a:gd name="connsiteX64" fmla="*/ 5559223 w 7265542"/>
              <a:gd name="connsiteY64" fmla="*/ 1978769 h 6845276"/>
              <a:gd name="connsiteX65" fmla="*/ 6203070 w 7265542"/>
              <a:gd name="connsiteY65" fmla="*/ 2094298 h 6845276"/>
              <a:gd name="connsiteX66" fmla="*/ 6813071 w 7265542"/>
              <a:gd name="connsiteY66" fmla="*/ 2274591 h 6845276"/>
              <a:gd name="connsiteX67" fmla="*/ 7072900 w 7265542"/>
              <a:gd name="connsiteY67" fmla="*/ 2378543 h 6845276"/>
              <a:gd name="connsiteX68" fmla="*/ 7081807 w 7265542"/>
              <a:gd name="connsiteY68" fmla="*/ 2395338 h 6845276"/>
              <a:gd name="connsiteX69" fmla="*/ 7056358 w 7265542"/>
              <a:gd name="connsiteY69" fmla="*/ 2404372 h 6845276"/>
              <a:gd name="connsiteX70" fmla="*/ 6849080 w 7265542"/>
              <a:gd name="connsiteY70" fmla="*/ 2399537 h 6845276"/>
              <a:gd name="connsiteX71" fmla="*/ 5240990 w 7265542"/>
              <a:gd name="connsiteY71" fmla="*/ 2475878 h 6845276"/>
              <a:gd name="connsiteX72" fmla="*/ 3948462 w 7265542"/>
              <a:gd name="connsiteY72" fmla="*/ 2780480 h 6845276"/>
              <a:gd name="connsiteX73" fmla="*/ 2170630 w 7265542"/>
              <a:gd name="connsiteY73" fmla="*/ 3365764 h 6845276"/>
              <a:gd name="connsiteX74" fmla="*/ 585826 w 7265542"/>
              <a:gd name="connsiteY74" fmla="*/ 3561071 h 6845276"/>
              <a:gd name="connsiteX75" fmla="*/ 183231 w 7265542"/>
              <a:gd name="connsiteY75" fmla="*/ 3421875 h 6845276"/>
              <a:gd name="connsiteX76" fmla="*/ 90853 w 7265542"/>
              <a:gd name="connsiteY76" fmla="*/ 3171730 h 6845276"/>
              <a:gd name="connsiteX77" fmla="*/ 1182338 w 7265542"/>
              <a:gd name="connsiteY77" fmla="*/ 5427363 h 6845276"/>
              <a:gd name="connsiteX78" fmla="*/ 591552 w 7265542"/>
              <a:gd name="connsiteY78" fmla="*/ 5123270 h 6845276"/>
              <a:gd name="connsiteX79" fmla="*/ 349791 w 7265542"/>
              <a:gd name="connsiteY79" fmla="*/ 4568904 h 6845276"/>
              <a:gd name="connsiteX80" fmla="*/ 334013 w 7265542"/>
              <a:gd name="connsiteY80" fmla="*/ 4521572 h 6845276"/>
              <a:gd name="connsiteX81" fmla="*/ 338339 w 7265542"/>
              <a:gd name="connsiteY81" fmla="*/ 4457955 h 6845276"/>
              <a:gd name="connsiteX82" fmla="*/ 424991 w 7265542"/>
              <a:gd name="connsiteY82" fmla="*/ 4457955 h 6845276"/>
              <a:gd name="connsiteX83" fmla="*/ 1049497 w 7265542"/>
              <a:gd name="connsiteY83" fmla="*/ 4542312 h 6845276"/>
              <a:gd name="connsiteX84" fmla="*/ 1610127 w 7265542"/>
              <a:gd name="connsiteY84" fmla="*/ 4563433 h 6845276"/>
              <a:gd name="connsiteX85" fmla="*/ 2116552 w 7265542"/>
              <a:gd name="connsiteY85" fmla="*/ 4537986 h 6845276"/>
              <a:gd name="connsiteX86" fmla="*/ 2803661 w 7265542"/>
              <a:gd name="connsiteY86" fmla="*/ 4440142 h 6845276"/>
              <a:gd name="connsiteX87" fmla="*/ 3652623 w 7265542"/>
              <a:gd name="connsiteY87" fmla="*/ 4257813 h 6845276"/>
              <a:gd name="connsiteX88" fmla="*/ 4171772 w 7265542"/>
              <a:gd name="connsiteY88" fmla="*/ 4160605 h 6845276"/>
              <a:gd name="connsiteX89" fmla="*/ 4583401 w 7265542"/>
              <a:gd name="connsiteY89" fmla="*/ 4127905 h 6845276"/>
              <a:gd name="connsiteX90" fmla="*/ 5135888 w 7265542"/>
              <a:gd name="connsiteY90" fmla="*/ 4149154 h 6845276"/>
              <a:gd name="connsiteX91" fmla="*/ 5791059 w 7265542"/>
              <a:gd name="connsiteY91" fmla="*/ 4241400 h 6845276"/>
              <a:gd name="connsiteX92" fmla="*/ 6230555 w 7265542"/>
              <a:gd name="connsiteY92" fmla="*/ 4347514 h 6845276"/>
              <a:gd name="connsiteX93" fmla="*/ 6386427 w 7265542"/>
              <a:gd name="connsiteY93" fmla="*/ 4395609 h 6845276"/>
              <a:gd name="connsiteX94" fmla="*/ 6403605 w 7265542"/>
              <a:gd name="connsiteY94" fmla="*/ 4415967 h 6845276"/>
              <a:gd name="connsiteX95" fmla="*/ 6382737 w 7265542"/>
              <a:gd name="connsiteY95" fmla="*/ 4424492 h 6845276"/>
              <a:gd name="connsiteX96" fmla="*/ 6364541 w 7265542"/>
              <a:gd name="connsiteY96" fmla="*/ 4422711 h 6845276"/>
              <a:gd name="connsiteX97" fmla="*/ 5164390 w 7265542"/>
              <a:gd name="connsiteY97" fmla="*/ 4511775 h 6845276"/>
              <a:gd name="connsiteX98" fmla="*/ 4289599 w 7265542"/>
              <a:gd name="connsiteY98" fmla="*/ 4790167 h 6845276"/>
              <a:gd name="connsiteX99" fmla="*/ 3144417 w 7265542"/>
              <a:gd name="connsiteY99" fmla="*/ 5183070 h 6845276"/>
              <a:gd name="connsiteX100" fmla="*/ 1923780 w 7265542"/>
              <a:gd name="connsiteY100" fmla="*/ 5443013 h 6845276"/>
              <a:gd name="connsiteX101" fmla="*/ 1182338 w 7265542"/>
              <a:gd name="connsiteY101" fmla="*/ 5427363 h 684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7265542" h="6845276">
                <a:moveTo>
                  <a:pt x="2134621" y="6837897"/>
                </a:moveTo>
                <a:cubicBezTo>
                  <a:pt x="2134621" y="6837897"/>
                  <a:pt x="2045551" y="6778605"/>
                  <a:pt x="1877972" y="6655441"/>
                </a:cubicBezTo>
                <a:cubicBezTo>
                  <a:pt x="1773252" y="6578464"/>
                  <a:pt x="1643337" y="6464588"/>
                  <a:pt x="1560503" y="6389519"/>
                </a:cubicBezTo>
                <a:cubicBezTo>
                  <a:pt x="1536072" y="6366871"/>
                  <a:pt x="1493701" y="6324628"/>
                  <a:pt x="1495609" y="6305670"/>
                </a:cubicBezTo>
                <a:cubicBezTo>
                  <a:pt x="1495609" y="6305670"/>
                  <a:pt x="1496627" y="6287985"/>
                  <a:pt x="1541926" y="6292947"/>
                </a:cubicBezTo>
                <a:cubicBezTo>
                  <a:pt x="1587224" y="6297909"/>
                  <a:pt x="1720956" y="6319794"/>
                  <a:pt x="1909402" y="6333789"/>
                </a:cubicBezTo>
                <a:cubicBezTo>
                  <a:pt x="2060167" y="6343218"/>
                  <a:pt x="2211312" y="6345002"/>
                  <a:pt x="2362258" y="6339133"/>
                </a:cubicBezTo>
                <a:cubicBezTo>
                  <a:pt x="2539252" y="6333408"/>
                  <a:pt x="2727825" y="6310124"/>
                  <a:pt x="2887769" y="6288239"/>
                </a:cubicBezTo>
                <a:cubicBezTo>
                  <a:pt x="3047712" y="6266355"/>
                  <a:pt x="3362637" y="6207444"/>
                  <a:pt x="3362637" y="6207444"/>
                </a:cubicBezTo>
                <a:cubicBezTo>
                  <a:pt x="3362637" y="6207444"/>
                  <a:pt x="3615214" y="6158459"/>
                  <a:pt x="3823255" y="6126650"/>
                </a:cubicBezTo>
                <a:cubicBezTo>
                  <a:pt x="3973869" y="6103476"/>
                  <a:pt x="4125904" y="6090723"/>
                  <a:pt x="4278274" y="6088479"/>
                </a:cubicBezTo>
                <a:cubicBezTo>
                  <a:pt x="4478495" y="6089387"/>
                  <a:pt x="4678488" y="6102132"/>
                  <a:pt x="4877204" y="6126650"/>
                </a:cubicBezTo>
                <a:cubicBezTo>
                  <a:pt x="5169862" y="6164820"/>
                  <a:pt x="5330060" y="6233146"/>
                  <a:pt x="5343929" y="6239635"/>
                </a:cubicBezTo>
                <a:cubicBezTo>
                  <a:pt x="5357799" y="6246124"/>
                  <a:pt x="5371287" y="6256430"/>
                  <a:pt x="5368487" y="6267372"/>
                </a:cubicBezTo>
                <a:cubicBezTo>
                  <a:pt x="5365688" y="6278315"/>
                  <a:pt x="5347238" y="6276406"/>
                  <a:pt x="5347238" y="6276406"/>
                </a:cubicBezTo>
                <a:cubicBezTo>
                  <a:pt x="5123140" y="6270490"/>
                  <a:pt x="4899003" y="6286642"/>
                  <a:pt x="4678070" y="6324629"/>
                </a:cubicBezTo>
                <a:cubicBezTo>
                  <a:pt x="4339478" y="6386592"/>
                  <a:pt x="3901891" y="6573374"/>
                  <a:pt x="3901891" y="6573374"/>
                </a:cubicBezTo>
                <a:lnTo>
                  <a:pt x="3526017" y="6721095"/>
                </a:lnTo>
                <a:cubicBezTo>
                  <a:pt x="3358065" y="6780596"/>
                  <a:pt x="3185194" y="6825174"/>
                  <a:pt x="3009413" y="6854310"/>
                </a:cubicBezTo>
                <a:lnTo>
                  <a:pt x="7275215" y="6854311"/>
                </a:lnTo>
                <a:lnTo>
                  <a:pt x="7275215" y="0"/>
                </a:lnTo>
                <a:lnTo>
                  <a:pt x="1146711" y="0"/>
                </a:lnTo>
                <a:cubicBezTo>
                  <a:pt x="406626" y="843748"/>
                  <a:pt x="-988" y="1928039"/>
                  <a:pt x="2" y="3050347"/>
                </a:cubicBezTo>
                <a:cubicBezTo>
                  <a:pt x="1" y="4622852"/>
                  <a:pt x="786360" y="6014937"/>
                  <a:pt x="1986638" y="6854692"/>
                </a:cubicBezTo>
                <a:lnTo>
                  <a:pt x="2162105" y="6854692"/>
                </a:lnTo>
                <a:cubicBezTo>
                  <a:pt x="2152501" y="6849854"/>
                  <a:pt x="2143308" y="6844237"/>
                  <a:pt x="2134621" y="6837897"/>
                </a:cubicBezTo>
                <a:close/>
                <a:moveTo>
                  <a:pt x="481360" y="1206321"/>
                </a:moveTo>
                <a:cubicBezTo>
                  <a:pt x="568648" y="1000072"/>
                  <a:pt x="755694" y="684655"/>
                  <a:pt x="755694" y="684655"/>
                </a:cubicBezTo>
                <a:cubicBezTo>
                  <a:pt x="755694" y="684655"/>
                  <a:pt x="773890" y="653609"/>
                  <a:pt x="796285" y="621037"/>
                </a:cubicBezTo>
                <a:cubicBezTo>
                  <a:pt x="818680" y="588465"/>
                  <a:pt x="858761" y="601061"/>
                  <a:pt x="858761" y="601061"/>
                </a:cubicBezTo>
                <a:lnTo>
                  <a:pt x="893498" y="609204"/>
                </a:lnTo>
                <a:cubicBezTo>
                  <a:pt x="1024049" y="637832"/>
                  <a:pt x="1269626" y="624727"/>
                  <a:pt x="1269626" y="624727"/>
                </a:cubicBezTo>
                <a:cubicBezTo>
                  <a:pt x="1534800" y="610731"/>
                  <a:pt x="1942103" y="551694"/>
                  <a:pt x="2060311" y="534390"/>
                </a:cubicBezTo>
                <a:cubicBezTo>
                  <a:pt x="2178519" y="517086"/>
                  <a:pt x="2977475" y="385778"/>
                  <a:pt x="2977475" y="385778"/>
                </a:cubicBezTo>
                <a:cubicBezTo>
                  <a:pt x="3170883" y="350661"/>
                  <a:pt x="3465449" y="307529"/>
                  <a:pt x="3465449" y="307529"/>
                </a:cubicBezTo>
                <a:cubicBezTo>
                  <a:pt x="3938791" y="242257"/>
                  <a:pt x="4516472" y="287171"/>
                  <a:pt x="4516472" y="287171"/>
                </a:cubicBezTo>
                <a:cubicBezTo>
                  <a:pt x="4999993" y="314908"/>
                  <a:pt x="5616610" y="451559"/>
                  <a:pt x="5616610" y="451559"/>
                </a:cubicBezTo>
                <a:cubicBezTo>
                  <a:pt x="5789914" y="487821"/>
                  <a:pt x="6033074" y="554366"/>
                  <a:pt x="6033074" y="554366"/>
                </a:cubicBezTo>
                <a:cubicBezTo>
                  <a:pt x="6136268" y="581594"/>
                  <a:pt x="6356270" y="650556"/>
                  <a:pt x="6356270" y="650556"/>
                </a:cubicBezTo>
                <a:cubicBezTo>
                  <a:pt x="6356270" y="650556"/>
                  <a:pt x="6370140" y="654246"/>
                  <a:pt x="6368104" y="662389"/>
                </a:cubicBezTo>
                <a:cubicBezTo>
                  <a:pt x="6366068" y="670532"/>
                  <a:pt x="6354235" y="670150"/>
                  <a:pt x="6354235" y="670150"/>
                </a:cubicBezTo>
                <a:lnTo>
                  <a:pt x="6323951" y="668623"/>
                </a:lnTo>
                <a:cubicBezTo>
                  <a:pt x="6258166" y="664170"/>
                  <a:pt x="5799203" y="640250"/>
                  <a:pt x="5538483" y="638087"/>
                </a:cubicBezTo>
                <a:cubicBezTo>
                  <a:pt x="5277763" y="635924"/>
                  <a:pt x="4979762" y="634651"/>
                  <a:pt x="4388084" y="695852"/>
                </a:cubicBezTo>
                <a:cubicBezTo>
                  <a:pt x="3796407" y="757052"/>
                  <a:pt x="3182207" y="940017"/>
                  <a:pt x="3048476" y="978569"/>
                </a:cubicBezTo>
                <a:cubicBezTo>
                  <a:pt x="2914744" y="1017122"/>
                  <a:pt x="2052295" y="1292460"/>
                  <a:pt x="2052295" y="1292460"/>
                </a:cubicBezTo>
                <a:cubicBezTo>
                  <a:pt x="1560248" y="1436490"/>
                  <a:pt x="1356279" y="1447687"/>
                  <a:pt x="1135258" y="1461301"/>
                </a:cubicBezTo>
                <a:cubicBezTo>
                  <a:pt x="995096" y="1468825"/>
                  <a:pt x="854531" y="1461232"/>
                  <a:pt x="715994" y="1438653"/>
                </a:cubicBezTo>
                <a:cubicBezTo>
                  <a:pt x="567503" y="1413206"/>
                  <a:pt x="512407" y="1355950"/>
                  <a:pt x="512407" y="1355950"/>
                </a:cubicBezTo>
                <a:cubicBezTo>
                  <a:pt x="439370" y="1285080"/>
                  <a:pt x="481360" y="1206321"/>
                  <a:pt x="481360" y="1206321"/>
                </a:cubicBezTo>
                <a:close/>
                <a:moveTo>
                  <a:pt x="90853" y="3171730"/>
                </a:moveTo>
                <a:cubicBezTo>
                  <a:pt x="75965" y="2855804"/>
                  <a:pt x="124444" y="2481222"/>
                  <a:pt x="124444" y="2481222"/>
                </a:cubicBezTo>
                <a:cubicBezTo>
                  <a:pt x="124444" y="2481222"/>
                  <a:pt x="126353" y="2463027"/>
                  <a:pt x="130807" y="2431727"/>
                </a:cubicBezTo>
                <a:cubicBezTo>
                  <a:pt x="132916" y="2413645"/>
                  <a:pt x="143181" y="2397521"/>
                  <a:pt x="158673" y="2387958"/>
                </a:cubicBezTo>
                <a:cubicBezTo>
                  <a:pt x="179320" y="2380418"/>
                  <a:pt x="201767" y="2379309"/>
                  <a:pt x="223057" y="2384777"/>
                </a:cubicBezTo>
                <a:lnTo>
                  <a:pt x="259322" y="2391266"/>
                </a:lnTo>
                <a:cubicBezTo>
                  <a:pt x="370023" y="2412515"/>
                  <a:pt x="507444" y="2427656"/>
                  <a:pt x="507444" y="2427656"/>
                </a:cubicBezTo>
                <a:cubicBezTo>
                  <a:pt x="702225" y="2449267"/>
                  <a:pt x="898238" y="2457768"/>
                  <a:pt x="1094159" y="2453103"/>
                </a:cubicBezTo>
                <a:cubicBezTo>
                  <a:pt x="1391143" y="2449540"/>
                  <a:pt x="1746532" y="2400936"/>
                  <a:pt x="1746532" y="2400936"/>
                </a:cubicBezTo>
                <a:cubicBezTo>
                  <a:pt x="1889806" y="2383760"/>
                  <a:pt x="2181191" y="2333247"/>
                  <a:pt x="2181191" y="2333247"/>
                </a:cubicBezTo>
                <a:cubicBezTo>
                  <a:pt x="2304744" y="2311999"/>
                  <a:pt x="2776686" y="2216572"/>
                  <a:pt x="2915889" y="2187562"/>
                </a:cubicBezTo>
                <a:cubicBezTo>
                  <a:pt x="3055092" y="2158552"/>
                  <a:pt x="3574496" y="2056255"/>
                  <a:pt x="3574496" y="2056255"/>
                </a:cubicBezTo>
                <a:cubicBezTo>
                  <a:pt x="3807986" y="2011086"/>
                  <a:pt x="4130291" y="1971898"/>
                  <a:pt x="4130291" y="1971898"/>
                </a:cubicBezTo>
                <a:cubicBezTo>
                  <a:pt x="4372258" y="1943481"/>
                  <a:pt x="4615769" y="1930265"/>
                  <a:pt x="4859390" y="1932327"/>
                </a:cubicBezTo>
                <a:cubicBezTo>
                  <a:pt x="5005465" y="1932327"/>
                  <a:pt x="5246971" y="1942506"/>
                  <a:pt x="5559223" y="1978769"/>
                </a:cubicBezTo>
                <a:cubicBezTo>
                  <a:pt x="5775652" y="2006382"/>
                  <a:pt x="5990543" y="2044942"/>
                  <a:pt x="6203070" y="2094298"/>
                </a:cubicBezTo>
                <a:cubicBezTo>
                  <a:pt x="6430707" y="2145193"/>
                  <a:pt x="6688119" y="2230059"/>
                  <a:pt x="6813071" y="2274591"/>
                </a:cubicBezTo>
                <a:cubicBezTo>
                  <a:pt x="6938023" y="2319124"/>
                  <a:pt x="7067556" y="2376380"/>
                  <a:pt x="7072900" y="2378543"/>
                </a:cubicBezTo>
                <a:cubicBezTo>
                  <a:pt x="7078244" y="2380706"/>
                  <a:pt x="7084733" y="2384396"/>
                  <a:pt x="7081807" y="2395338"/>
                </a:cubicBezTo>
                <a:cubicBezTo>
                  <a:pt x="7078880" y="2406280"/>
                  <a:pt x="7056358" y="2404372"/>
                  <a:pt x="7056358" y="2404372"/>
                </a:cubicBezTo>
                <a:lnTo>
                  <a:pt x="6849080" y="2399537"/>
                </a:lnTo>
                <a:cubicBezTo>
                  <a:pt x="6392153" y="2388722"/>
                  <a:pt x="5724130" y="2406026"/>
                  <a:pt x="5240990" y="2475878"/>
                </a:cubicBezTo>
                <a:cubicBezTo>
                  <a:pt x="4757851" y="2545730"/>
                  <a:pt x="4231322" y="2695614"/>
                  <a:pt x="3948462" y="2780480"/>
                </a:cubicBezTo>
                <a:cubicBezTo>
                  <a:pt x="3665601" y="2865346"/>
                  <a:pt x="3110697" y="3050347"/>
                  <a:pt x="2170630" y="3365764"/>
                </a:cubicBezTo>
                <a:cubicBezTo>
                  <a:pt x="1230563" y="3681181"/>
                  <a:pt x="585826" y="3561071"/>
                  <a:pt x="585826" y="3561071"/>
                </a:cubicBezTo>
                <a:cubicBezTo>
                  <a:pt x="359589" y="3533715"/>
                  <a:pt x="282607" y="3501397"/>
                  <a:pt x="183231" y="3421875"/>
                </a:cubicBezTo>
                <a:cubicBezTo>
                  <a:pt x="83855" y="3342353"/>
                  <a:pt x="90853" y="3171730"/>
                  <a:pt x="90853" y="3171730"/>
                </a:cubicBezTo>
                <a:close/>
                <a:moveTo>
                  <a:pt x="1182338" y="5427363"/>
                </a:moveTo>
                <a:cubicBezTo>
                  <a:pt x="1011579" y="5404588"/>
                  <a:pt x="718794" y="5359928"/>
                  <a:pt x="591552" y="5123270"/>
                </a:cubicBezTo>
                <a:cubicBezTo>
                  <a:pt x="464309" y="4886611"/>
                  <a:pt x="349791" y="4568904"/>
                  <a:pt x="349791" y="4568904"/>
                </a:cubicBezTo>
                <a:cubicBezTo>
                  <a:pt x="349791" y="4568904"/>
                  <a:pt x="342157" y="4543457"/>
                  <a:pt x="334013" y="4521572"/>
                </a:cubicBezTo>
                <a:cubicBezTo>
                  <a:pt x="325869" y="4499688"/>
                  <a:pt x="316581" y="4473223"/>
                  <a:pt x="338339" y="4457955"/>
                </a:cubicBezTo>
                <a:cubicBezTo>
                  <a:pt x="360098" y="4442687"/>
                  <a:pt x="424991" y="4457955"/>
                  <a:pt x="424991" y="4457955"/>
                </a:cubicBezTo>
                <a:cubicBezTo>
                  <a:pt x="662680" y="4506940"/>
                  <a:pt x="1049497" y="4542312"/>
                  <a:pt x="1049497" y="4542312"/>
                </a:cubicBezTo>
                <a:cubicBezTo>
                  <a:pt x="1276371" y="4564578"/>
                  <a:pt x="1610127" y="4563433"/>
                  <a:pt x="1610127" y="4563433"/>
                </a:cubicBezTo>
                <a:cubicBezTo>
                  <a:pt x="1814987" y="4564578"/>
                  <a:pt x="2116552" y="4537986"/>
                  <a:pt x="2116552" y="4537986"/>
                </a:cubicBezTo>
                <a:cubicBezTo>
                  <a:pt x="2399666" y="4515974"/>
                  <a:pt x="2803661" y="4440142"/>
                  <a:pt x="2803661" y="4440142"/>
                </a:cubicBezTo>
                <a:cubicBezTo>
                  <a:pt x="2977856" y="4408715"/>
                  <a:pt x="3401701" y="4313670"/>
                  <a:pt x="3652623" y="4257813"/>
                </a:cubicBezTo>
                <a:cubicBezTo>
                  <a:pt x="3903545" y="4201957"/>
                  <a:pt x="4171772" y="4160605"/>
                  <a:pt x="4171772" y="4160605"/>
                </a:cubicBezTo>
                <a:cubicBezTo>
                  <a:pt x="4308176" y="4141227"/>
                  <a:pt x="4445649" y="4130307"/>
                  <a:pt x="4583401" y="4127905"/>
                </a:cubicBezTo>
                <a:cubicBezTo>
                  <a:pt x="4583401" y="4127905"/>
                  <a:pt x="4854809" y="4123070"/>
                  <a:pt x="5135888" y="4149154"/>
                </a:cubicBezTo>
                <a:cubicBezTo>
                  <a:pt x="5355815" y="4167781"/>
                  <a:pt x="5574540" y="4198577"/>
                  <a:pt x="5791059" y="4241400"/>
                </a:cubicBezTo>
                <a:cubicBezTo>
                  <a:pt x="5997574" y="4281352"/>
                  <a:pt x="6195818" y="4337590"/>
                  <a:pt x="6230555" y="4347514"/>
                </a:cubicBezTo>
                <a:cubicBezTo>
                  <a:pt x="6265291" y="4357439"/>
                  <a:pt x="6378156" y="4392683"/>
                  <a:pt x="6386427" y="4395609"/>
                </a:cubicBezTo>
                <a:cubicBezTo>
                  <a:pt x="6394698" y="4398536"/>
                  <a:pt x="6407167" y="4405788"/>
                  <a:pt x="6403605" y="4415967"/>
                </a:cubicBezTo>
                <a:cubicBezTo>
                  <a:pt x="6400042" y="4426146"/>
                  <a:pt x="6382737" y="4424492"/>
                  <a:pt x="6382737" y="4424492"/>
                </a:cubicBezTo>
                <a:lnTo>
                  <a:pt x="6364541" y="4422711"/>
                </a:lnTo>
                <a:cubicBezTo>
                  <a:pt x="5798694" y="4367236"/>
                  <a:pt x="5164390" y="4511775"/>
                  <a:pt x="5164390" y="4511775"/>
                </a:cubicBezTo>
                <a:cubicBezTo>
                  <a:pt x="4939299" y="4557453"/>
                  <a:pt x="4609613" y="4672856"/>
                  <a:pt x="4289599" y="4790167"/>
                </a:cubicBezTo>
                <a:cubicBezTo>
                  <a:pt x="3969584" y="4907478"/>
                  <a:pt x="3551593" y="5057362"/>
                  <a:pt x="3144417" y="5183070"/>
                </a:cubicBezTo>
                <a:cubicBezTo>
                  <a:pt x="2737241" y="5308779"/>
                  <a:pt x="2259955" y="5408278"/>
                  <a:pt x="1923780" y="5443013"/>
                </a:cubicBezTo>
                <a:cubicBezTo>
                  <a:pt x="1587606" y="5477748"/>
                  <a:pt x="1182338" y="5427363"/>
                  <a:pt x="1182338" y="5427363"/>
                </a:cubicBezTo>
                <a:close/>
              </a:path>
            </a:pathLst>
          </a:custGeom>
          <a:solidFill>
            <a:schemeClr val="accent2"/>
          </a:solidFill>
          <a:ln w="12722" cap="flat">
            <a:noFill/>
            <a:prstDash val="solid"/>
            <a:miter/>
          </a:ln>
        </p:spPr>
        <p:txBody>
          <a:bodyPr rtlCol="0" anchor="ctr"/>
          <a:lstStyle/>
          <a:p>
            <a:pPr eaLnBrk="1"/>
            <a:endParaRPr lang="en-GB" dirty="0"/>
          </a:p>
        </p:txBody>
      </p:sp>
      <p:sp>
        <p:nvSpPr>
          <p:cNvPr id="15" name="Rectangle 14">
            <a:extLst>
              <a:ext uri="{FF2B5EF4-FFF2-40B4-BE49-F238E27FC236}">
                <a16:creationId xmlns:a16="http://schemas.microsoft.com/office/drawing/2014/main" id="{E2D68D7B-DF38-479E-8181-B200AE68BD7D}"/>
              </a:ext>
            </a:extLst>
          </p:cNvPr>
          <p:cNvSpPr/>
          <p:nvPr userDrawn="1"/>
        </p:nvSpPr>
        <p:spPr>
          <a:xfrm>
            <a:off x="1235074" y="2"/>
            <a:ext cx="4860926" cy="479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pPr algn="ctr" eaLnBrk="1"/>
            <a:endParaRPr lang="en-GB" sz="1944" dirty="0"/>
          </a:p>
        </p:txBody>
      </p:sp>
      <p:cxnSp>
        <p:nvCxnSpPr>
          <p:cNvPr id="7" name="Straight Connector 6">
            <a:extLst>
              <a:ext uri="{FF2B5EF4-FFF2-40B4-BE49-F238E27FC236}">
                <a16:creationId xmlns:a16="http://schemas.microsoft.com/office/drawing/2014/main" id="{944A0F3B-E034-44A5-A9E3-6A1645DD81D4}"/>
              </a:ext>
            </a:extLst>
          </p:cNvPr>
          <p:cNvCxnSpPr>
            <a:cxnSpLocks/>
          </p:cNvCxnSpPr>
          <p:nvPr userDrawn="1"/>
        </p:nvCxnSpPr>
        <p:spPr>
          <a:xfrm>
            <a:off x="1524000" y="4211993"/>
            <a:ext cx="4284663" cy="0"/>
          </a:xfrm>
          <a:prstGeom prst="line">
            <a:avLst/>
          </a:prstGeom>
          <a:ln w="12700" cap="flat">
            <a:solidFill>
              <a:schemeClr val="accent6"/>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25" name="Group 24">
            <a:extLst>
              <a:ext uri="{FF2B5EF4-FFF2-40B4-BE49-F238E27FC236}">
                <a16:creationId xmlns:a16="http://schemas.microsoft.com/office/drawing/2014/main" id="{5F6C8F9C-65F5-4250-AD42-B973C904C2CF}"/>
              </a:ext>
            </a:extLst>
          </p:cNvPr>
          <p:cNvGrpSpPr/>
          <p:nvPr userDrawn="1"/>
        </p:nvGrpSpPr>
        <p:grpSpPr>
          <a:xfrm>
            <a:off x="1533524" y="3103453"/>
            <a:ext cx="2243139" cy="606869"/>
            <a:chOff x="1533524" y="369094"/>
            <a:chExt cx="2243139" cy="606869"/>
          </a:xfrm>
        </p:grpSpPr>
        <p:pic>
          <p:nvPicPr>
            <p:cNvPr id="26" name="Graphic 25">
              <a:extLst>
                <a:ext uri="{FF2B5EF4-FFF2-40B4-BE49-F238E27FC236}">
                  <a16:creationId xmlns:a16="http://schemas.microsoft.com/office/drawing/2014/main" id="{1F687E69-D217-4D8B-98A4-3BB1B884518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27" name="Picture 26">
              <a:extLst>
                <a:ext uri="{FF2B5EF4-FFF2-40B4-BE49-F238E27FC236}">
                  <a16:creationId xmlns:a16="http://schemas.microsoft.com/office/drawing/2014/main" id="{7F76E90C-FE8B-4B20-BF55-89FC5902AC4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71" t="847" r="871" b="847"/>
            <a:stretch/>
          </p:blipFill>
          <p:spPr>
            <a:xfrm>
              <a:off x="1533524" y="369094"/>
              <a:ext cx="607220" cy="606869"/>
            </a:xfrm>
            <a:prstGeom prst="ellipse">
              <a:avLst/>
            </a:prstGeom>
            <a:ln w="63500" cap="rnd">
              <a:noFill/>
            </a:ln>
            <a:effectLst/>
          </p:spPr>
        </p:pic>
      </p:grpSp>
      <p:sp>
        <p:nvSpPr>
          <p:cNvPr id="10" name="TextBox 9">
            <a:extLst>
              <a:ext uri="{FF2B5EF4-FFF2-40B4-BE49-F238E27FC236}">
                <a16:creationId xmlns:a16="http://schemas.microsoft.com/office/drawing/2014/main" id="{DE44801D-755E-474E-8741-3DDC88B64F98}"/>
              </a:ext>
            </a:extLst>
          </p:cNvPr>
          <p:cNvSpPr txBox="1"/>
          <p:nvPr userDrawn="1"/>
        </p:nvSpPr>
        <p:spPr>
          <a:xfrm>
            <a:off x="1524001" y="4342961"/>
            <a:ext cx="4284662" cy="246221"/>
          </a:xfrm>
          <a:prstGeom prst="rect">
            <a:avLst/>
          </a:prstGeom>
          <a:noFill/>
        </p:spPr>
        <p:txBody>
          <a:bodyPr wrap="square" lIns="0" tIns="0" rIns="0" bIns="0" rtlCol="0">
            <a:spAutoFit/>
          </a:bodyPr>
          <a:lstStyle/>
          <a:p>
            <a:pPr algn="l">
              <a:spcBef>
                <a:spcPts val="600"/>
              </a:spcBef>
              <a:buClr>
                <a:schemeClr val="accent1"/>
              </a:buClr>
              <a:buSzPct val="120000"/>
            </a:pPr>
            <a:r>
              <a:rPr lang="en-GB" sz="1600" dirty="0">
                <a:solidFill>
                  <a:schemeClr val="accent6"/>
                </a:solidFill>
                <a:latin typeface="Arial" pitchFamily="34" charset="0"/>
                <a:cs typeface="Arial" pitchFamily="34" charset="0"/>
              </a:rPr>
              <a:t>statkraft.com</a:t>
            </a:r>
          </a:p>
        </p:txBody>
      </p:sp>
    </p:spTree>
    <p:extLst>
      <p:ext uri="{BB962C8B-B14F-4D97-AF65-F5344CB8AC3E}">
        <p14:creationId xmlns:p14="http://schemas.microsoft.com/office/powerpoint/2010/main" val="1076235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nd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83F6A5-EA60-484A-BF29-5AA4B5E34BB6}"/>
              </a:ext>
            </a:extLst>
          </p:cNvPr>
          <p:cNvGraphicFramePr>
            <a:graphicFrameLocks noChangeAspect="1"/>
          </p:cNvGraphicFramePr>
          <p:nvPr userDrawn="1">
            <p:custDataLst>
              <p:tags r:id="rId1"/>
            </p:custDataLst>
            <p:extLst>
              <p:ext uri="{D42A27DB-BD31-4B8C-83A1-F6EECF244321}">
                <p14:modId xmlns:p14="http://schemas.microsoft.com/office/powerpoint/2010/main" val="1845131458"/>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9883F6A5-EA60-484A-BF29-5AA4B5E34BB6}"/>
                          </a:ext>
                        </a:extLst>
                      </p:cNvPr>
                      <p:cNvPicPr/>
                      <p:nvPr/>
                    </p:nvPicPr>
                    <p:blipFill>
                      <a:blip r:embed="rId4"/>
                      <a:stretch>
                        <a:fillRect/>
                      </a:stretch>
                    </p:blipFill>
                    <p:spPr>
                      <a:xfrm>
                        <a:off x="1905" y="1905"/>
                        <a:ext cx="1907" cy="1907"/>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F9A8087B-33BC-467D-9863-0D0966781CD6}"/>
              </a:ext>
            </a:extLst>
          </p:cNvPr>
          <p:cNvSpPr>
            <a:spLocks noGrp="1"/>
          </p:cNvSpPr>
          <p:nvPr>
            <p:ph type="pic" sz="quarter" idx="10"/>
          </p:nvPr>
        </p:nvSpPr>
        <p:spPr>
          <a:xfrm>
            <a:off x="0" y="0"/>
            <a:ext cx="12192000" cy="685800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solidFill>
            <a:schemeClr val="accent1"/>
          </a:solidFill>
        </p:spPr>
        <p:txBody>
          <a:bodyPr wrap="square" anchor="t">
            <a:noAutofit/>
          </a:bodyPr>
          <a:lstStyle>
            <a:lvl1pPr marL="342900" indent="-342900" algn="l">
              <a:buFont typeface="Arial" panose="020B0604020202020204" pitchFamily="34" charset="0"/>
              <a:buChar char="•"/>
              <a:defRPr/>
            </a:lvl1pPr>
          </a:lstStyle>
          <a:p>
            <a:endParaRPr lang="en-GB"/>
          </a:p>
        </p:txBody>
      </p:sp>
      <p:cxnSp>
        <p:nvCxnSpPr>
          <p:cNvPr id="36" name="Straight Connector 35">
            <a:extLst>
              <a:ext uri="{FF2B5EF4-FFF2-40B4-BE49-F238E27FC236}">
                <a16:creationId xmlns:a16="http://schemas.microsoft.com/office/drawing/2014/main" id="{07CE9B5C-501B-458A-9AAE-82BC7915415C}"/>
              </a:ext>
            </a:extLst>
          </p:cNvPr>
          <p:cNvCxnSpPr>
            <a:cxnSpLocks/>
          </p:cNvCxnSpPr>
          <p:nvPr userDrawn="1"/>
        </p:nvCxnSpPr>
        <p:spPr>
          <a:xfrm>
            <a:off x="1524000" y="4211993"/>
            <a:ext cx="4284663" cy="0"/>
          </a:xfrm>
          <a:prstGeom prst="line">
            <a:avLst/>
          </a:prstGeom>
          <a:ln w="12700" cap="flat">
            <a:solidFill>
              <a:schemeClr val="accent6"/>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18" name="Group 17">
            <a:extLst>
              <a:ext uri="{FF2B5EF4-FFF2-40B4-BE49-F238E27FC236}">
                <a16:creationId xmlns:a16="http://schemas.microsoft.com/office/drawing/2014/main" id="{6D9D3D84-F3BF-4AAA-85BD-3D14ACE849EC}"/>
              </a:ext>
            </a:extLst>
          </p:cNvPr>
          <p:cNvGrpSpPr/>
          <p:nvPr userDrawn="1"/>
        </p:nvGrpSpPr>
        <p:grpSpPr>
          <a:xfrm>
            <a:off x="1533524" y="3103453"/>
            <a:ext cx="2243139" cy="606869"/>
            <a:chOff x="1533524" y="369094"/>
            <a:chExt cx="2243139" cy="606869"/>
          </a:xfrm>
        </p:grpSpPr>
        <p:pic>
          <p:nvPicPr>
            <p:cNvPr id="19" name="Graphic 18">
              <a:extLst>
                <a:ext uri="{FF2B5EF4-FFF2-40B4-BE49-F238E27FC236}">
                  <a16:creationId xmlns:a16="http://schemas.microsoft.com/office/drawing/2014/main" id="{C99FE193-D0A4-440E-B317-9F342F4AFE4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77949" y="521688"/>
              <a:ext cx="1498714" cy="302750"/>
            </a:xfrm>
            <a:prstGeom prst="rect">
              <a:avLst/>
            </a:prstGeom>
          </p:spPr>
        </p:pic>
        <p:pic>
          <p:nvPicPr>
            <p:cNvPr id="20" name="Picture 19">
              <a:extLst>
                <a:ext uri="{FF2B5EF4-FFF2-40B4-BE49-F238E27FC236}">
                  <a16:creationId xmlns:a16="http://schemas.microsoft.com/office/drawing/2014/main" id="{03542199-FD88-48AE-AE87-02D8A29F143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71" t="847" r="871" b="847"/>
            <a:stretch/>
          </p:blipFill>
          <p:spPr>
            <a:xfrm>
              <a:off x="1533524" y="369094"/>
              <a:ext cx="607220" cy="606869"/>
            </a:xfrm>
            <a:prstGeom prst="ellipse">
              <a:avLst/>
            </a:prstGeom>
            <a:ln w="63500" cap="rnd">
              <a:noFill/>
            </a:ln>
            <a:effectLst/>
          </p:spPr>
        </p:pic>
      </p:grpSp>
      <p:sp>
        <p:nvSpPr>
          <p:cNvPr id="10" name="TextBox 9">
            <a:extLst>
              <a:ext uri="{FF2B5EF4-FFF2-40B4-BE49-F238E27FC236}">
                <a16:creationId xmlns:a16="http://schemas.microsoft.com/office/drawing/2014/main" id="{FA3C9C38-006A-4064-941D-3CF68D8A7EE0}"/>
              </a:ext>
            </a:extLst>
          </p:cNvPr>
          <p:cNvSpPr txBox="1"/>
          <p:nvPr userDrawn="1"/>
        </p:nvSpPr>
        <p:spPr>
          <a:xfrm>
            <a:off x="1524001" y="4342961"/>
            <a:ext cx="4284662" cy="246221"/>
          </a:xfrm>
          <a:prstGeom prst="rect">
            <a:avLst/>
          </a:prstGeom>
          <a:noFill/>
        </p:spPr>
        <p:txBody>
          <a:bodyPr wrap="square" lIns="0" tIns="0" rIns="0" bIns="0" rtlCol="0">
            <a:spAutoFit/>
          </a:bodyPr>
          <a:lstStyle/>
          <a:p>
            <a:pPr algn="l">
              <a:spcBef>
                <a:spcPts val="600"/>
              </a:spcBef>
              <a:buClr>
                <a:schemeClr val="accent1"/>
              </a:buClr>
              <a:buSzPct val="120000"/>
            </a:pPr>
            <a:r>
              <a:rPr lang="en-GB" sz="1600" dirty="0">
                <a:solidFill>
                  <a:schemeClr val="accent6"/>
                </a:solidFill>
                <a:latin typeface="Arial" pitchFamily="34" charset="0"/>
                <a:cs typeface="Arial" pitchFamily="34" charset="0"/>
              </a:rPr>
              <a:t>statkraft.com</a:t>
            </a:r>
          </a:p>
        </p:txBody>
      </p:sp>
    </p:spTree>
    <p:extLst>
      <p:ext uri="{BB962C8B-B14F-4D97-AF65-F5344CB8AC3E}">
        <p14:creationId xmlns:p14="http://schemas.microsoft.com/office/powerpoint/2010/main" val="409643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60">
          <p15:clr>
            <a:srgbClr val="FBAE40"/>
          </p15:clr>
        </p15:guide>
        <p15:guide id="2" pos="3659">
          <p15:clr>
            <a:srgbClr val="FBAE40"/>
          </p15:clr>
        </p15:guide>
        <p15:guide id="3" pos="778">
          <p15:clr>
            <a:srgbClr val="FBAE40"/>
          </p15:clr>
        </p15:guide>
        <p15:guide id="4"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B19A1F-D24D-476A-A31B-0745DE0518E3}"/>
              </a:ext>
            </a:extLst>
          </p:cNvPr>
          <p:cNvGraphicFramePr>
            <a:graphicFrameLocks noChangeAspect="1"/>
          </p:cNvGraphicFramePr>
          <p:nvPr userDrawn="1">
            <p:custDataLst>
              <p:tags r:id="rId1"/>
            </p:custDataLst>
            <p:extLst>
              <p:ext uri="{D42A27DB-BD31-4B8C-83A1-F6EECF244321}">
                <p14:modId xmlns:p14="http://schemas.microsoft.com/office/powerpoint/2010/main" val="2340938582"/>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id="{05B19A1F-D24D-476A-A31B-0745DE0518E3}"/>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2B2E8C-DDB9-4D4B-991B-BE1E80AE022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94061B1A-B0AC-447D-BEF0-C35B2F6D19CA}"/>
              </a:ext>
            </a:extLst>
          </p:cNvPr>
          <p:cNvSpPr>
            <a:spLocks noGrp="1"/>
          </p:cNvSpPr>
          <p:nvPr>
            <p:ph type="title"/>
          </p:nvPr>
        </p:nvSpPr>
        <p:spPr/>
        <p:txBody>
          <a:bodyPr/>
          <a:lstStyle/>
          <a:p>
            <a:r>
              <a:rPr lang="de-DE"/>
              <a:t>Mastertitelformat bearbeiten</a:t>
            </a:r>
            <a:endParaRPr lang="en-GB" dirty="0"/>
          </a:p>
        </p:txBody>
      </p:sp>
      <p:sp>
        <p:nvSpPr>
          <p:cNvPr id="10" name="Content Placeholder 9">
            <a:extLst>
              <a:ext uri="{FF2B5EF4-FFF2-40B4-BE49-F238E27FC236}">
                <a16:creationId xmlns:a16="http://schemas.microsoft.com/office/drawing/2014/main" id="{16D3483C-E7FA-4782-8C30-17337D097034}"/>
              </a:ext>
            </a:extLst>
          </p:cNvPr>
          <p:cNvSpPr>
            <a:spLocks noGrp="1"/>
          </p:cNvSpPr>
          <p:nvPr>
            <p:ph sz="quarter" idx="13"/>
          </p:nvPr>
        </p:nvSpPr>
        <p:spPr>
          <a:xfrm>
            <a:off x="828676" y="1830707"/>
            <a:ext cx="10536555"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2" name="Footer Placeholder 1">
            <a:extLst>
              <a:ext uri="{FF2B5EF4-FFF2-40B4-BE49-F238E27FC236}">
                <a16:creationId xmlns:a16="http://schemas.microsoft.com/office/drawing/2014/main" id="{08B9AA3C-3422-4F50-A689-DCD621EE8BA0}"/>
              </a:ext>
            </a:extLst>
          </p:cNvPr>
          <p:cNvSpPr>
            <a:spLocks noGrp="1"/>
          </p:cNvSpPr>
          <p:nvPr>
            <p:ph type="ftr" sz="quarter" idx="14"/>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7E416264-48BA-4754-AA02-FA6AD85394FF}"/>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413932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441600" y="1390267"/>
            <a:ext cx="11174667" cy="4615248"/>
          </a:xfrm>
        </p:spPr>
        <p:txBody>
          <a:bodyPr/>
          <a:lstStyle/>
          <a:p>
            <a:pPr lvl="0"/>
            <a:r>
              <a:rPr lang="en-US" noProof="0"/>
              <a:t>Click to edit Master text styles</a:t>
            </a:r>
          </a:p>
          <a:p>
            <a:pPr lvl="1"/>
            <a:r>
              <a:rPr lang="en-US" noProof="0"/>
              <a:t>Second level</a:t>
            </a:r>
          </a:p>
          <a:p>
            <a:pPr lvl="2"/>
            <a:r>
              <a:rPr lang="en-US" noProof="0"/>
              <a:t>Third level</a:t>
            </a:r>
          </a:p>
        </p:txBody>
      </p:sp>
      <p:sp>
        <p:nvSpPr>
          <p:cNvPr id="5" name="Footer Placeholder 4"/>
          <p:cNvSpPr>
            <a:spLocks noGrp="1"/>
          </p:cNvSpPr>
          <p:nvPr>
            <p:ph type="ftr" sz="quarter" idx="11"/>
          </p:nvPr>
        </p:nvSpPr>
        <p:spPr/>
        <p:txBody>
          <a:bodyPr/>
          <a:lstStyle/>
          <a:p>
            <a:endParaRPr lang="en-GB" noProof="0"/>
          </a:p>
        </p:txBody>
      </p:sp>
      <p:sp>
        <p:nvSpPr>
          <p:cNvPr id="6" name="Slide Number Placeholder 5"/>
          <p:cNvSpPr>
            <a:spLocks noGrp="1"/>
          </p:cNvSpPr>
          <p:nvPr>
            <p:ph type="sldNum" sz="quarter" idx="12"/>
          </p:nvPr>
        </p:nvSpPr>
        <p:spPr/>
        <p:txBody>
          <a:bodyPr/>
          <a:lstStyle/>
          <a:p>
            <a:fld id="{5B2ACB19-C0E1-7345-B8BA-15A723BE30E5}" type="slidenum">
              <a:rPr lang="en-GB" noProof="0" smtClean="0"/>
              <a:pPr/>
              <a:t>‹#›</a:t>
            </a:fld>
            <a:endParaRPr lang="en-GB" noProof="0"/>
          </a:p>
        </p:txBody>
      </p:sp>
    </p:spTree>
    <p:extLst>
      <p:ext uri="{BB962C8B-B14F-4D97-AF65-F5344CB8AC3E}">
        <p14:creationId xmlns:p14="http://schemas.microsoft.com/office/powerpoint/2010/main" val="883702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B19A1F-D24D-476A-A31B-0745DE0518E3}"/>
              </a:ext>
            </a:extLst>
          </p:cNvPr>
          <p:cNvGraphicFramePr>
            <a:graphicFrameLocks noChangeAspect="1"/>
          </p:cNvGraphicFramePr>
          <p:nvPr userDrawn="1">
            <p:custDataLst>
              <p:tags r:id="rId1"/>
            </p:custDataLst>
            <p:extLst>
              <p:ext uri="{D42A27DB-BD31-4B8C-83A1-F6EECF244321}">
                <p14:modId xmlns:p14="http://schemas.microsoft.com/office/powerpoint/2010/main" val="2797690871"/>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id="{05B19A1F-D24D-476A-A31B-0745DE0518E3}"/>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2B2E8C-DDB9-4D4B-991B-BE1E80AE022C}"/>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906AFC8A-F573-4DCA-AAB1-789495D6F80D}"/>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8" name="Title 7">
            <a:extLst>
              <a:ext uri="{FF2B5EF4-FFF2-40B4-BE49-F238E27FC236}">
                <a16:creationId xmlns:a16="http://schemas.microsoft.com/office/drawing/2014/main" id="{94061B1A-B0AC-447D-BEF0-C35B2F6D19CA}"/>
              </a:ext>
            </a:extLst>
          </p:cNvPr>
          <p:cNvSpPr>
            <a:spLocks noGrp="1"/>
          </p:cNvSpPr>
          <p:nvPr>
            <p:ph type="title"/>
          </p:nvPr>
        </p:nvSpPr>
        <p:spPr/>
        <p:txBody>
          <a:bodyPr/>
          <a:lstStyle>
            <a:lvl1pPr>
              <a:defRPr>
                <a:solidFill>
                  <a:schemeClr val="tx2"/>
                </a:solidFill>
              </a:defRPr>
            </a:lvl1pPr>
          </a:lstStyle>
          <a:p>
            <a:r>
              <a:rPr lang="en-GB" dirty="0"/>
              <a:t>Click to edit Master title style</a:t>
            </a:r>
          </a:p>
        </p:txBody>
      </p:sp>
      <p:sp>
        <p:nvSpPr>
          <p:cNvPr id="10" name="Content Placeholder 9">
            <a:extLst>
              <a:ext uri="{FF2B5EF4-FFF2-40B4-BE49-F238E27FC236}">
                <a16:creationId xmlns:a16="http://schemas.microsoft.com/office/drawing/2014/main" id="{16D3483C-E7FA-4782-8C30-17337D097034}"/>
              </a:ext>
            </a:extLst>
          </p:cNvPr>
          <p:cNvSpPr>
            <a:spLocks noGrp="1"/>
          </p:cNvSpPr>
          <p:nvPr>
            <p:ph sz="quarter" idx="13"/>
          </p:nvPr>
        </p:nvSpPr>
        <p:spPr>
          <a:xfrm>
            <a:off x="828676" y="1830707"/>
            <a:ext cx="10536555" cy="4191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A3268226-9F81-47A5-AC33-CAD421628489}"/>
              </a:ext>
            </a:extLst>
          </p:cNvPr>
          <p:cNvSpPr>
            <a:spLocks noGrp="1"/>
          </p:cNvSpPr>
          <p:nvPr>
            <p:ph type="ftr" sz="quarter" idx="14"/>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74FB7FD7-1337-425B-A227-B659A64CE196}"/>
              </a:ext>
            </a:extLst>
          </p:cNvPr>
          <p:cNvSpPr>
            <a:spLocks noGrp="1"/>
          </p:cNvSpPr>
          <p:nvPr>
            <p:ph type="sldNum" sz="quarter" idx="15"/>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59745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Blue with Sub 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1727773416"/>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ctangle 10">
            <a:extLst>
              <a:ext uri="{FF2B5EF4-FFF2-40B4-BE49-F238E27FC236}">
                <a16:creationId xmlns:a16="http://schemas.microsoft.com/office/drawing/2014/main" id="{0FF6C0BA-F5D8-4B1E-938B-E4EFD61EBD27}"/>
              </a:ext>
            </a:extLst>
          </p:cNvPr>
          <p:cNvSpPr/>
          <p:nvPr userDrawn="1"/>
        </p:nvSpPr>
        <p:spPr>
          <a:xfrm>
            <a:off x="0" y="0"/>
            <a:ext cx="12192000" cy="614074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dirty="0"/>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lvl1pPr>
              <a:defRPr>
                <a:solidFill>
                  <a:schemeClr val="tx2"/>
                </a:solidFill>
              </a:defRPr>
            </a:lvl1p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6" y="1836492"/>
            <a:ext cx="10541633" cy="286653"/>
          </a:xfrm>
        </p:spPr>
        <p:txBody>
          <a:bodyPr anchor="t" anchorCtr="0">
            <a:noAutofit/>
          </a:bodyPr>
          <a:lstStyle>
            <a:lvl1pPr marL="0" indent="0">
              <a:buNone/>
              <a:defRPr sz="1600" b="1">
                <a:solidFill>
                  <a:schemeClr val="bg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6" y="2241549"/>
            <a:ext cx="10541633" cy="378015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D0613B91-D51F-4517-9FD9-E02C90581D3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BA4D521D-8276-4EFD-AA23-E75A9172708F}"/>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124683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3617269419"/>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1" name="Content Placeholder 10">
            <a:extLst>
              <a:ext uri="{FF2B5EF4-FFF2-40B4-BE49-F238E27FC236}">
                <a16:creationId xmlns:a16="http://schemas.microsoft.com/office/drawing/2014/main" id="{ED6846DB-97DE-4779-AAF7-AC1F34F0DE6D}"/>
              </a:ext>
            </a:extLst>
          </p:cNvPr>
          <p:cNvSpPr>
            <a:spLocks noGrp="1"/>
          </p:cNvSpPr>
          <p:nvPr>
            <p:ph sz="quarter" idx="13"/>
          </p:nvPr>
        </p:nvSpPr>
        <p:spPr>
          <a:xfrm>
            <a:off x="824867" y="1830707"/>
            <a:ext cx="4968240"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13" name="Content Placeholder 12">
            <a:extLst>
              <a:ext uri="{FF2B5EF4-FFF2-40B4-BE49-F238E27FC236}">
                <a16:creationId xmlns:a16="http://schemas.microsoft.com/office/drawing/2014/main" id="{59E18CF8-020B-4471-89E6-85F54EEEFE1D}"/>
              </a:ext>
            </a:extLst>
          </p:cNvPr>
          <p:cNvSpPr>
            <a:spLocks noGrp="1"/>
          </p:cNvSpPr>
          <p:nvPr>
            <p:ph sz="quarter" idx="14"/>
          </p:nvPr>
        </p:nvSpPr>
        <p:spPr>
          <a:xfrm>
            <a:off x="6398898" y="1830707"/>
            <a:ext cx="4966335"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6CA561E1-8545-4FA9-9BDC-392506752BA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A0054F62-0B85-4EBD-84A4-5D56AA871C92}"/>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67788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userDrawn="1">
          <p15:clr>
            <a:srgbClr val="FBAE40"/>
          </p15:clr>
        </p15:guide>
        <p15:guide id="2" pos="403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1782030366"/>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Content Placeholder 10">
            <a:extLst>
              <a:ext uri="{FF2B5EF4-FFF2-40B4-BE49-F238E27FC236}">
                <a16:creationId xmlns:a16="http://schemas.microsoft.com/office/drawing/2014/main" id="{ED6846DB-97DE-4779-AAF7-AC1F34F0DE6D}"/>
              </a:ext>
            </a:extLst>
          </p:cNvPr>
          <p:cNvSpPr>
            <a:spLocks noGrp="1"/>
          </p:cNvSpPr>
          <p:nvPr>
            <p:ph sz="quarter" idx="13"/>
          </p:nvPr>
        </p:nvSpPr>
        <p:spPr>
          <a:xfrm>
            <a:off x="824867" y="1830707"/>
            <a:ext cx="4968240" cy="4191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3" name="Picture Placeholder 2">
            <a:extLst>
              <a:ext uri="{FF2B5EF4-FFF2-40B4-BE49-F238E27FC236}">
                <a16:creationId xmlns:a16="http://schemas.microsoft.com/office/drawing/2014/main" id="{9C8A05AB-16D4-4417-A29E-1217E774BADB}"/>
              </a:ext>
            </a:extLst>
          </p:cNvPr>
          <p:cNvSpPr>
            <a:spLocks noGrp="1"/>
          </p:cNvSpPr>
          <p:nvPr>
            <p:ph type="pic" sz="quarter" idx="14"/>
          </p:nvPr>
        </p:nvSpPr>
        <p:spPr>
          <a:xfrm>
            <a:off x="6399213" y="3175"/>
            <a:ext cx="5792787" cy="6854825"/>
          </a:xfrm>
        </p:spPr>
        <p:txBody>
          <a:bodyPr/>
          <a:lstStyle/>
          <a:p>
            <a:endParaRPr lang="en-GB"/>
          </a:p>
        </p:txBody>
      </p:sp>
      <p:sp>
        <p:nvSpPr>
          <p:cNvPr id="4" name="Title 3">
            <a:extLst>
              <a:ext uri="{FF2B5EF4-FFF2-40B4-BE49-F238E27FC236}">
                <a16:creationId xmlns:a16="http://schemas.microsoft.com/office/drawing/2014/main" id="{483B4242-62B9-435B-86D3-DEEA7ACF2CFA}"/>
              </a:ext>
            </a:extLst>
          </p:cNvPr>
          <p:cNvSpPr>
            <a:spLocks noGrp="1"/>
          </p:cNvSpPr>
          <p:nvPr>
            <p:ph type="title"/>
          </p:nvPr>
        </p:nvSpPr>
        <p:spPr>
          <a:xfrm>
            <a:off x="829237" y="577216"/>
            <a:ext cx="4963552" cy="907097"/>
          </a:xfrm>
        </p:spPr>
        <p:txBody>
          <a:bodyPr/>
          <a:lstStyle/>
          <a:p>
            <a:r>
              <a:rPr lang="en-GB" dirty="0"/>
              <a:t>Click to edit Master title style</a:t>
            </a:r>
          </a:p>
        </p:txBody>
      </p:sp>
      <p:sp>
        <p:nvSpPr>
          <p:cNvPr id="10" name="Footer Placeholder 9">
            <a:extLst>
              <a:ext uri="{FF2B5EF4-FFF2-40B4-BE49-F238E27FC236}">
                <a16:creationId xmlns:a16="http://schemas.microsoft.com/office/drawing/2014/main" id="{3ABC70E0-D795-488D-8AC2-298449E2BE52}"/>
              </a:ext>
            </a:extLst>
          </p:cNvPr>
          <p:cNvSpPr>
            <a:spLocks noGrp="1"/>
          </p:cNvSpPr>
          <p:nvPr>
            <p:ph type="ftr" sz="quarter" idx="15"/>
          </p:nvPr>
        </p:nvSpPr>
        <p:spPr/>
        <p:txBody>
          <a:bodyPr/>
          <a:lstStyle>
            <a:lvl1pPr eaLnBrk="1">
              <a:defRPr/>
            </a:lvl1pPr>
          </a:lstStyle>
          <a:p>
            <a:endParaRPr lang="en-GB" dirty="0"/>
          </a:p>
        </p:txBody>
      </p:sp>
      <p:sp>
        <p:nvSpPr>
          <p:cNvPr id="12" name="Slide Number Placeholder 11">
            <a:extLst>
              <a:ext uri="{FF2B5EF4-FFF2-40B4-BE49-F238E27FC236}">
                <a16:creationId xmlns:a16="http://schemas.microsoft.com/office/drawing/2014/main" id="{F5E9F28C-9388-465B-9107-6F50B2EE6BEA}"/>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73963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with Sub head 0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9842B-328E-48E5-A8AD-9FA4153DC202}"/>
              </a:ext>
            </a:extLst>
          </p:cNvPr>
          <p:cNvGraphicFramePr>
            <a:graphicFrameLocks noChangeAspect="1"/>
          </p:cNvGraphicFramePr>
          <p:nvPr userDrawn="1">
            <p:custDataLst>
              <p:tags r:id="rId1"/>
            </p:custDataLst>
            <p:extLst>
              <p:ext uri="{D42A27DB-BD31-4B8C-83A1-F6EECF244321}">
                <p14:modId xmlns:p14="http://schemas.microsoft.com/office/powerpoint/2010/main" val="2295640"/>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BB79842B-328E-48E5-A8AD-9FA4153DC202}"/>
                          </a:ext>
                        </a:extLst>
                      </p:cNvPr>
                      <p:cNvPicPr/>
                      <p:nvPr/>
                    </p:nvPicPr>
                    <p:blipFill>
                      <a:blip r:embed="rId5"/>
                      <a:stretch>
                        <a:fillRect/>
                      </a:stretch>
                    </p:blipFill>
                    <p:spPr>
                      <a:xfrm>
                        <a:off x="1905" y="1905"/>
                        <a:ext cx="1907" cy="190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504A2E-16A1-4BDB-9009-5884D2D84AD3}"/>
              </a:ext>
            </a:extLst>
          </p:cNvPr>
          <p:cNvSpPr/>
          <p:nvPr userDrawn="1">
            <p:custDataLst>
              <p:tags r:id="rId2"/>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D40205BF-614A-4FF4-B68F-73A2FB7706A3}"/>
              </a:ext>
            </a:extLst>
          </p:cNvPr>
          <p:cNvSpPr>
            <a:spLocks noGrp="1"/>
          </p:cNvSpPr>
          <p:nvPr>
            <p:ph type="title"/>
          </p:nvPr>
        </p:nvSpPr>
        <p:spPr/>
        <p:txBody>
          <a:bodyPr/>
          <a:lstStyle/>
          <a:p>
            <a:r>
              <a:rPr lang="en-GB" dirty="0"/>
              <a:t>Click to edit Master title style</a:t>
            </a:r>
          </a:p>
        </p:txBody>
      </p:sp>
      <p:sp>
        <p:nvSpPr>
          <p:cNvPr id="10" name="Text Placeholder 2">
            <a:extLst>
              <a:ext uri="{FF2B5EF4-FFF2-40B4-BE49-F238E27FC236}">
                <a16:creationId xmlns:a16="http://schemas.microsoft.com/office/drawing/2014/main" id="{86D988C0-0AE4-4DB3-9F88-FF6ED774CFE0}"/>
              </a:ext>
            </a:extLst>
          </p:cNvPr>
          <p:cNvSpPr>
            <a:spLocks noGrp="1"/>
          </p:cNvSpPr>
          <p:nvPr>
            <p:ph type="body" idx="1"/>
          </p:nvPr>
        </p:nvSpPr>
        <p:spPr>
          <a:xfrm>
            <a:off x="824867" y="1836492"/>
            <a:ext cx="4968240" cy="286653"/>
          </a:xfrm>
        </p:spPr>
        <p:txBody>
          <a:bodyPr anchor="t" anchorCtr="0">
            <a:noAutofit/>
          </a:bodyPr>
          <a:lstStyle>
            <a:lvl1pPr marL="0" indent="0">
              <a:buNone/>
              <a:defRPr sz="160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2" name="Text Placeholder 4">
            <a:extLst>
              <a:ext uri="{FF2B5EF4-FFF2-40B4-BE49-F238E27FC236}">
                <a16:creationId xmlns:a16="http://schemas.microsoft.com/office/drawing/2014/main" id="{A851DCF0-9768-4EEE-9C12-5CAFCAFF4C0B}"/>
              </a:ext>
            </a:extLst>
          </p:cNvPr>
          <p:cNvSpPr>
            <a:spLocks noGrp="1"/>
          </p:cNvSpPr>
          <p:nvPr>
            <p:ph type="body" sz="quarter" idx="3"/>
          </p:nvPr>
        </p:nvSpPr>
        <p:spPr>
          <a:xfrm>
            <a:off x="6398898" y="1836492"/>
            <a:ext cx="4966336" cy="286653"/>
          </a:xfrm>
        </p:spPr>
        <p:txBody>
          <a:bodyPr anchor="t" anchorCtr="0">
            <a:noAutofit/>
          </a:bodyPr>
          <a:lstStyle>
            <a:lvl1pPr marL="0" indent="0">
              <a:buNone/>
              <a:defRPr sz="1680" b="1">
                <a:solidFill>
                  <a:schemeClr val="accent1"/>
                </a:solidFill>
              </a:defRPr>
            </a:lvl1pPr>
            <a:lvl2pPr marL="548610" indent="0">
              <a:buNone/>
              <a:defRPr sz="2400" b="1"/>
            </a:lvl2pPr>
            <a:lvl3pPr marL="1097221" indent="0">
              <a:buNone/>
              <a:defRPr sz="2160" b="1"/>
            </a:lvl3pPr>
            <a:lvl4pPr marL="1645831" indent="0">
              <a:buNone/>
              <a:defRPr sz="1920" b="1"/>
            </a:lvl4pPr>
            <a:lvl5pPr marL="2194440" indent="0">
              <a:buNone/>
              <a:defRPr sz="1920" b="1"/>
            </a:lvl5pPr>
            <a:lvl6pPr marL="2743051" indent="0">
              <a:buNone/>
              <a:defRPr sz="1920" b="1"/>
            </a:lvl6pPr>
            <a:lvl7pPr marL="3291660" indent="0">
              <a:buNone/>
              <a:defRPr sz="1920" b="1"/>
            </a:lvl7pPr>
            <a:lvl8pPr marL="3840269" indent="0">
              <a:buNone/>
              <a:defRPr sz="1920" b="1"/>
            </a:lvl8pPr>
            <a:lvl9pPr marL="4388877" indent="0">
              <a:buNone/>
              <a:defRPr sz="1920" b="1"/>
            </a:lvl9pPr>
          </a:lstStyle>
          <a:p>
            <a:pPr lvl="0"/>
            <a:r>
              <a:rPr lang="en-GB" noProof="0" dirty="0"/>
              <a:t>Click to edit Master text styles</a:t>
            </a:r>
          </a:p>
        </p:txBody>
      </p:sp>
      <p:sp>
        <p:nvSpPr>
          <p:cNvPr id="14" name="Content Placeholder 10">
            <a:extLst>
              <a:ext uri="{FF2B5EF4-FFF2-40B4-BE49-F238E27FC236}">
                <a16:creationId xmlns:a16="http://schemas.microsoft.com/office/drawing/2014/main" id="{AF58B951-C044-493D-B770-735176E2ECC1}"/>
              </a:ext>
            </a:extLst>
          </p:cNvPr>
          <p:cNvSpPr>
            <a:spLocks noGrp="1"/>
          </p:cNvSpPr>
          <p:nvPr>
            <p:ph sz="quarter" idx="13"/>
          </p:nvPr>
        </p:nvSpPr>
        <p:spPr>
          <a:xfrm>
            <a:off x="824867" y="2241549"/>
            <a:ext cx="4968240"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15" name="Content Placeholder 12">
            <a:extLst>
              <a:ext uri="{FF2B5EF4-FFF2-40B4-BE49-F238E27FC236}">
                <a16:creationId xmlns:a16="http://schemas.microsoft.com/office/drawing/2014/main" id="{3279856D-28DF-4275-908D-D6BF96710C74}"/>
              </a:ext>
            </a:extLst>
          </p:cNvPr>
          <p:cNvSpPr>
            <a:spLocks noGrp="1"/>
          </p:cNvSpPr>
          <p:nvPr>
            <p:ph sz="quarter" idx="14"/>
          </p:nvPr>
        </p:nvSpPr>
        <p:spPr>
          <a:xfrm>
            <a:off x="6398898" y="2241549"/>
            <a:ext cx="4966335" cy="378015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2" name="Footer Placeholder 1">
            <a:extLst>
              <a:ext uri="{FF2B5EF4-FFF2-40B4-BE49-F238E27FC236}">
                <a16:creationId xmlns:a16="http://schemas.microsoft.com/office/drawing/2014/main" id="{D0613B91-D51F-4517-9FD9-E02C90581D31}"/>
              </a:ext>
            </a:extLst>
          </p:cNvPr>
          <p:cNvSpPr>
            <a:spLocks noGrp="1"/>
          </p:cNvSpPr>
          <p:nvPr>
            <p:ph type="ftr" sz="quarter" idx="15"/>
          </p:nvPr>
        </p:nvSpPr>
        <p:spPr/>
        <p:txBody>
          <a:bodyPr/>
          <a:lstStyle>
            <a:lvl1pPr eaLnBrk="1">
              <a:defRPr/>
            </a:lvl1pPr>
          </a:lstStyle>
          <a:p>
            <a:endParaRPr lang="en-GB" dirty="0"/>
          </a:p>
        </p:txBody>
      </p:sp>
      <p:sp>
        <p:nvSpPr>
          <p:cNvPr id="3" name="Slide Number Placeholder 2">
            <a:extLst>
              <a:ext uri="{FF2B5EF4-FFF2-40B4-BE49-F238E27FC236}">
                <a16:creationId xmlns:a16="http://schemas.microsoft.com/office/drawing/2014/main" id="{BA4D521D-8276-4EFD-AA23-E75A9172708F}"/>
              </a:ext>
            </a:extLst>
          </p:cNvPr>
          <p:cNvSpPr>
            <a:spLocks noGrp="1"/>
          </p:cNvSpPr>
          <p:nvPr>
            <p:ph type="sldNum" sz="quarter" idx="16"/>
          </p:nvPr>
        </p:nvSpPr>
        <p:spPr/>
        <p:txBody>
          <a:bodyPr/>
          <a:lstStyle/>
          <a:p>
            <a:fld id="{5B2ACB19-C0E1-7345-B8BA-15A723BE30E5}" type="slidenum">
              <a:rPr lang="en-GB" smtClean="0"/>
              <a:pPr/>
              <a:t>‹#›</a:t>
            </a:fld>
            <a:endParaRPr lang="en-GB" dirty="0"/>
          </a:p>
        </p:txBody>
      </p:sp>
    </p:spTree>
    <p:extLst>
      <p:ext uri="{BB962C8B-B14F-4D97-AF65-F5344CB8AC3E}">
        <p14:creationId xmlns:p14="http://schemas.microsoft.com/office/powerpoint/2010/main" val="250609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49">
          <p15:clr>
            <a:srgbClr val="FBAE40"/>
          </p15:clr>
        </p15:guide>
        <p15:guide id="2" pos="4031">
          <p15:clr>
            <a:srgbClr val="FBAE40"/>
          </p15:clr>
        </p15:guide>
        <p15:guide id="3" orient="horz" pos="141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image" Target="../media/image8.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oleObject" Target="../embeddings/oleObject2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image" Target="../media/image3.sv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4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40.xml"/><Relationship Id="rId30" Type="http://schemas.openxmlformats.org/officeDocument/2006/relationships/image" Target="../media/image1.emf"/><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77721A6-BD6A-4708-8340-32907EB1DD5E}"/>
              </a:ext>
            </a:extLst>
          </p:cNvPr>
          <p:cNvGraphicFramePr>
            <a:graphicFrameLocks noChangeAspect="1"/>
          </p:cNvGraphicFramePr>
          <p:nvPr userDrawn="1">
            <p:custDataLst>
              <p:tags r:id="rId25"/>
            </p:custDataLst>
            <p:extLst>
              <p:ext uri="{D42A27DB-BD31-4B8C-83A1-F6EECF244321}">
                <p14:modId xmlns:p14="http://schemas.microsoft.com/office/powerpoint/2010/main" val="899046834"/>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11" name="Object 10" hidden="1">
                        <a:extLst>
                          <a:ext uri="{FF2B5EF4-FFF2-40B4-BE49-F238E27FC236}">
                            <a16:creationId xmlns:a16="http://schemas.microsoft.com/office/drawing/2014/main" id="{277721A6-BD6A-4708-8340-32907EB1DD5E}"/>
                          </a:ext>
                        </a:extLst>
                      </p:cNvPr>
                      <p:cNvPicPr/>
                      <p:nvPr/>
                    </p:nvPicPr>
                    <p:blipFill>
                      <a:blip r:embed="rId28"/>
                      <a:stretch>
                        <a:fillRect/>
                      </a:stretch>
                    </p:blipFill>
                    <p:spPr>
                      <a:xfrm>
                        <a:off x="1905" y="1905"/>
                        <a:ext cx="1907" cy="190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E6A9C7A-2E23-48C6-AD30-0D78302C1A59}"/>
              </a:ext>
            </a:extLst>
          </p:cNvPr>
          <p:cNvSpPr/>
          <p:nvPr userDrawn="1">
            <p:custDataLst>
              <p:tags r:id="rId26"/>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29236" y="577216"/>
            <a:ext cx="10535861" cy="907097"/>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829239" y="1830707"/>
            <a:ext cx="10537900" cy="41910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5" name="Footer Placeholder 4"/>
          <p:cNvSpPr>
            <a:spLocks noGrp="1"/>
          </p:cNvSpPr>
          <p:nvPr>
            <p:ph type="ftr" sz="quarter" idx="3"/>
          </p:nvPr>
        </p:nvSpPr>
        <p:spPr>
          <a:xfrm>
            <a:off x="1348031" y="6319500"/>
            <a:ext cx="4446000" cy="365125"/>
          </a:xfrm>
          <a:prstGeom prst="rect">
            <a:avLst/>
          </a:prstGeom>
        </p:spPr>
        <p:txBody>
          <a:bodyPr vert="horz" wrap="none" lIns="0" tIns="0" rIns="0" bIns="0" rtlCol="0" anchor="ctr">
            <a:noAutofit/>
          </a:bodyPr>
          <a:lstStyle>
            <a:lvl1pPr algn="l" eaLnBrk="1">
              <a:defRPr sz="1000" b="0">
                <a:solidFill>
                  <a:schemeClr val="accent6"/>
                </a:solidFill>
                <a:latin typeface="Arial"/>
                <a:cs typeface="Arial"/>
              </a:defRPr>
            </a:lvl1pPr>
          </a:lstStyle>
          <a:p>
            <a:endParaRPr lang="en-GB" dirty="0"/>
          </a:p>
        </p:txBody>
      </p:sp>
      <p:sp>
        <p:nvSpPr>
          <p:cNvPr id="6" name="Slide Number Placeholder 5"/>
          <p:cNvSpPr>
            <a:spLocks noGrp="1"/>
          </p:cNvSpPr>
          <p:nvPr>
            <p:ph type="sldNum" sz="quarter" idx="4"/>
          </p:nvPr>
        </p:nvSpPr>
        <p:spPr>
          <a:xfrm>
            <a:off x="829236" y="6319500"/>
            <a:ext cx="452320" cy="365125"/>
          </a:xfrm>
          <a:prstGeom prst="rect">
            <a:avLst/>
          </a:prstGeom>
        </p:spPr>
        <p:txBody>
          <a:bodyPr vert="horz" wrap="none" lIns="0" tIns="0" rIns="0" bIns="0" rtlCol="0" anchor="ctr">
            <a:noAutofit/>
          </a:bodyPr>
          <a:lstStyle>
            <a:lvl1pPr algn="l">
              <a:defRPr sz="1000" b="0">
                <a:solidFill>
                  <a:schemeClr val="accent6"/>
                </a:solidFill>
                <a:latin typeface="Arial"/>
                <a:cs typeface="Arial"/>
              </a:defRPr>
            </a:lvl1pPr>
          </a:lstStyle>
          <a:p>
            <a:fld id="{5B2ACB19-C0E1-7345-B8BA-15A723BE30E5}" type="slidenum">
              <a:rPr lang="en-GB" smtClean="0"/>
              <a:pPr/>
              <a:t>‹#›</a:t>
            </a:fld>
            <a:endParaRPr lang="en-GB" dirty="0"/>
          </a:p>
        </p:txBody>
      </p:sp>
      <p:grpSp>
        <p:nvGrpSpPr>
          <p:cNvPr id="23" name="Group 22">
            <a:extLst>
              <a:ext uri="{FF2B5EF4-FFF2-40B4-BE49-F238E27FC236}">
                <a16:creationId xmlns:a16="http://schemas.microsoft.com/office/drawing/2014/main" id="{DB727649-DA60-4222-B58B-0786112CEE78}"/>
              </a:ext>
            </a:extLst>
          </p:cNvPr>
          <p:cNvGrpSpPr/>
          <p:nvPr userDrawn="1"/>
        </p:nvGrpSpPr>
        <p:grpSpPr>
          <a:xfrm>
            <a:off x="10323364" y="6340537"/>
            <a:ext cx="1047345" cy="283354"/>
            <a:chOff x="1533524" y="369094"/>
            <a:chExt cx="2243139" cy="606869"/>
          </a:xfrm>
        </p:grpSpPr>
        <p:pic>
          <p:nvPicPr>
            <p:cNvPr id="24" name="Graphic 23">
              <a:extLst>
                <a:ext uri="{FF2B5EF4-FFF2-40B4-BE49-F238E27FC236}">
                  <a16:creationId xmlns:a16="http://schemas.microsoft.com/office/drawing/2014/main" id="{EB54AED3-C389-47FA-B373-818250A154E3}"/>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277949" y="521688"/>
              <a:ext cx="1498714" cy="302750"/>
            </a:xfrm>
            <a:prstGeom prst="rect">
              <a:avLst/>
            </a:prstGeom>
          </p:spPr>
        </p:pic>
        <p:pic>
          <p:nvPicPr>
            <p:cNvPr id="25" name="Picture 24">
              <a:extLst>
                <a:ext uri="{FF2B5EF4-FFF2-40B4-BE49-F238E27FC236}">
                  <a16:creationId xmlns:a16="http://schemas.microsoft.com/office/drawing/2014/main" id="{A82BC5DF-C636-48C9-A020-1643C098A78B}"/>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a:stretch/>
          </p:blipFill>
          <p:spPr>
            <a:xfrm>
              <a:off x="1533524" y="369094"/>
              <a:ext cx="607220" cy="606869"/>
            </a:xfrm>
            <a:prstGeom prst="ellipse">
              <a:avLst/>
            </a:prstGeom>
            <a:ln w="63500" cap="rnd">
              <a:noFill/>
            </a:ln>
            <a:effectLst/>
          </p:spPr>
        </p:pic>
      </p:grpSp>
    </p:spTree>
    <p:extLst>
      <p:ext uri="{BB962C8B-B14F-4D97-AF65-F5344CB8AC3E}">
        <p14:creationId xmlns:p14="http://schemas.microsoft.com/office/powerpoint/2010/main" val="1750577507"/>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50" r:id="rId3"/>
    <p:sldLayoutId id="2147483711" r:id="rId4"/>
    <p:sldLayoutId id="2147483707" r:id="rId5"/>
    <p:sldLayoutId id="2147483712" r:id="rId6"/>
    <p:sldLayoutId id="2147483652" r:id="rId7"/>
    <p:sldLayoutId id="2147483706" r:id="rId8"/>
    <p:sldLayoutId id="2147483708" r:id="rId9"/>
    <p:sldLayoutId id="2147483709" r:id="rId10"/>
    <p:sldLayoutId id="2147483710" r:id="rId11"/>
    <p:sldLayoutId id="2147483654" r:id="rId12"/>
    <p:sldLayoutId id="2147483702" r:id="rId13"/>
    <p:sldLayoutId id="2147483655" r:id="rId14"/>
    <p:sldLayoutId id="2147483678" r:id="rId15"/>
    <p:sldLayoutId id="2147483714" r:id="rId16"/>
    <p:sldLayoutId id="2147483713" r:id="rId17"/>
    <p:sldLayoutId id="2147483670" r:id="rId18"/>
    <p:sldLayoutId id="2147483699" r:id="rId19"/>
    <p:sldLayoutId id="2147483701" r:id="rId20"/>
    <p:sldLayoutId id="2147483705" r:id="rId21"/>
    <p:sldLayoutId id="2147483703" r:id="rId22"/>
    <p:sldLayoutId id="214748370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48610" rtl="0" eaLnBrk="1" latinLnBrk="0" hangingPunct="1">
        <a:lnSpc>
          <a:spcPct val="100000"/>
        </a:lnSpc>
        <a:spcBef>
          <a:spcPct val="0"/>
        </a:spcBef>
        <a:buNone/>
        <a:defRPr sz="3200" b="1" kern="1200">
          <a:solidFill>
            <a:schemeClr val="accent5"/>
          </a:solidFill>
          <a:latin typeface="Arial"/>
          <a:ea typeface="+mj-ea"/>
          <a:cs typeface="Arial"/>
        </a:defRPr>
      </a:lvl1pPr>
    </p:titleStyle>
    <p:bodyStyle>
      <a:lvl1pPr marL="215993" indent="-215993" algn="l" defTabSz="548610" rtl="0" eaLnBrk="1" latinLnBrk="0" hangingPunct="1">
        <a:lnSpc>
          <a:spcPct val="100000"/>
        </a:lnSpc>
        <a:spcBef>
          <a:spcPts val="1200"/>
        </a:spcBef>
        <a:buClr>
          <a:schemeClr val="accent1"/>
        </a:buClr>
        <a:buSzPct val="120000"/>
        <a:buFont typeface="Arial" panose="020B0604020202020204" pitchFamily="34" charset="0"/>
        <a:buChar char="•"/>
        <a:defRPr sz="2000" kern="1200">
          <a:solidFill>
            <a:schemeClr val="accent5"/>
          </a:solidFill>
          <a:latin typeface="Arial"/>
          <a:ea typeface="+mn-ea"/>
          <a:cs typeface="Arial"/>
        </a:defRPr>
      </a:lvl1pPr>
      <a:lvl2pPr marL="473075" indent="-236538" algn="l" defTabSz="548610" rtl="0" eaLnBrk="1" latinLnBrk="0" hangingPunct="1">
        <a:lnSpc>
          <a:spcPct val="100000"/>
        </a:lnSpc>
        <a:spcBef>
          <a:spcPts val="600"/>
        </a:spcBef>
        <a:buClr>
          <a:schemeClr val="accent1"/>
        </a:buClr>
        <a:buSzPct val="110000"/>
        <a:buFont typeface="Arial" panose="020B0604020202020204" pitchFamily="34" charset="0"/>
        <a:buChar char="-"/>
        <a:defRPr sz="1800" kern="1200">
          <a:solidFill>
            <a:schemeClr val="accent5"/>
          </a:solidFill>
          <a:latin typeface="Arial"/>
          <a:ea typeface="+mn-ea"/>
          <a:cs typeface="Arial"/>
        </a:defRPr>
      </a:lvl2pPr>
      <a:lvl3pPr marL="691176" indent="-194304" algn="l" defTabSz="548610" rtl="0" eaLnBrk="1" latinLnBrk="0" hangingPunct="1">
        <a:lnSpc>
          <a:spcPct val="100000"/>
        </a:lnSpc>
        <a:spcBef>
          <a:spcPts val="600"/>
        </a:spcBef>
        <a:buClr>
          <a:schemeClr val="accent1"/>
        </a:buClr>
        <a:buFont typeface="Arial" panose="020B0604020202020204" pitchFamily="34" charset="0"/>
        <a:buChar char="•"/>
        <a:defRPr sz="1600" kern="1200">
          <a:solidFill>
            <a:schemeClr val="accent5"/>
          </a:solidFill>
          <a:latin typeface="Arial"/>
          <a:ea typeface="+mn-ea"/>
          <a:cs typeface="Arial"/>
        </a:defRPr>
      </a:lvl3pPr>
      <a:lvl4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Arial"/>
          <a:ea typeface="+mn-ea"/>
          <a:cs typeface="Arial"/>
        </a:defRPr>
      </a:lvl4pPr>
      <a:lvl5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Arial"/>
          <a:ea typeface="+mn-ea"/>
          <a:cs typeface="Arial"/>
        </a:defRPr>
      </a:lvl5pPr>
      <a:lvl6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mn-lt"/>
          <a:ea typeface="+mn-ea"/>
          <a:cs typeface="+mn-cs"/>
        </a:defRPr>
      </a:lvl6pPr>
      <a:lvl7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mn-lt"/>
          <a:ea typeface="+mn-ea"/>
          <a:cs typeface="+mn-cs"/>
        </a:defRPr>
      </a:lvl7pPr>
      <a:lvl8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mn-lt"/>
          <a:ea typeface="+mn-ea"/>
          <a:cs typeface="+mn-cs"/>
        </a:defRPr>
      </a:lvl8pPr>
      <a:lvl9pPr marL="691200" indent="-194400" algn="l" defTabSz="548610" rtl="0" eaLnBrk="1" latinLnBrk="0" hangingPunct="1">
        <a:spcBef>
          <a:spcPts val="600"/>
        </a:spcBef>
        <a:buClr>
          <a:schemeClr val="bg2"/>
        </a:buClr>
        <a:buFont typeface="Arial"/>
        <a:buChar char="•"/>
        <a:defRPr sz="1600" kern="1200">
          <a:solidFill>
            <a:schemeClr val="accent5"/>
          </a:solidFill>
          <a:latin typeface="+mn-lt"/>
          <a:ea typeface="+mn-ea"/>
          <a:cs typeface="+mn-cs"/>
        </a:defRPr>
      </a:lvl9pPr>
    </p:bodyStyle>
    <p:otherStyle>
      <a:defPPr>
        <a:defRPr lang="en-US"/>
      </a:defPPr>
      <a:lvl1pPr marL="0" algn="l" defTabSz="548610" rtl="0" eaLnBrk="1" latinLnBrk="0" hangingPunct="1">
        <a:defRPr sz="2160" kern="1200">
          <a:solidFill>
            <a:schemeClr val="tx1"/>
          </a:solidFill>
          <a:latin typeface="+mn-lt"/>
          <a:ea typeface="+mn-ea"/>
          <a:cs typeface="+mn-cs"/>
        </a:defRPr>
      </a:lvl1pPr>
      <a:lvl2pPr marL="548610" algn="l" defTabSz="548610" rtl="0" eaLnBrk="1" latinLnBrk="0" hangingPunct="1">
        <a:defRPr sz="2160" kern="1200">
          <a:solidFill>
            <a:schemeClr val="tx1"/>
          </a:solidFill>
          <a:latin typeface="+mn-lt"/>
          <a:ea typeface="+mn-ea"/>
          <a:cs typeface="+mn-cs"/>
        </a:defRPr>
      </a:lvl2pPr>
      <a:lvl3pPr marL="1097221" algn="l" defTabSz="548610" rtl="0" eaLnBrk="1" latinLnBrk="0" hangingPunct="1">
        <a:defRPr sz="2160" kern="1200">
          <a:solidFill>
            <a:schemeClr val="tx1"/>
          </a:solidFill>
          <a:latin typeface="+mn-lt"/>
          <a:ea typeface="+mn-ea"/>
          <a:cs typeface="+mn-cs"/>
        </a:defRPr>
      </a:lvl3pPr>
      <a:lvl4pPr marL="1645831" algn="l" defTabSz="548610" rtl="0" eaLnBrk="1" latinLnBrk="0" hangingPunct="1">
        <a:defRPr sz="2160" kern="1200">
          <a:solidFill>
            <a:schemeClr val="tx1"/>
          </a:solidFill>
          <a:latin typeface="+mn-lt"/>
          <a:ea typeface="+mn-ea"/>
          <a:cs typeface="+mn-cs"/>
        </a:defRPr>
      </a:lvl4pPr>
      <a:lvl5pPr marL="2194440" algn="l" defTabSz="548610" rtl="0" eaLnBrk="1" latinLnBrk="0" hangingPunct="1">
        <a:defRPr sz="2160" kern="1200">
          <a:solidFill>
            <a:schemeClr val="tx1"/>
          </a:solidFill>
          <a:latin typeface="+mn-lt"/>
          <a:ea typeface="+mn-ea"/>
          <a:cs typeface="+mn-cs"/>
        </a:defRPr>
      </a:lvl5pPr>
      <a:lvl6pPr marL="2743051" algn="l" defTabSz="548610" rtl="0" eaLnBrk="1" latinLnBrk="0" hangingPunct="1">
        <a:defRPr sz="2160" kern="1200">
          <a:solidFill>
            <a:schemeClr val="tx1"/>
          </a:solidFill>
          <a:latin typeface="+mn-lt"/>
          <a:ea typeface="+mn-ea"/>
          <a:cs typeface="+mn-cs"/>
        </a:defRPr>
      </a:lvl6pPr>
      <a:lvl7pPr marL="3291660" algn="l" defTabSz="548610" rtl="0" eaLnBrk="1" latinLnBrk="0" hangingPunct="1">
        <a:defRPr sz="2160" kern="1200">
          <a:solidFill>
            <a:schemeClr val="tx1"/>
          </a:solidFill>
          <a:latin typeface="+mn-lt"/>
          <a:ea typeface="+mn-ea"/>
          <a:cs typeface="+mn-cs"/>
        </a:defRPr>
      </a:lvl7pPr>
      <a:lvl8pPr marL="3840269" algn="l" defTabSz="548610" rtl="0" eaLnBrk="1" latinLnBrk="0" hangingPunct="1">
        <a:defRPr sz="2160" kern="1200">
          <a:solidFill>
            <a:schemeClr val="tx1"/>
          </a:solidFill>
          <a:latin typeface="+mn-lt"/>
          <a:ea typeface="+mn-ea"/>
          <a:cs typeface="+mn-cs"/>
        </a:defRPr>
      </a:lvl8pPr>
      <a:lvl9pPr marL="4388877" algn="l" defTabSz="54861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4" userDrawn="1">
          <p15:clr>
            <a:srgbClr val="F26B43"/>
          </p15:clr>
        </p15:guide>
        <p15:guide id="2" pos="520" userDrawn="1">
          <p15:clr>
            <a:srgbClr val="F26B43"/>
          </p15:clr>
        </p15:guide>
        <p15:guide id="3" pos="7160" userDrawn="1">
          <p15:clr>
            <a:srgbClr val="F26B43"/>
          </p15:clr>
        </p15:guide>
        <p15:guide id="4" orient="horz" pos="1153" userDrawn="1">
          <p15:clr>
            <a:srgbClr val="F26B43"/>
          </p15:clr>
        </p15:guide>
        <p15:guide id="5" orient="horz" pos="3793" userDrawn="1">
          <p15:clr>
            <a:srgbClr val="F26B43"/>
          </p15:clr>
        </p15:guide>
        <p15:guide id="6" orient="horz" pos="93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77721A6-BD6A-4708-8340-32907EB1DD5E}"/>
              </a:ext>
            </a:extLst>
          </p:cNvPr>
          <p:cNvGraphicFramePr>
            <a:graphicFrameLocks noChangeAspect="1"/>
          </p:cNvGraphicFramePr>
          <p:nvPr userDrawn="1">
            <p:custDataLst>
              <p:tags r:id="rId27"/>
            </p:custDataLst>
            <p:extLst>
              <p:ext uri="{D42A27DB-BD31-4B8C-83A1-F6EECF244321}">
                <p14:modId xmlns:p14="http://schemas.microsoft.com/office/powerpoint/2010/main" val="1175074132"/>
              </p:ext>
            </p:extLst>
          </p:nvPr>
        </p:nvGraphicFramePr>
        <p:xfrm>
          <a:off x="1905" y="1905"/>
          <a:ext cx="1907" cy="1907"/>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11" name="Object 10" hidden="1">
                        <a:extLst>
                          <a:ext uri="{FF2B5EF4-FFF2-40B4-BE49-F238E27FC236}">
                            <a16:creationId xmlns:a16="http://schemas.microsoft.com/office/drawing/2014/main" id="{277721A6-BD6A-4708-8340-32907EB1DD5E}"/>
                          </a:ext>
                        </a:extLst>
                      </p:cNvPr>
                      <p:cNvPicPr/>
                      <p:nvPr/>
                    </p:nvPicPr>
                    <p:blipFill>
                      <a:blip r:embed="rId30"/>
                      <a:stretch>
                        <a:fillRect/>
                      </a:stretch>
                    </p:blipFill>
                    <p:spPr>
                      <a:xfrm>
                        <a:off x="1905" y="1905"/>
                        <a:ext cx="1907" cy="190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E6A9C7A-2E23-48C6-AD30-0D78302C1A59}"/>
              </a:ext>
            </a:extLst>
          </p:cNvPr>
          <p:cNvSpPr/>
          <p:nvPr userDrawn="1">
            <p:custDataLst>
              <p:tags r:id="rId28"/>
            </p:custDataLst>
          </p:nvPr>
        </p:nvSpPr>
        <p:spPr>
          <a:xfrm>
            <a:off x="2" y="2"/>
            <a:ext cx="190500" cy="190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29236" y="577216"/>
            <a:ext cx="10535861" cy="907097"/>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829239" y="1830707"/>
            <a:ext cx="10537900" cy="41910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err="1"/>
              <a:t>Sixt</a:t>
            </a:r>
            <a:r>
              <a:rPr lang="en-GB" noProof="0" dirty="0"/>
              <a:t> level</a:t>
            </a:r>
          </a:p>
          <a:p>
            <a:pPr lvl="6"/>
            <a:r>
              <a:rPr lang="en-GB" noProof="0" dirty="0"/>
              <a:t>Seventh level</a:t>
            </a:r>
          </a:p>
          <a:p>
            <a:pPr lvl="7"/>
            <a:r>
              <a:rPr lang="en-GB" noProof="0" dirty="0"/>
              <a:t>Eight level</a:t>
            </a:r>
          </a:p>
          <a:p>
            <a:pPr lvl="8"/>
            <a:r>
              <a:rPr lang="en-GB" noProof="0" dirty="0" err="1"/>
              <a:t>Nineth</a:t>
            </a:r>
            <a:r>
              <a:rPr lang="en-GB" noProof="0" dirty="0"/>
              <a:t> level</a:t>
            </a:r>
          </a:p>
        </p:txBody>
      </p:sp>
      <p:sp>
        <p:nvSpPr>
          <p:cNvPr id="5" name="Footer Placeholder 4"/>
          <p:cNvSpPr>
            <a:spLocks noGrp="1"/>
          </p:cNvSpPr>
          <p:nvPr>
            <p:ph type="ftr" sz="quarter" idx="3"/>
          </p:nvPr>
        </p:nvSpPr>
        <p:spPr>
          <a:xfrm>
            <a:off x="1348031" y="6319500"/>
            <a:ext cx="4446000" cy="365125"/>
          </a:xfrm>
          <a:prstGeom prst="rect">
            <a:avLst/>
          </a:prstGeom>
        </p:spPr>
        <p:txBody>
          <a:bodyPr vert="horz" wrap="none" lIns="0" tIns="0" rIns="0" bIns="0" rtlCol="0" anchor="ctr">
            <a:noAutofit/>
          </a:bodyPr>
          <a:lstStyle>
            <a:lvl1pPr algn="l" eaLnBrk="1">
              <a:defRPr sz="1000" b="0">
                <a:solidFill>
                  <a:schemeClr val="accent6"/>
                </a:solidFill>
                <a:latin typeface="Arial"/>
                <a:cs typeface="Arial"/>
              </a:defRPr>
            </a:lvl1pPr>
          </a:lstStyle>
          <a:p>
            <a:r>
              <a:rPr lang="en-GB" dirty="0"/>
              <a:t>markus.schoppmann@statkraft.com / ECG / 29.09.2020</a:t>
            </a:r>
          </a:p>
        </p:txBody>
      </p:sp>
      <p:sp>
        <p:nvSpPr>
          <p:cNvPr id="6" name="Slide Number Placeholder 5"/>
          <p:cNvSpPr>
            <a:spLocks noGrp="1"/>
          </p:cNvSpPr>
          <p:nvPr>
            <p:ph type="sldNum" sz="quarter" idx="4"/>
          </p:nvPr>
        </p:nvSpPr>
        <p:spPr>
          <a:xfrm>
            <a:off x="829236" y="6319500"/>
            <a:ext cx="452320" cy="365125"/>
          </a:xfrm>
          <a:prstGeom prst="rect">
            <a:avLst/>
          </a:prstGeom>
        </p:spPr>
        <p:txBody>
          <a:bodyPr vert="horz" wrap="none" lIns="0" tIns="0" rIns="0" bIns="0" rtlCol="0" anchor="ctr">
            <a:noAutofit/>
          </a:bodyPr>
          <a:lstStyle>
            <a:lvl1pPr algn="l">
              <a:defRPr sz="1000" b="0">
                <a:solidFill>
                  <a:schemeClr val="accent6"/>
                </a:solidFill>
                <a:latin typeface="Arial"/>
                <a:cs typeface="Arial"/>
              </a:defRPr>
            </a:lvl1pPr>
          </a:lstStyle>
          <a:p>
            <a:fld id="{5B2ACB19-C0E1-7345-B8BA-15A723BE30E5}" type="slidenum">
              <a:rPr lang="en-GB" smtClean="0"/>
              <a:pPr/>
              <a:t>‹#›</a:t>
            </a:fld>
            <a:endParaRPr lang="en-GB" dirty="0"/>
          </a:p>
        </p:txBody>
      </p:sp>
      <p:grpSp>
        <p:nvGrpSpPr>
          <p:cNvPr id="23" name="Group 22">
            <a:extLst>
              <a:ext uri="{FF2B5EF4-FFF2-40B4-BE49-F238E27FC236}">
                <a16:creationId xmlns:a16="http://schemas.microsoft.com/office/drawing/2014/main" id="{DB727649-DA60-4222-B58B-0786112CEE78}"/>
              </a:ext>
            </a:extLst>
          </p:cNvPr>
          <p:cNvGrpSpPr/>
          <p:nvPr userDrawn="1"/>
        </p:nvGrpSpPr>
        <p:grpSpPr>
          <a:xfrm>
            <a:off x="10323364" y="6340537"/>
            <a:ext cx="1047345" cy="283354"/>
            <a:chOff x="1533524" y="369094"/>
            <a:chExt cx="2243139" cy="606869"/>
          </a:xfrm>
        </p:grpSpPr>
        <p:pic>
          <p:nvPicPr>
            <p:cNvPr id="24" name="Graphic 23">
              <a:extLst>
                <a:ext uri="{FF2B5EF4-FFF2-40B4-BE49-F238E27FC236}">
                  <a16:creationId xmlns:a16="http://schemas.microsoft.com/office/drawing/2014/main" id="{EB54AED3-C389-47FA-B373-818250A154E3}"/>
                </a:ext>
              </a:extLst>
            </p:cNvPr>
            <p:cNvPicPr>
              <a:picLocks noChangeAspect="1"/>
            </p:cNvPicPr>
            <p:nvPr/>
          </p:nvPicPr>
          <p:blipFill>
            <a:blip r:embed="rId31" cstate="print">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277949" y="521688"/>
              <a:ext cx="1498714" cy="302750"/>
            </a:xfrm>
            <a:prstGeom prst="rect">
              <a:avLst/>
            </a:prstGeom>
          </p:spPr>
        </p:pic>
        <p:pic>
          <p:nvPicPr>
            <p:cNvPr id="25" name="Picture 24">
              <a:extLst>
                <a:ext uri="{FF2B5EF4-FFF2-40B4-BE49-F238E27FC236}">
                  <a16:creationId xmlns:a16="http://schemas.microsoft.com/office/drawing/2014/main" id="{A82BC5DF-C636-48C9-A020-1643C098A78B}"/>
                </a:ext>
              </a:extLst>
            </p:cNvPr>
            <p:cNvPicPr>
              <a:picLocks noChangeAspect="1"/>
            </p:cNvPicPr>
            <p:nvPr/>
          </p:nvPicPr>
          <p:blipFill rotWithShape="1">
            <a:blip r:embed="rId33" cstate="print">
              <a:extLst>
                <a:ext uri="{28A0092B-C50C-407E-A947-70E740481C1C}">
                  <a14:useLocalDpi xmlns:a14="http://schemas.microsoft.com/office/drawing/2010/main" val="0"/>
                </a:ext>
              </a:extLst>
            </a:blip>
            <a:srcRect l="871" t="847" r="871" b="847"/>
            <a:stretch/>
          </p:blipFill>
          <p:spPr>
            <a:xfrm>
              <a:off x="1533524" y="369094"/>
              <a:ext cx="607220" cy="606869"/>
            </a:xfrm>
            <a:prstGeom prst="ellipse">
              <a:avLst/>
            </a:prstGeom>
            <a:ln w="63500" cap="rnd">
              <a:noFill/>
            </a:ln>
            <a:effectLst/>
          </p:spPr>
        </p:pic>
      </p:grpSp>
    </p:spTree>
    <p:extLst>
      <p:ext uri="{BB962C8B-B14F-4D97-AF65-F5344CB8AC3E}">
        <p14:creationId xmlns:p14="http://schemas.microsoft.com/office/powerpoint/2010/main" val="45835592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48610" rtl="0" eaLnBrk="1" latinLnBrk="0" hangingPunct="1">
        <a:lnSpc>
          <a:spcPct val="100000"/>
        </a:lnSpc>
        <a:spcBef>
          <a:spcPct val="0"/>
        </a:spcBef>
        <a:buNone/>
        <a:defRPr sz="3200" b="1" kern="1200">
          <a:solidFill>
            <a:schemeClr val="accent5"/>
          </a:solidFill>
          <a:latin typeface="Arial"/>
          <a:ea typeface="+mj-ea"/>
          <a:cs typeface="Arial"/>
        </a:defRPr>
      </a:lvl1pPr>
    </p:titleStyle>
    <p:bodyStyle>
      <a:lvl1pPr marL="215993" indent="-215993" algn="l" defTabSz="548610" rtl="0" eaLnBrk="1" latinLnBrk="0" hangingPunct="1">
        <a:lnSpc>
          <a:spcPct val="100000"/>
        </a:lnSpc>
        <a:spcBef>
          <a:spcPts val="1200"/>
        </a:spcBef>
        <a:buClr>
          <a:schemeClr val="accent1"/>
        </a:buClr>
        <a:buSzPct val="120000"/>
        <a:buFont typeface="Arial" panose="020B0604020202020204" pitchFamily="34" charset="0"/>
        <a:buChar char="•"/>
        <a:defRPr sz="2000" kern="1200">
          <a:solidFill>
            <a:schemeClr val="accent5"/>
          </a:solidFill>
          <a:latin typeface="Arial"/>
          <a:ea typeface="+mn-ea"/>
          <a:cs typeface="Arial"/>
        </a:defRPr>
      </a:lvl1pPr>
      <a:lvl2pPr marL="473075" indent="-236538" algn="l" defTabSz="548610" rtl="0" eaLnBrk="1" latinLnBrk="0" hangingPunct="1">
        <a:lnSpc>
          <a:spcPct val="100000"/>
        </a:lnSpc>
        <a:spcBef>
          <a:spcPts val="600"/>
        </a:spcBef>
        <a:buClr>
          <a:schemeClr val="accent1"/>
        </a:buClr>
        <a:buSzPct val="110000"/>
        <a:buFont typeface="Arial" panose="020B0604020202020204" pitchFamily="34" charset="0"/>
        <a:buChar char="-"/>
        <a:defRPr sz="1800" kern="1200">
          <a:solidFill>
            <a:schemeClr val="accent5"/>
          </a:solidFill>
          <a:latin typeface="Arial"/>
          <a:ea typeface="+mn-ea"/>
          <a:cs typeface="Arial"/>
        </a:defRPr>
      </a:lvl2pPr>
      <a:lvl3pPr marL="691176" indent="-194304" algn="l" defTabSz="548610" rtl="0" eaLnBrk="1" latinLnBrk="0" hangingPunct="1">
        <a:lnSpc>
          <a:spcPct val="100000"/>
        </a:lnSpc>
        <a:spcBef>
          <a:spcPts val="600"/>
        </a:spcBef>
        <a:buClr>
          <a:schemeClr val="accent1"/>
        </a:buClr>
        <a:buFont typeface="Arial" panose="020B0604020202020204" pitchFamily="34" charset="0"/>
        <a:buChar char="•"/>
        <a:defRPr sz="1600" kern="1200">
          <a:solidFill>
            <a:schemeClr val="accent5"/>
          </a:solidFill>
          <a:latin typeface="Arial"/>
          <a:ea typeface="+mn-ea"/>
          <a:cs typeface="Arial"/>
        </a:defRPr>
      </a:lvl3pPr>
      <a:lvl4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Arial"/>
          <a:ea typeface="+mn-ea"/>
          <a:cs typeface="Arial"/>
        </a:defRPr>
      </a:lvl4pPr>
      <a:lvl5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Arial"/>
          <a:ea typeface="+mn-ea"/>
          <a:cs typeface="Arial"/>
        </a:defRPr>
      </a:lvl5pPr>
      <a:lvl6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mn-lt"/>
          <a:ea typeface="+mn-ea"/>
          <a:cs typeface="+mn-cs"/>
        </a:defRPr>
      </a:lvl6pPr>
      <a:lvl7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mn-lt"/>
          <a:ea typeface="+mn-ea"/>
          <a:cs typeface="+mn-cs"/>
        </a:defRPr>
      </a:lvl7pPr>
      <a:lvl8pPr marL="691200" indent="-194400" algn="l" defTabSz="548610" rtl="0" eaLnBrk="1" latinLnBrk="0" hangingPunct="1">
        <a:spcBef>
          <a:spcPts val="600"/>
        </a:spcBef>
        <a:buClr>
          <a:schemeClr val="bg2"/>
        </a:buClr>
        <a:buFont typeface="Arial" panose="020B0604020202020204" pitchFamily="34" charset="0"/>
        <a:buChar char="•"/>
        <a:defRPr sz="1600" kern="1200">
          <a:solidFill>
            <a:schemeClr val="accent5"/>
          </a:solidFill>
          <a:latin typeface="+mn-lt"/>
          <a:ea typeface="+mn-ea"/>
          <a:cs typeface="+mn-cs"/>
        </a:defRPr>
      </a:lvl8pPr>
      <a:lvl9pPr marL="691200" indent="-194400" algn="l" defTabSz="548610" rtl="0" eaLnBrk="1" latinLnBrk="0" hangingPunct="1">
        <a:spcBef>
          <a:spcPts val="600"/>
        </a:spcBef>
        <a:buClr>
          <a:schemeClr val="bg2"/>
        </a:buClr>
        <a:buFont typeface="Arial"/>
        <a:buChar char="•"/>
        <a:defRPr sz="1600" kern="1200">
          <a:solidFill>
            <a:schemeClr val="accent5"/>
          </a:solidFill>
          <a:latin typeface="+mn-lt"/>
          <a:ea typeface="+mn-ea"/>
          <a:cs typeface="+mn-cs"/>
        </a:defRPr>
      </a:lvl9pPr>
    </p:bodyStyle>
    <p:otherStyle>
      <a:defPPr>
        <a:defRPr lang="en-US"/>
      </a:defPPr>
      <a:lvl1pPr marL="0" algn="l" defTabSz="548610" rtl="0" eaLnBrk="1" latinLnBrk="0" hangingPunct="1">
        <a:defRPr sz="2160" kern="1200">
          <a:solidFill>
            <a:schemeClr val="tx1"/>
          </a:solidFill>
          <a:latin typeface="+mn-lt"/>
          <a:ea typeface="+mn-ea"/>
          <a:cs typeface="+mn-cs"/>
        </a:defRPr>
      </a:lvl1pPr>
      <a:lvl2pPr marL="548610" algn="l" defTabSz="548610" rtl="0" eaLnBrk="1" latinLnBrk="0" hangingPunct="1">
        <a:defRPr sz="2160" kern="1200">
          <a:solidFill>
            <a:schemeClr val="tx1"/>
          </a:solidFill>
          <a:latin typeface="+mn-lt"/>
          <a:ea typeface="+mn-ea"/>
          <a:cs typeface="+mn-cs"/>
        </a:defRPr>
      </a:lvl2pPr>
      <a:lvl3pPr marL="1097221" algn="l" defTabSz="548610" rtl="0" eaLnBrk="1" latinLnBrk="0" hangingPunct="1">
        <a:defRPr sz="2160" kern="1200">
          <a:solidFill>
            <a:schemeClr val="tx1"/>
          </a:solidFill>
          <a:latin typeface="+mn-lt"/>
          <a:ea typeface="+mn-ea"/>
          <a:cs typeface="+mn-cs"/>
        </a:defRPr>
      </a:lvl3pPr>
      <a:lvl4pPr marL="1645831" algn="l" defTabSz="548610" rtl="0" eaLnBrk="1" latinLnBrk="0" hangingPunct="1">
        <a:defRPr sz="2160" kern="1200">
          <a:solidFill>
            <a:schemeClr val="tx1"/>
          </a:solidFill>
          <a:latin typeface="+mn-lt"/>
          <a:ea typeface="+mn-ea"/>
          <a:cs typeface="+mn-cs"/>
        </a:defRPr>
      </a:lvl4pPr>
      <a:lvl5pPr marL="2194440" algn="l" defTabSz="548610" rtl="0" eaLnBrk="1" latinLnBrk="0" hangingPunct="1">
        <a:defRPr sz="2160" kern="1200">
          <a:solidFill>
            <a:schemeClr val="tx1"/>
          </a:solidFill>
          <a:latin typeface="+mn-lt"/>
          <a:ea typeface="+mn-ea"/>
          <a:cs typeface="+mn-cs"/>
        </a:defRPr>
      </a:lvl5pPr>
      <a:lvl6pPr marL="2743051" algn="l" defTabSz="548610" rtl="0" eaLnBrk="1" latinLnBrk="0" hangingPunct="1">
        <a:defRPr sz="2160" kern="1200">
          <a:solidFill>
            <a:schemeClr val="tx1"/>
          </a:solidFill>
          <a:latin typeface="+mn-lt"/>
          <a:ea typeface="+mn-ea"/>
          <a:cs typeface="+mn-cs"/>
        </a:defRPr>
      </a:lvl6pPr>
      <a:lvl7pPr marL="3291660" algn="l" defTabSz="548610" rtl="0" eaLnBrk="1" latinLnBrk="0" hangingPunct="1">
        <a:defRPr sz="2160" kern="1200">
          <a:solidFill>
            <a:schemeClr val="tx1"/>
          </a:solidFill>
          <a:latin typeface="+mn-lt"/>
          <a:ea typeface="+mn-ea"/>
          <a:cs typeface="+mn-cs"/>
        </a:defRPr>
      </a:lvl7pPr>
      <a:lvl8pPr marL="3840269" algn="l" defTabSz="548610" rtl="0" eaLnBrk="1" latinLnBrk="0" hangingPunct="1">
        <a:defRPr sz="2160" kern="1200">
          <a:solidFill>
            <a:schemeClr val="tx1"/>
          </a:solidFill>
          <a:latin typeface="+mn-lt"/>
          <a:ea typeface="+mn-ea"/>
          <a:cs typeface="+mn-cs"/>
        </a:defRPr>
      </a:lvl8pPr>
      <a:lvl9pPr marL="4388877" algn="l" defTabSz="54861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4">
          <p15:clr>
            <a:srgbClr val="F26B43"/>
          </p15:clr>
        </p15:guide>
        <p15:guide id="2" pos="520">
          <p15:clr>
            <a:srgbClr val="F26B43"/>
          </p15:clr>
        </p15:guide>
        <p15:guide id="3" pos="7160">
          <p15:clr>
            <a:srgbClr val="F26B43"/>
          </p15:clr>
        </p15:guide>
        <p15:guide id="4" orient="horz" pos="1153">
          <p15:clr>
            <a:srgbClr val="F26B43"/>
          </p15:clr>
        </p15:guide>
        <p15:guide id="5" orient="horz" pos="3793">
          <p15:clr>
            <a:srgbClr val="F26B43"/>
          </p15:clr>
        </p15:guide>
        <p15:guide id="6" orient="horz" pos="93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notesSlide" Target="../notesSlides/notesSlide2.xml"/><Relationship Id="rId7" Type="http://schemas.openxmlformats.org/officeDocument/2006/relationships/image" Target="../media/image12.png"/><Relationship Id="rId2" Type="http://schemas.openxmlformats.org/officeDocument/2006/relationships/slideLayout" Target="../slideLayouts/slideLayout14.xml"/><Relationship Id="rId1" Type="http://schemas.openxmlformats.org/officeDocument/2006/relationships/tags" Target="../tags/tag82.xml"/><Relationship Id="rId6" Type="http://schemas.openxmlformats.org/officeDocument/2006/relationships/image" Target="../media/image11.jpeg"/><Relationship Id="rId11" Type="http://schemas.openxmlformats.org/officeDocument/2006/relationships/image" Target="../media/image15.jpg"/><Relationship Id="rId5" Type="http://schemas.openxmlformats.org/officeDocument/2006/relationships/image" Target="../media/image1.emf"/><Relationship Id="rId10" Type="http://schemas.openxmlformats.org/officeDocument/2006/relationships/image" Target="../media/image14.jpeg"/><Relationship Id="rId4" Type="http://schemas.openxmlformats.org/officeDocument/2006/relationships/oleObject" Target="../embeddings/oleObject51.bin"/><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xml"/><Relationship Id="rId5" Type="http://schemas.openxmlformats.org/officeDocument/2006/relationships/image" Target="../media/image62.jpeg"/><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8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84.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18" Type="http://schemas.openxmlformats.org/officeDocument/2006/relationships/image" Target="../media/image29.svg"/><Relationship Id="rId3" Type="http://schemas.openxmlformats.org/officeDocument/2006/relationships/slideLayout" Target="../slideLayouts/slideLayout35.xml"/><Relationship Id="rId21" Type="http://schemas.openxmlformats.org/officeDocument/2006/relationships/image" Target="../media/image8.pn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 Type="http://schemas.openxmlformats.org/officeDocument/2006/relationships/tags" Target="../tags/tag86.xml"/><Relationship Id="rId16" Type="http://schemas.openxmlformats.org/officeDocument/2006/relationships/image" Target="../media/image27.svg"/><Relationship Id="rId20" Type="http://schemas.openxmlformats.org/officeDocument/2006/relationships/image" Target="../media/image13.svg"/><Relationship Id="rId1" Type="http://schemas.openxmlformats.org/officeDocument/2006/relationships/tags" Target="../tags/tag85.xml"/><Relationship Id="rId6" Type="http://schemas.openxmlformats.org/officeDocument/2006/relationships/image" Target="../media/image1.emf"/><Relationship Id="rId11" Type="http://schemas.openxmlformats.org/officeDocument/2006/relationships/image" Target="../media/image22.png"/><Relationship Id="rId5" Type="http://schemas.openxmlformats.org/officeDocument/2006/relationships/oleObject" Target="../embeddings/oleObject54.bin"/><Relationship Id="rId15" Type="http://schemas.openxmlformats.org/officeDocument/2006/relationships/image" Target="../media/image26.png"/><Relationship Id="rId10" Type="http://schemas.openxmlformats.org/officeDocument/2006/relationships/image" Target="../media/image21.svg"/><Relationship Id="rId19" Type="http://schemas.openxmlformats.org/officeDocument/2006/relationships/image" Target="../media/image12.png"/><Relationship Id="rId4" Type="http://schemas.openxmlformats.org/officeDocument/2006/relationships/notesSlide" Target="../notesSlides/notesSlide5.xml"/><Relationship Id="rId9" Type="http://schemas.openxmlformats.org/officeDocument/2006/relationships/image" Target="../media/image20.png"/><Relationship Id="rId14" Type="http://schemas.openxmlformats.org/officeDocument/2006/relationships/image" Target="../media/image25.svg"/></Relationships>
</file>

<file path=ppt/slides/_rels/slide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3.xml"/><Relationship Id="rId7" Type="http://schemas.openxmlformats.org/officeDocument/2006/relationships/image" Target="../media/image30.jpe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6.xml"/><Relationship Id="rId9" Type="http://schemas.openxmlformats.org/officeDocument/2006/relationships/image" Target="../media/image32.jpe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jp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jpg"/><Relationship Id="rId2" Type="http://schemas.openxmlformats.org/officeDocument/2006/relationships/image" Target="../media/image34.png"/><Relationship Id="rId1" Type="http://schemas.openxmlformats.org/officeDocument/2006/relationships/slideLayout" Target="../slideLayouts/slideLayout10.xml"/><Relationship Id="rId6" Type="http://schemas.openxmlformats.org/officeDocument/2006/relationships/image" Target="../media/image38.png"/><Relationship Id="rId11" Type="http://schemas.openxmlformats.org/officeDocument/2006/relationships/image" Target="../media/image43.jpe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jpg"/><Relationship Id="rId14" Type="http://schemas.openxmlformats.org/officeDocument/2006/relationships/image" Target="../media/image46.jpg"/></Relationships>
</file>

<file path=ppt/slides/_rels/slide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5C7472-0122-498F-A4B5-9F1E63460D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0C5C7472-0122-498F-A4B5-9F1E63460D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DD394A-FC17-4EB0-88B8-28BEA14BD35B}"/>
              </a:ext>
            </a:extLst>
          </p:cNvPr>
          <p:cNvSpPr/>
          <p:nvPr>
            <p:custDataLst>
              <p:tags r:id="rId2"/>
            </p:custDataLst>
          </p:nvPr>
        </p:nvSpPr>
        <p:spPr>
          <a:xfrm>
            <a:off x="0" y="0"/>
            <a:ext cx="158750" cy="15875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en-GB" sz="3600" b="1">
              <a:solidFill>
                <a:schemeClr val="accent5"/>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43F5658-C739-4D25-925A-FB50074B643F}"/>
              </a:ext>
            </a:extLst>
          </p:cNvPr>
          <p:cNvSpPr>
            <a:spLocks noGrp="1"/>
          </p:cNvSpPr>
          <p:nvPr>
            <p:ph type="ctrTitle"/>
          </p:nvPr>
        </p:nvSpPr>
        <p:spPr>
          <a:xfrm>
            <a:off x="1524000" y="1255924"/>
            <a:ext cx="4411980" cy="2908452"/>
          </a:xfrm>
        </p:spPr>
        <p:txBody>
          <a:bodyPr/>
          <a:lstStyle/>
          <a:p>
            <a:r>
              <a:rPr lang="en-GB" sz="3000" dirty="0" err="1">
                <a:solidFill>
                  <a:schemeClr val="accent1"/>
                </a:solidFill>
              </a:rPr>
              <a:t>Bürgerdialog</a:t>
            </a:r>
            <a:br>
              <a:rPr lang="en-GB" sz="2000" dirty="0">
                <a:solidFill>
                  <a:schemeClr val="accent1"/>
                </a:solidFill>
              </a:rPr>
            </a:br>
            <a:r>
              <a:rPr lang="en-GB" sz="3200" dirty="0">
                <a:solidFill>
                  <a:schemeClr val="accent1"/>
                </a:solidFill>
              </a:rPr>
              <a:t>Windpark Eilte-Ahlden</a:t>
            </a:r>
            <a:br>
              <a:rPr lang="en-GB" sz="2000" b="0" dirty="0">
                <a:solidFill>
                  <a:schemeClr val="accent1"/>
                </a:solidFill>
              </a:rPr>
            </a:br>
            <a:br>
              <a:rPr lang="en-GB" sz="2000" b="0" dirty="0">
                <a:solidFill>
                  <a:schemeClr val="accent1"/>
                </a:solidFill>
              </a:rPr>
            </a:br>
            <a:r>
              <a:rPr lang="en-GB" sz="5400" b="0" dirty="0" err="1"/>
              <a:t>Herzlich</a:t>
            </a:r>
            <a:r>
              <a:rPr lang="en-GB" sz="5400" b="0" dirty="0"/>
              <a:t> </a:t>
            </a:r>
            <a:br>
              <a:rPr lang="en-GB" sz="5400" b="0" dirty="0"/>
            </a:br>
            <a:r>
              <a:rPr lang="en-GB" sz="5400" b="0" dirty="0" err="1"/>
              <a:t>willkommen</a:t>
            </a:r>
            <a:r>
              <a:rPr lang="en-GB" sz="5400" b="0" dirty="0"/>
              <a:t>! </a:t>
            </a:r>
            <a:endParaRPr lang="en-GB" sz="3200" b="0" dirty="0">
              <a:solidFill>
                <a:schemeClr val="accent1"/>
              </a:solidFill>
            </a:endParaRPr>
          </a:p>
        </p:txBody>
      </p:sp>
      <p:pic>
        <p:nvPicPr>
          <p:cNvPr id="9" name="Picture Placeholder 8" descr="A windmill in a field&#10;&#10;Description automatically generated with low confidence">
            <a:extLst>
              <a:ext uri="{FF2B5EF4-FFF2-40B4-BE49-F238E27FC236}">
                <a16:creationId xmlns:a16="http://schemas.microsoft.com/office/drawing/2014/main" id="{E3B73DBB-4450-4729-8F8C-2B8C5872B9D4}"/>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t="7845" b="7845"/>
          <a:stretch>
            <a:fillRect/>
          </a:stretch>
        </p:blipFill>
        <p:spPr/>
      </p:pic>
    </p:spTree>
    <p:extLst>
      <p:ext uri="{BB962C8B-B14F-4D97-AF65-F5344CB8AC3E}">
        <p14:creationId xmlns:p14="http://schemas.microsoft.com/office/powerpoint/2010/main" val="60003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275B17-DF40-4F99-AC7F-A335BA482CF8}"/>
              </a:ext>
            </a:extLst>
          </p:cNvPr>
          <p:cNvSpPr>
            <a:spLocks noGrp="1"/>
          </p:cNvSpPr>
          <p:nvPr>
            <p:ph sz="quarter" idx="13"/>
          </p:nvPr>
        </p:nvSpPr>
        <p:spPr>
          <a:xfrm>
            <a:off x="824866" y="1830707"/>
            <a:ext cx="5144133" cy="4191000"/>
          </a:xfrm>
        </p:spPr>
        <p:txBody>
          <a:bodyPr>
            <a:noAutofit/>
          </a:bodyPr>
          <a:lstStyle/>
          <a:p>
            <a:r>
              <a:rPr lang="de-DE"/>
              <a:t>80 % Strom aus Erneuerbaren bis 2030 – fast 2x so viel wie heute</a:t>
            </a:r>
          </a:p>
          <a:p>
            <a:pPr marL="0" indent="0">
              <a:buNone/>
            </a:pPr>
            <a:endParaRPr lang="de-DE"/>
          </a:p>
          <a:p>
            <a:r>
              <a:rPr lang="de-DE"/>
              <a:t>Wind &amp; Solar müssen 3x schneller ausgebaut werden</a:t>
            </a:r>
          </a:p>
          <a:p>
            <a:endParaRPr lang="de-DE"/>
          </a:p>
          <a:p>
            <a:r>
              <a:rPr lang="de-DE"/>
              <a:t>Abstandsregeln, Schutzzonen, Umwelt- &amp; Naturschutz begrenzen Flächenangebot</a:t>
            </a:r>
          </a:p>
          <a:p>
            <a:endParaRPr lang="de-DE"/>
          </a:p>
          <a:p>
            <a:r>
              <a:rPr lang="de-DE"/>
              <a:t>Flächen müssen hinsichtlich Windhöffigkeit, Einstrahlung &amp; topographisch geeignet sein  </a:t>
            </a:r>
            <a:br>
              <a:rPr lang="de-DE"/>
            </a:br>
            <a:endParaRPr lang="en-GB"/>
          </a:p>
        </p:txBody>
      </p:sp>
      <p:pic>
        <p:nvPicPr>
          <p:cNvPr id="31746" name="Picture 2" descr="Vind, solar">
            <a:extLst>
              <a:ext uri="{FF2B5EF4-FFF2-40B4-BE49-F238E27FC236}">
                <a16:creationId xmlns:a16="http://schemas.microsoft.com/office/drawing/2014/main" id="{F8D9B67B-4A8C-464A-B143-D163565FDD0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426" r="11167" b="2"/>
          <a:stretch/>
        </p:blipFill>
        <p:spPr bwMode="auto">
          <a:xfrm>
            <a:off x="6399213" y="3175"/>
            <a:ext cx="5792787" cy="68548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AE5FFB6-B787-4499-82AF-6602AD235B65}"/>
              </a:ext>
            </a:extLst>
          </p:cNvPr>
          <p:cNvSpPr>
            <a:spLocks noGrp="1"/>
          </p:cNvSpPr>
          <p:nvPr>
            <p:ph type="title"/>
          </p:nvPr>
        </p:nvSpPr>
        <p:spPr>
          <a:xfrm>
            <a:off x="829237" y="577216"/>
            <a:ext cx="5569976" cy="907097"/>
          </a:xfrm>
        </p:spPr>
        <p:txBody>
          <a:bodyPr anchor="t">
            <a:normAutofit/>
          </a:bodyPr>
          <a:lstStyle/>
          <a:p>
            <a:pPr>
              <a:lnSpc>
                <a:spcPct val="90000"/>
              </a:lnSpc>
            </a:pPr>
            <a:r>
              <a:rPr lang="en-GB"/>
              <a:t>Erneuerbare brauchen Flächen </a:t>
            </a:r>
          </a:p>
        </p:txBody>
      </p:sp>
      <p:sp>
        <p:nvSpPr>
          <p:cNvPr id="5" name="Slide Number Placeholder 4">
            <a:extLst>
              <a:ext uri="{FF2B5EF4-FFF2-40B4-BE49-F238E27FC236}">
                <a16:creationId xmlns:a16="http://schemas.microsoft.com/office/drawing/2014/main" id="{D3F27568-0473-47DA-974C-9B3E87045777}"/>
              </a:ext>
            </a:extLst>
          </p:cNvPr>
          <p:cNvSpPr>
            <a:spLocks noGrp="1"/>
          </p:cNvSpPr>
          <p:nvPr>
            <p:ph type="sldNum" sz="quarter" idx="16"/>
          </p:nvPr>
        </p:nvSpPr>
        <p:spPr>
          <a:xfrm>
            <a:off x="829236" y="6319500"/>
            <a:ext cx="452320" cy="365125"/>
          </a:xfrm>
        </p:spPr>
        <p:txBody>
          <a:bodyPr wrap="none" anchor="ctr">
            <a:normAutofit/>
          </a:bodyPr>
          <a:lstStyle/>
          <a:p>
            <a:pPr>
              <a:spcAft>
                <a:spcPts val="600"/>
              </a:spcAft>
            </a:pPr>
            <a:fld id="{5B2ACB19-C0E1-7345-B8BA-15A723BE30E5}" type="slidenum">
              <a:rPr lang="en-GB" smtClean="0"/>
              <a:pPr>
                <a:spcAft>
                  <a:spcPts val="600"/>
                </a:spcAft>
              </a:pPr>
              <a:t>10</a:t>
            </a:fld>
            <a:endParaRPr lang="en-GB"/>
          </a:p>
        </p:txBody>
      </p:sp>
    </p:spTree>
    <p:extLst>
      <p:ext uri="{BB962C8B-B14F-4D97-AF65-F5344CB8AC3E}">
        <p14:creationId xmlns:p14="http://schemas.microsoft.com/office/powerpoint/2010/main" val="391455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itra wind farm">
            <a:extLst>
              <a:ext uri="{FF2B5EF4-FFF2-40B4-BE49-F238E27FC236}">
                <a16:creationId xmlns:a16="http://schemas.microsoft.com/office/drawing/2014/main" id="{902CC9E7-2ADB-4E21-9BC6-E06C1556F58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20" y="10"/>
            <a:ext cx="12191980" cy="685799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 name="Title 4">
            <a:extLst>
              <a:ext uri="{FF2B5EF4-FFF2-40B4-BE49-F238E27FC236}">
                <a16:creationId xmlns:a16="http://schemas.microsoft.com/office/drawing/2014/main" id="{48C40C85-5125-481A-B4C6-36E2DE456AC2}"/>
              </a:ext>
            </a:extLst>
          </p:cNvPr>
          <p:cNvSpPr txBox="1">
            <a:spLocks/>
          </p:cNvSpPr>
          <p:nvPr/>
        </p:nvSpPr>
        <p:spPr>
          <a:xfrm>
            <a:off x="1524000" y="1929546"/>
            <a:ext cx="4284663" cy="2271708"/>
          </a:xfrm>
          <a:prstGeom prst="rect">
            <a:avLst/>
          </a:prstGeom>
        </p:spPr>
        <p:txBody>
          <a:bodyPr vert="horz" lIns="0" tIns="0" rIns="0" bIns="0" rtlCol="0" anchor="b" anchorCtr="0">
            <a:normAutofit/>
          </a:bodyPr>
          <a:lstStyle>
            <a:lvl1pPr algn="l" defTabSz="548610" rtl="0" eaLnBrk="1" latinLnBrk="0" hangingPunct="1">
              <a:lnSpc>
                <a:spcPct val="100000"/>
              </a:lnSpc>
              <a:spcBef>
                <a:spcPct val="0"/>
              </a:spcBef>
              <a:buNone/>
              <a:defRPr sz="3200" b="1" kern="1200">
                <a:solidFill>
                  <a:schemeClr val="accent5"/>
                </a:solidFill>
                <a:latin typeface="Arial"/>
                <a:ea typeface="+mj-ea"/>
                <a:cs typeface="Arial"/>
              </a:defRPr>
            </a:lvl1pPr>
          </a:lstStyle>
          <a:p>
            <a:pPr>
              <a:lnSpc>
                <a:spcPct val="90000"/>
              </a:lnSpc>
              <a:spcAft>
                <a:spcPts val="600"/>
              </a:spcAft>
            </a:pPr>
            <a:r>
              <a:rPr lang="en-GB" sz="4400" b="1" kern="1200" cap="none" baseline="0" dirty="0" err="1">
                <a:solidFill>
                  <a:schemeClr val="tx2"/>
                </a:solidFill>
                <a:latin typeface="Arial"/>
                <a:ea typeface="+mj-ea"/>
                <a:cs typeface="Arial"/>
              </a:rPr>
              <a:t>Planung</a:t>
            </a:r>
            <a:r>
              <a:rPr lang="en-GB" sz="4400" b="1" kern="1200" cap="none" baseline="0" dirty="0">
                <a:solidFill>
                  <a:schemeClr val="tx2"/>
                </a:solidFill>
                <a:latin typeface="Arial"/>
                <a:ea typeface="+mj-ea"/>
                <a:cs typeface="Arial"/>
              </a:rPr>
              <a:t> Windpark </a:t>
            </a:r>
          </a:p>
          <a:p>
            <a:pPr>
              <a:lnSpc>
                <a:spcPct val="90000"/>
              </a:lnSpc>
              <a:spcAft>
                <a:spcPts val="600"/>
              </a:spcAft>
            </a:pPr>
            <a:r>
              <a:rPr lang="en-GB" sz="4400" dirty="0">
                <a:solidFill>
                  <a:schemeClr val="tx2"/>
                </a:solidFill>
              </a:rPr>
              <a:t>Eilte-Ahlden</a:t>
            </a:r>
            <a:endParaRPr lang="en-GB" sz="4400" b="1" kern="1200" cap="none" baseline="0" dirty="0">
              <a:solidFill>
                <a:schemeClr val="tx2"/>
              </a:solidFill>
              <a:latin typeface="Arial"/>
              <a:ea typeface="+mj-ea"/>
              <a:cs typeface="Arial"/>
            </a:endParaRPr>
          </a:p>
        </p:txBody>
      </p:sp>
      <p:sp>
        <p:nvSpPr>
          <p:cNvPr id="5" name="Slide Number Placeholder 4" hidden="1">
            <a:extLst>
              <a:ext uri="{FF2B5EF4-FFF2-40B4-BE49-F238E27FC236}">
                <a16:creationId xmlns:a16="http://schemas.microsoft.com/office/drawing/2014/main" id="{777737BB-59FB-4FAF-8B4E-6DC6D45AF900}"/>
              </a:ext>
            </a:extLst>
          </p:cNvPr>
          <p:cNvSpPr>
            <a:spLocks noGrp="1"/>
          </p:cNvSpPr>
          <p:nvPr>
            <p:ph type="sldNum" sz="quarter" idx="4294967295"/>
          </p:nvPr>
        </p:nvSpPr>
        <p:spPr>
          <a:xfrm>
            <a:off x="829236" y="6319500"/>
            <a:ext cx="452320" cy="365125"/>
          </a:xfrm>
        </p:spPr>
        <p:txBody>
          <a:bodyPr/>
          <a:lstStyle/>
          <a:p>
            <a:pPr>
              <a:spcAft>
                <a:spcPts val="600"/>
              </a:spcAft>
            </a:pPr>
            <a:fld id="{5B2ACB19-C0E1-7345-B8BA-15A723BE30E5}" type="slidenum">
              <a:rPr lang="en-GB" smtClean="0"/>
              <a:pPr>
                <a:spcAft>
                  <a:spcPts val="600"/>
                </a:spcAft>
              </a:pPr>
              <a:t>11</a:t>
            </a:fld>
            <a:endParaRPr lang="en-GB"/>
          </a:p>
        </p:txBody>
      </p:sp>
    </p:spTree>
    <p:extLst>
      <p:ext uri="{BB962C8B-B14F-4D97-AF65-F5344CB8AC3E}">
        <p14:creationId xmlns:p14="http://schemas.microsoft.com/office/powerpoint/2010/main" val="107180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E7AF45-EC70-4159-91C7-2A4C9610059C}"/>
              </a:ext>
            </a:extLst>
          </p:cNvPr>
          <p:cNvSpPr>
            <a:spLocks noGrp="1"/>
          </p:cNvSpPr>
          <p:nvPr>
            <p:ph type="title"/>
          </p:nvPr>
        </p:nvSpPr>
        <p:spPr/>
        <p:txBody>
          <a:bodyPr/>
          <a:lstStyle/>
          <a:p>
            <a:r>
              <a:rPr lang="en-GB" dirty="0" err="1"/>
              <a:t>Ausgangsbasis</a:t>
            </a:r>
            <a:r>
              <a:rPr lang="en-GB" dirty="0"/>
              <a:t> </a:t>
            </a:r>
            <a:r>
              <a:rPr lang="en-GB" dirty="0" err="1"/>
              <a:t>für</a:t>
            </a:r>
            <a:r>
              <a:rPr lang="en-GB" dirty="0"/>
              <a:t> die </a:t>
            </a:r>
            <a:r>
              <a:rPr lang="en-GB" dirty="0" err="1"/>
              <a:t>Planung</a:t>
            </a:r>
            <a:endParaRPr lang="en-GB" dirty="0"/>
          </a:p>
        </p:txBody>
      </p:sp>
      <p:sp>
        <p:nvSpPr>
          <p:cNvPr id="4" name="Inhaltsplatzhalter 3">
            <a:extLst>
              <a:ext uri="{FF2B5EF4-FFF2-40B4-BE49-F238E27FC236}">
                <a16:creationId xmlns:a16="http://schemas.microsoft.com/office/drawing/2014/main" id="{43DDF5D7-7044-42E0-BB19-6182641FDA31}"/>
              </a:ext>
            </a:extLst>
          </p:cNvPr>
          <p:cNvSpPr>
            <a:spLocks noGrp="1"/>
          </p:cNvSpPr>
          <p:nvPr>
            <p:ph sz="quarter" idx="13"/>
          </p:nvPr>
        </p:nvSpPr>
        <p:spPr>
          <a:xfrm>
            <a:off x="824866" y="1830389"/>
            <a:ext cx="5160747" cy="4191318"/>
          </a:xfrm>
        </p:spPr>
        <p:txBody>
          <a:bodyPr/>
          <a:lstStyle/>
          <a:p>
            <a:pPr marL="0" indent="0">
              <a:buNone/>
            </a:pPr>
            <a:r>
              <a:rPr lang="en-GB" sz="1600" b="1" dirty="0" err="1"/>
              <a:t>Landesraumordnungsprogramm</a:t>
            </a:r>
            <a:r>
              <a:rPr lang="en-GB" sz="1600" b="1" dirty="0"/>
              <a:t> Niedersachsen</a:t>
            </a:r>
          </a:p>
          <a:p>
            <a:pPr>
              <a:buFont typeface="Wingdings" panose="05000000000000000000" pitchFamily="2" charset="2"/>
              <a:buChar char="§"/>
            </a:pPr>
            <a:r>
              <a:rPr lang="de-DE" sz="1600" dirty="0"/>
              <a:t>Erstmals Öffnung des Waldes für die Windenergie in Gebieten ohne Naturschutzrestriktionen oder ohne historische Bedeutsamkeit</a:t>
            </a:r>
          </a:p>
          <a:p>
            <a:pPr>
              <a:buFont typeface="Wingdings" panose="05000000000000000000" pitchFamily="2" charset="2"/>
              <a:buChar char="§"/>
            </a:pPr>
            <a:r>
              <a:rPr lang="de-DE" sz="1600" dirty="0"/>
              <a:t>Bevorzugte Errichtung von Windenergieanlagen in räumlicher Nähe zu erschöpften </a:t>
            </a:r>
            <a:r>
              <a:rPr lang="de-DE" sz="1600"/>
              <a:t>Rohstoffabbau-flächen </a:t>
            </a:r>
            <a:r>
              <a:rPr lang="de-DE" sz="1600" dirty="0"/>
              <a:t>und </a:t>
            </a:r>
            <a:r>
              <a:rPr lang="de-DE" sz="1600"/>
              <a:t>Ähnlichem</a:t>
            </a:r>
          </a:p>
          <a:p>
            <a:pPr>
              <a:buFont typeface="Wingdings" panose="05000000000000000000" pitchFamily="2" charset="2"/>
              <a:buChar char="§"/>
            </a:pPr>
            <a:endParaRPr lang="de-DE" sz="1600" dirty="0"/>
          </a:p>
          <a:p>
            <a:pPr marL="0" indent="0">
              <a:buNone/>
            </a:pPr>
            <a:r>
              <a:rPr lang="de-DE" sz="1600" b="1" dirty="0"/>
              <a:t>Potenzialflächenanalyse im Heidekreis</a:t>
            </a:r>
          </a:p>
          <a:p>
            <a:pPr marL="215993" lvl="1" indent="-215993">
              <a:spcBef>
                <a:spcPts val="1200"/>
              </a:spcBef>
              <a:buSzPct val="120000"/>
              <a:buFont typeface="Wingdings" panose="05000000000000000000" pitchFamily="2" charset="2"/>
              <a:buChar char="§"/>
            </a:pPr>
            <a:r>
              <a:rPr lang="en-GB" sz="1600"/>
              <a:t>Kaum</a:t>
            </a:r>
            <a:r>
              <a:rPr lang="en-GB" sz="1600" dirty="0"/>
              <a:t> </a:t>
            </a:r>
            <a:r>
              <a:rPr lang="en-GB" sz="1600" dirty="0" err="1"/>
              <a:t>mehr</a:t>
            </a:r>
            <a:r>
              <a:rPr lang="en-GB" sz="1600" dirty="0"/>
              <a:t> </a:t>
            </a:r>
            <a:r>
              <a:rPr lang="en-GB" sz="1600" dirty="0" err="1"/>
              <a:t>Potenzialflächen</a:t>
            </a:r>
            <a:r>
              <a:rPr lang="en-GB" sz="1600" dirty="0"/>
              <a:t> </a:t>
            </a:r>
            <a:r>
              <a:rPr lang="en-GB" sz="1600" dirty="0" err="1"/>
              <a:t>außerhalb</a:t>
            </a:r>
            <a:r>
              <a:rPr lang="en-GB" sz="1600" dirty="0"/>
              <a:t> des </a:t>
            </a:r>
            <a:r>
              <a:rPr lang="en-GB" sz="1600" dirty="0" err="1"/>
              <a:t>Waldes</a:t>
            </a:r>
            <a:r>
              <a:rPr lang="en-GB" sz="1600" dirty="0"/>
              <a:t> </a:t>
            </a:r>
            <a:r>
              <a:rPr lang="en-GB" sz="1600" dirty="0" err="1"/>
              <a:t>vorhanden</a:t>
            </a:r>
            <a:endParaRPr lang="en-GB" sz="1600" dirty="0"/>
          </a:p>
          <a:p>
            <a:pPr marL="215993" lvl="1" indent="-215993">
              <a:spcBef>
                <a:spcPts val="1200"/>
              </a:spcBef>
              <a:buSzPct val="120000"/>
              <a:buFont typeface="Wingdings" panose="05000000000000000000" pitchFamily="2" charset="2"/>
              <a:buChar char="§"/>
            </a:pPr>
            <a:r>
              <a:rPr lang="en-GB" sz="1600" dirty="0" err="1"/>
              <a:t>Gebiet</a:t>
            </a:r>
            <a:r>
              <a:rPr lang="en-GB" sz="1600" dirty="0"/>
              <a:t> um die </a:t>
            </a:r>
            <a:r>
              <a:rPr lang="en-GB" sz="1600" dirty="0" err="1"/>
              <a:t>Schotenheide</a:t>
            </a:r>
            <a:r>
              <a:rPr lang="en-GB" sz="1600" dirty="0"/>
              <a:t> </a:t>
            </a:r>
            <a:r>
              <a:rPr lang="en-GB" sz="1600" dirty="0" err="1"/>
              <a:t>ist</a:t>
            </a:r>
            <a:r>
              <a:rPr lang="en-GB" sz="1600" dirty="0"/>
              <a:t> die </a:t>
            </a:r>
            <a:r>
              <a:rPr lang="en-GB" sz="1600" dirty="0" err="1"/>
              <a:t>größte</a:t>
            </a:r>
            <a:r>
              <a:rPr lang="en-GB" sz="1600" dirty="0"/>
              <a:t> </a:t>
            </a:r>
            <a:r>
              <a:rPr lang="en-GB" sz="1600" dirty="0" err="1"/>
              <a:t>zusammenhängende</a:t>
            </a:r>
            <a:r>
              <a:rPr lang="en-GB" sz="1600" dirty="0"/>
              <a:t> </a:t>
            </a:r>
            <a:r>
              <a:rPr lang="en-GB" sz="1600" dirty="0" err="1"/>
              <a:t>Potenzialfläche</a:t>
            </a:r>
            <a:r>
              <a:rPr lang="en-GB" sz="1600" dirty="0"/>
              <a:t> </a:t>
            </a:r>
            <a:r>
              <a:rPr lang="en-GB" sz="1600" dirty="0" err="1"/>
              <a:t>im</a:t>
            </a:r>
            <a:r>
              <a:rPr lang="en-GB" sz="1600" dirty="0"/>
              <a:t> </a:t>
            </a:r>
            <a:r>
              <a:rPr lang="en-GB" sz="1600" dirty="0" err="1"/>
              <a:t>Heidekreis</a:t>
            </a:r>
            <a:endParaRPr lang="en-GB" sz="1600" dirty="0"/>
          </a:p>
          <a:p>
            <a:pPr marL="236537" lvl="1" indent="0">
              <a:buNone/>
            </a:pPr>
            <a:endParaRPr lang="en-GB" sz="1400" dirty="0"/>
          </a:p>
          <a:p>
            <a:endParaRPr lang="de-DE" sz="1600" dirty="0"/>
          </a:p>
        </p:txBody>
      </p:sp>
      <p:sp>
        <p:nvSpPr>
          <p:cNvPr id="5" name="Foliennummernplatzhalter 4">
            <a:extLst>
              <a:ext uri="{FF2B5EF4-FFF2-40B4-BE49-F238E27FC236}">
                <a16:creationId xmlns:a16="http://schemas.microsoft.com/office/drawing/2014/main" id="{D9F0AB77-AF58-411D-BDA6-E10362E5CCA4}"/>
              </a:ext>
            </a:extLst>
          </p:cNvPr>
          <p:cNvSpPr>
            <a:spLocks noGrp="1"/>
          </p:cNvSpPr>
          <p:nvPr>
            <p:ph type="sldNum" sz="quarter" idx="16"/>
          </p:nvPr>
        </p:nvSpPr>
        <p:spPr/>
        <p:txBody>
          <a:bodyPr/>
          <a:lstStyle/>
          <a:p>
            <a:fld id="{5B2ACB19-C0E1-7345-B8BA-15A723BE30E5}" type="slidenum">
              <a:rPr lang="en-GB" smtClean="0"/>
              <a:pPr/>
              <a:t>12</a:t>
            </a:fld>
            <a:endParaRPr lang="en-GB"/>
          </a:p>
        </p:txBody>
      </p:sp>
      <p:pic>
        <p:nvPicPr>
          <p:cNvPr id="7" name="Grafik 6">
            <a:extLst>
              <a:ext uri="{FF2B5EF4-FFF2-40B4-BE49-F238E27FC236}">
                <a16:creationId xmlns:a16="http://schemas.microsoft.com/office/drawing/2014/main" id="{71A6BB52-AD01-47ED-9407-0B78631941B5}"/>
              </a:ext>
            </a:extLst>
          </p:cNvPr>
          <p:cNvPicPr>
            <a:picLocks noChangeAspect="1"/>
          </p:cNvPicPr>
          <p:nvPr/>
        </p:nvPicPr>
        <p:blipFill>
          <a:blip r:embed="rId3"/>
          <a:stretch>
            <a:fillRect/>
          </a:stretch>
        </p:blipFill>
        <p:spPr>
          <a:xfrm>
            <a:off x="6049633" y="1843452"/>
            <a:ext cx="5934158" cy="4190999"/>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61603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E7AF45-EC70-4159-91C7-2A4C9610059C}"/>
              </a:ext>
            </a:extLst>
          </p:cNvPr>
          <p:cNvSpPr>
            <a:spLocks noGrp="1"/>
          </p:cNvSpPr>
          <p:nvPr>
            <p:ph type="title"/>
          </p:nvPr>
        </p:nvSpPr>
        <p:spPr/>
        <p:txBody>
          <a:bodyPr/>
          <a:lstStyle/>
          <a:p>
            <a:r>
              <a:rPr lang="de-DE" dirty="0"/>
              <a:t>Windpark Eilte-Ahlden </a:t>
            </a:r>
          </a:p>
        </p:txBody>
      </p:sp>
      <p:sp>
        <p:nvSpPr>
          <p:cNvPr id="4" name="Inhaltsplatzhalter 3">
            <a:extLst>
              <a:ext uri="{FF2B5EF4-FFF2-40B4-BE49-F238E27FC236}">
                <a16:creationId xmlns:a16="http://schemas.microsoft.com/office/drawing/2014/main" id="{43DDF5D7-7044-42E0-BB19-6182641FDA31}"/>
              </a:ext>
            </a:extLst>
          </p:cNvPr>
          <p:cNvSpPr>
            <a:spLocks noGrp="1"/>
          </p:cNvSpPr>
          <p:nvPr>
            <p:ph sz="quarter" idx="13"/>
          </p:nvPr>
        </p:nvSpPr>
        <p:spPr>
          <a:xfrm>
            <a:off x="824866" y="1810888"/>
            <a:ext cx="5172988" cy="4537393"/>
          </a:xfrm>
        </p:spPr>
        <p:txBody>
          <a:bodyPr/>
          <a:lstStyle/>
          <a:p>
            <a:r>
              <a:rPr lang="de-DE" sz="1600" dirty="0"/>
              <a:t>Das Gebiet besteht zum großen Teil aus Nadelholzwald sowie aus landwirtschaftlichen Acker- und Grünlandflächen </a:t>
            </a:r>
          </a:p>
          <a:p>
            <a:r>
              <a:rPr lang="de-DE" sz="1600" dirty="0"/>
              <a:t>Fläche ist 272 ha groß und bietet Potenzial für bis zu maximal 18 Windenergieanlagen à 6-7 MW </a:t>
            </a:r>
          </a:p>
          <a:p>
            <a:r>
              <a:rPr lang="de-DE" sz="1600" dirty="0"/>
              <a:t>Frühzeitige Kommunikation mit Landeigentümern, der Gemeinde und der Samtgemeinde </a:t>
            </a:r>
          </a:p>
          <a:p>
            <a:r>
              <a:rPr lang="de-DE" sz="1600" dirty="0"/>
              <a:t>Vertragliche Einigung mit den Eigentümern Ende letzten Jahres </a:t>
            </a:r>
          </a:p>
        </p:txBody>
      </p:sp>
      <p:sp>
        <p:nvSpPr>
          <p:cNvPr id="5" name="Foliennummernplatzhalter 4">
            <a:extLst>
              <a:ext uri="{FF2B5EF4-FFF2-40B4-BE49-F238E27FC236}">
                <a16:creationId xmlns:a16="http://schemas.microsoft.com/office/drawing/2014/main" id="{D9F0AB77-AF58-411D-BDA6-E10362E5CCA4}"/>
              </a:ext>
            </a:extLst>
          </p:cNvPr>
          <p:cNvSpPr>
            <a:spLocks noGrp="1"/>
          </p:cNvSpPr>
          <p:nvPr>
            <p:ph type="sldNum" sz="quarter" idx="16"/>
          </p:nvPr>
        </p:nvSpPr>
        <p:spPr/>
        <p:txBody>
          <a:bodyPr/>
          <a:lstStyle/>
          <a:p>
            <a:fld id="{5B2ACB19-C0E1-7345-B8BA-15A723BE30E5}" type="slidenum">
              <a:rPr lang="en-GB" smtClean="0"/>
              <a:pPr/>
              <a:t>13</a:t>
            </a:fld>
            <a:endParaRPr lang="en-GB"/>
          </a:p>
        </p:txBody>
      </p:sp>
      <p:pic>
        <p:nvPicPr>
          <p:cNvPr id="6147" name="Picture 3" descr="Computergenerierter Alternativtext:&#10;&#10;">
            <a:extLst>
              <a:ext uri="{FF2B5EF4-FFF2-40B4-BE49-F238E27FC236}">
                <a16:creationId xmlns:a16="http://schemas.microsoft.com/office/drawing/2014/main" id="{7C4BFC47-F30B-4AFB-8E41-42A582B8C33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643"/>
          <a:stretch/>
        </p:blipFill>
        <p:spPr bwMode="auto">
          <a:xfrm>
            <a:off x="16116608" y="3246118"/>
            <a:ext cx="1132269" cy="988743"/>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832A6E3F-BC9E-4BE8-8E0A-48E7005D561F}"/>
              </a:ext>
            </a:extLst>
          </p:cNvPr>
          <p:cNvPicPr>
            <a:picLocks noChangeAspect="1"/>
          </p:cNvPicPr>
          <p:nvPr/>
        </p:nvPicPr>
        <p:blipFill rotWithShape="1">
          <a:blip r:embed="rId4"/>
          <a:srcRect r="24420"/>
          <a:stretch/>
        </p:blipFill>
        <p:spPr>
          <a:xfrm>
            <a:off x="6095682" y="1200197"/>
            <a:ext cx="5464006" cy="5080587"/>
          </a:xfrm>
          <a:prstGeom prst="rect">
            <a:avLst/>
          </a:prstGeom>
        </p:spPr>
      </p:pic>
    </p:spTree>
    <p:extLst>
      <p:ext uri="{BB962C8B-B14F-4D97-AF65-F5344CB8AC3E}">
        <p14:creationId xmlns:p14="http://schemas.microsoft.com/office/powerpoint/2010/main" val="3173177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825C85-FBC4-4C4C-9328-A39ECDFB87DE}"/>
              </a:ext>
            </a:extLst>
          </p:cNvPr>
          <p:cNvSpPr>
            <a:spLocks noGrp="1"/>
          </p:cNvSpPr>
          <p:nvPr>
            <p:ph sz="quarter" idx="13"/>
          </p:nvPr>
        </p:nvSpPr>
        <p:spPr>
          <a:xfrm>
            <a:off x="824867" y="1830707"/>
            <a:ext cx="4968240" cy="4191000"/>
          </a:xfrm>
        </p:spPr>
        <p:txBody>
          <a:bodyPr vert="horz" lIns="0" tIns="0" rIns="0" bIns="0" rtlCol="0">
            <a:noAutofit/>
          </a:bodyPr>
          <a:lstStyle/>
          <a:p>
            <a:pPr>
              <a:lnSpc>
                <a:spcPct val="90000"/>
              </a:lnSpc>
            </a:pPr>
            <a:r>
              <a:rPr lang="en-GB" dirty="0" err="1"/>
              <a:t>Gesamträumliches</a:t>
            </a:r>
            <a:r>
              <a:rPr lang="en-GB" dirty="0"/>
              <a:t> </a:t>
            </a:r>
            <a:r>
              <a:rPr lang="en-GB" dirty="0" err="1"/>
              <a:t>Planungskonzept</a:t>
            </a:r>
            <a:r>
              <a:rPr lang="en-GB" dirty="0"/>
              <a:t> des </a:t>
            </a:r>
            <a:r>
              <a:rPr lang="en-GB" dirty="0" err="1"/>
              <a:t>Landkreises</a:t>
            </a:r>
            <a:endParaRPr lang="en-GB" dirty="0"/>
          </a:p>
          <a:p>
            <a:pPr marL="0" indent="0">
              <a:lnSpc>
                <a:spcPct val="90000"/>
              </a:lnSpc>
              <a:buNone/>
            </a:pPr>
            <a:endParaRPr lang="en-GB" dirty="0"/>
          </a:p>
          <a:p>
            <a:pPr>
              <a:lnSpc>
                <a:spcPct val="90000"/>
              </a:lnSpc>
            </a:pPr>
            <a:r>
              <a:rPr lang="en-GB" dirty="0" err="1"/>
              <a:t>dargestellt</a:t>
            </a:r>
            <a:r>
              <a:rPr lang="en-GB" dirty="0"/>
              <a:t> </a:t>
            </a:r>
            <a:r>
              <a:rPr lang="en-GB" dirty="0" err="1"/>
              <a:t>im</a:t>
            </a:r>
            <a:r>
              <a:rPr lang="en-GB" dirty="0"/>
              <a:t> </a:t>
            </a:r>
            <a:r>
              <a:rPr lang="en-GB" dirty="0" err="1"/>
              <a:t>Regionalen</a:t>
            </a:r>
            <a:r>
              <a:rPr lang="en-GB" dirty="0"/>
              <a:t> </a:t>
            </a:r>
            <a:r>
              <a:rPr lang="en-GB" dirty="0" err="1"/>
              <a:t>Raumordnungsprogramm</a:t>
            </a:r>
            <a:r>
              <a:rPr lang="en-GB" dirty="0"/>
              <a:t> (RROP)</a:t>
            </a:r>
          </a:p>
          <a:p>
            <a:pPr marL="0" indent="0">
              <a:lnSpc>
                <a:spcPct val="90000"/>
              </a:lnSpc>
              <a:buNone/>
            </a:pPr>
            <a:endParaRPr lang="en-GB" dirty="0"/>
          </a:p>
          <a:p>
            <a:pPr>
              <a:lnSpc>
                <a:spcPct val="90000"/>
              </a:lnSpc>
            </a:pPr>
            <a:r>
              <a:rPr lang="en-GB" dirty="0" err="1"/>
              <a:t>einheitliche</a:t>
            </a:r>
            <a:r>
              <a:rPr lang="en-GB" dirty="0"/>
              <a:t> </a:t>
            </a:r>
            <a:r>
              <a:rPr lang="en-GB" dirty="0" err="1"/>
              <a:t>Restriktionen</a:t>
            </a:r>
            <a:r>
              <a:rPr lang="en-GB" dirty="0"/>
              <a:t> </a:t>
            </a:r>
            <a:r>
              <a:rPr lang="en-GB" dirty="0" err="1"/>
              <a:t>für</a:t>
            </a:r>
            <a:r>
              <a:rPr lang="en-GB" dirty="0"/>
              <a:t> das </a:t>
            </a:r>
            <a:r>
              <a:rPr lang="en-GB" dirty="0" err="1"/>
              <a:t>gesamte</a:t>
            </a:r>
            <a:r>
              <a:rPr lang="en-GB" dirty="0"/>
              <a:t> </a:t>
            </a:r>
            <a:r>
              <a:rPr lang="en-GB" dirty="0" err="1"/>
              <a:t>Landkreisgebiet</a:t>
            </a:r>
            <a:r>
              <a:rPr lang="en-GB" dirty="0"/>
              <a:t> </a:t>
            </a:r>
          </a:p>
          <a:p>
            <a:pPr>
              <a:lnSpc>
                <a:spcPct val="90000"/>
              </a:lnSpc>
            </a:pPr>
            <a:endParaRPr lang="en-GB" dirty="0"/>
          </a:p>
          <a:p>
            <a:pPr>
              <a:lnSpc>
                <a:spcPct val="90000"/>
              </a:lnSpc>
            </a:pPr>
            <a:r>
              <a:rPr lang="en-GB" dirty="0" err="1"/>
              <a:t>Stellungnahmen</a:t>
            </a:r>
            <a:r>
              <a:rPr lang="en-GB" dirty="0"/>
              <a:t> </a:t>
            </a:r>
            <a:r>
              <a:rPr lang="en-GB" dirty="0" err="1"/>
              <a:t>durch</a:t>
            </a:r>
            <a:r>
              <a:rPr lang="en-GB" dirty="0"/>
              <a:t> </a:t>
            </a:r>
            <a:r>
              <a:rPr lang="en-GB" dirty="0" err="1"/>
              <a:t>Bürgerinnen</a:t>
            </a:r>
            <a:r>
              <a:rPr lang="en-GB" dirty="0"/>
              <a:t> und </a:t>
            </a:r>
            <a:r>
              <a:rPr lang="en-GB" dirty="0" err="1"/>
              <a:t>Bürger</a:t>
            </a:r>
            <a:r>
              <a:rPr lang="en-GB" dirty="0"/>
              <a:t> </a:t>
            </a:r>
            <a:r>
              <a:rPr lang="en-GB" dirty="0" err="1"/>
              <a:t>möglich</a:t>
            </a:r>
            <a:endParaRPr lang="en-GB" dirty="0"/>
          </a:p>
        </p:txBody>
      </p:sp>
      <p:pic>
        <p:nvPicPr>
          <p:cNvPr id="6" name="Grafik 5">
            <a:extLst>
              <a:ext uri="{FF2B5EF4-FFF2-40B4-BE49-F238E27FC236}">
                <a16:creationId xmlns:a16="http://schemas.microsoft.com/office/drawing/2014/main" id="{EB959660-013C-4D7E-A09A-D456956DB6F7}"/>
              </a:ext>
            </a:extLst>
          </p:cNvPr>
          <p:cNvPicPr>
            <a:picLocks noChangeAspect="1"/>
          </p:cNvPicPr>
          <p:nvPr/>
        </p:nvPicPr>
        <p:blipFill>
          <a:blip r:embed="rId2"/>
          <a:stretch>
            <a:fillRect/>
          </a:stretch>
        </p:blipFill>
        <p:spPr>
          <a:xfrm>
            <a:off x="6845007" y="3175"/>
            <a:ext cx="4901199" cy="6854825"/>
          </a:xfrm>
          <a:prstGeom prst="rect">
            <a:avLst/>
          </a:prstGeom>
          <a:noFill/>
        </p:spPr>
      </p:pic>
      <p:sp>
        <p:nvSpPr>
          <p:cNvPr id="7" name="Titel 1">
            <a:extLst>
              <a:ext uri="{FF2B5EF4-FFF2-40B4-BE49-F238E27FC236}">
                <a16:creationId xmlns:a16="http://schemas.microsoft.com/office/drawing/2014/main" id="{95676980-E25C-4949-8C4C-369FE9302A2A}"/>
              </a:ext>
            </a:extLst>
          </p:cNvPr>
          <p:cNvSpPr txBox="1">
            <a:spLocks/>
          </p:cNvSpPr>
          <p:nvPr/>
        </p:nvSpPr>
        <p:spPr>
          <a:xfrm>
            <a:off x="829237" y="577216"/>
            <a:ext cx="7661620" cy="907097"/>
          </a:xfrm>
          <a:prstGeom prst="rect">
            <a:avLst/>
          </a:prstGeom>
        </p:spPr>
        <p:txBody>
          <a:bodyPr vert="horz" lIns="0" tIns="0" rIns="0" bIns="0" rtlCol="0" anchor="t" anchorCtr="0">
            <a:normAutofit/>
          </a:bodyPr>
          <a:lstStyle>
            <a:lvl1pPr algn="l" defTabSz="548610" rtl="0" eaLnBrk="1" latinLnBrk="0" hangingPunct="1">
              <a:lnSpc>
                <a:spcPct val="100000"/>
              </a:lnSpc>
              <a:spcBef>
                <a:spcPct val="0"/>
              </a:spcBef>
              <a:buNone/>
              <a:defRPr sz="3200" b="1" kern="1200">
                <a:solidFill>
                  <a:schemeClr val="accent5"/>
                </a:solidFill>
                <a:latin typeface="Arial"/>
                <a:ea typeface="+mj-ea"/>
                <a:cs typeface="Arial"/>
              </a:defRPr>
            </a:lvl1pPr>
          </a:lstStyle>
          <a:p>
            <a:pPr>
              <a:spcAft>
                <a:spcPts val="600"/>
              </a:spcAft>
            </a:pPr>
            <a:r>
              <a:rPr lang="en-GB" b="1" kern="1200">
                <a:latin typeface="Arial"/>
                <a:ea typeface="+mj-ea"/>
                <a:cs typeface="Arial"/>
              </a:rPr>
              <a:t>Flächenausweisung für Windenergie</a:t>
            </a:r>
          </a:p>
        </p:txBody>
      </p:sp>
      <p:sp>
        <p:nvSpPr>
          <p:cNvPr id="4" name="Slide Number Placeholder 3">
            <a:extLst>
              <a:ext uri="{FF2B5EF4-FFF2-40B4-BE49-F238E27FC236}">
                <a16:creationId xmlns:a16="http://schemas.microsoft.com/office/drawing/2014/main" id="{0B55D242-3C08-418A-8658-E30F0EED1664}"/>
              </a:ext>
            </a:extLst>
          </p:cNvPr>
          <p:cNvSpPr>
            <a:spLocks noGrp="1"/>
          </p:cNvSpPr>
          <p:nvPr>
            <p:ph type="sldNum" sz="quarter" idx="16"/>
          </p:nvPr>
        </p:nvSpPr>
        <p:spPr>
          <a:xfrm>
            <a:off x="829236" y="6319500"/>
            <a:ext cx="452320" cy="365125"/>
          </a:xfrm>
        </p:spPr>
        <p:txBody>
          <a:bodyPr vert="horz" wrap="none" lIns="0" tIns="0" rIns="0" bIns="0" rtlCol="0" anchor="ctr">
            <a:normAutofit/>
          </a:bodyPr>
          <a:lstStyle/>
          <a:p>
            <a:pPr>
              <a:spcAft>
                <a:spcPts val="600"/>
              </a:spcAft>
            </a:pPr>
            <a:fld id="{5B2ACB19-C0E1-7345-B8BA-15A723BE30E5}" type="slidenum">
              <a:rPr lang="en-GB" smtClean="0"/>
              <a:pPr>
                <a:spcAft>
                  <a:spcPts val="600"/>
                </a:spcAft>
              </a:pPr>
              <a:t>14</a:t>
            </a:fld>
            <a:endParaRPr lang="en-GB"/>
          </a:p>
        </p:txBody>
      </p:sp>
    </p:spTree>
    <p:extLst>
      <p:ext uri="{BB962C8B-B14F-4D97-AF65-F5344CB8AC3E}">
        <p14:creationId xmlns:p14="http://schemas.microsoft.com/office/powerpoint/2010/main" val="202517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43DDF5D7-7044-42E0-BB19-6182641FDA31}"/>
              </a:ext>
            </a:extLst>
          </p:cNvPr>
          <p:cNvSpPr>
            <a:spLocks noGrp="1"/>
          </p:cNvSpPr>
          <p:nvPr>
            <p:ph sz="quarter" idx="13"/>
          </p:nvPr>
        </p:nvSpPr>
        <p:spPr>
          <a:xfrm>
            <a:off x="824867" y="1830707"/>
            <a:ext cx="5574346" cy="4191000"/>
          </a:xfrm>
        </p:spPr>
        <p:txBody>
          <a:bodyPr>
            <a:noAutofit/>
          </a:bodyPr>
          <a:lstStyle/>
          <a:p>
            <a:pPr>
              <a:lnSpc>
                <a:spcPct val="90000"/>
              </a:lnSpc>
            </a:pPr>
            <a:r>
              <a:rPr lang="de-DE" dirty="0"/>
              <a:t>Umfangreiche Untersuchungen zu den möglichen Auswirkungen der Windenergieanlagen </a:t>
            </a:r>
          </a:p>
          <a:p>
            <a:pPr>
              <a:lnSpc>
                <a:spcPct val="90000"/>
              </a:lnSpc>
            </a:pPr>
            <a:r>
              <a:rPr lang="de-DE" dirty="0"/>
              <a:t>Naturschutzfachliche Gutachten </a:t>
            </a:r>
          </a:p>
          <a:p>
            <a:pPr>
              <a:lnSpc>
                <a:spcPct val="90000"/>
              </a:lnSpc>
            </a:pPr>
            <a:r>
              <a:rPr lang="de-DE" dirty="0"/>
              <a:t>Technische Gutachten zu Umweltauswirkungen </a:t>
            </a:r>
          </a:p>
          <a:p>
            <a:pPr>
              <a:lnSpc>
                <a:spcPct val="90000"/>
              </a:lnSpc>
            </a:pPr>
            <a:r>
              <a:rPr lang="de-DE" dirty="0"/>
              <a:t>Enge Abstimmung mit den Genehmigungsbehörden</a:t>
            </a:r>
          </a:p>
          <a:p>
            <a:pPr>
              <a:lnSpc>
                <a:spcPct val="90000"/>
              </a:lnSpc>
            </a:pPr>
            <a:r>
              <a:rPr lang="de-DE" dirty="0"/>
              <a:t>Planung von Kabeltrasse und Zuwegung </a:t>
            </a:r>
          </a:p>
          <a:p>
            <a:pPr>
              <a:lnSpc>
                <a:spcPct val="90000"/>
              </a:lnSpc>
            </a:pPr>
            <a:r>
              <a:rPr lang="de-DE" dirty="0"/>
              <a:t>Ergebnisse werden in dem Genehmigungsantrag zusammengetragen   </a:t>
            </a:r>
          </a:p>
        </p:txBody>
      </p:sp>
      <p:pic>
        <p:nvPicPr>
          <p:cNvPr id="10" name="Grafik 9">
            <a:extLst>
              <a:ext uri="{FF2B5EF4-FFF2-40B4-BE49-F238E27FC236}">
                <a16:creationId xmlns:a16="http://schemas.microsoft.com/office/drawing/2014/main" id="{B864E391-8CC0-48B9-B48E-136FA7CD50A6}"/>
              </a:ext>
            </a:extLst>
          </p:cNvPr>
          <p:cNvPicPr>
            <a:picLocks noChangeAspect="1"/>
          </p:cNvPicPr>
          <p:nvPr/>
        </p:nvPicPr>
        <p:blipFill>
          <a:blip r:embed="rId3"/>
          <a:stretch>
            <a:fillRect/>
          </a:stretch>
        </p:blipFill>
        <p:spPr>
          <a:xfrm>
            <a:off x="6707911" y="3175"/>
            <a:ext cx="5175391" cy="6854825"/>
          </a:xfrm>
          <a:prstGeom prst="rect">
            <a:avLst/>
          </a:prstGeom>
          <a:noFill/>
        </p:spPr>
      </p:pic>
      <p:sp>
        <p:nvSpPr>
          <p:cNvPr id="2" name="Titel 1">
            <a:extLst>
              <a:ext uri="{FF2B5EF4-FFF2-40B4-BE49-F238E27FC236}">
                <a16:creationId xmlns:a16="http://schemas.microsoft.com/office/drawing/2014/main" id="{78E7AF45-EC70-4159-91C7-2A4C9610059C}"/>
              </a:ext>
            </a:extLst>
          </p:cNvPr>
          <p:cNvSpPr>
            <a:spLocks noGrp="1"/>
          </p:cNvSpPr>
          <p:nvPr>
            <p:ph type="title"/>
          </p:nvPr>
        </p:nvSpPr>
        <p:spPr>
          <a:xfrm>
            <a:off x="829237" y="577216"/>
            <a:ext cx="4963552" cy="907097"/>
          </a:xfrm>
        </p:spPr>
        <p:txBody>
          <a:bodyPr anchor="t">
            <a:normAutofit/>
          </a:bodyPr>
          <a:lstStyle/>
          <a:p>
            <a:pPr>
              <a:lnSpc>
                <a:spcPct val="90000"/>
              </a:lnSpc>
            </a:pPr>
            <a:r>
              <a:rPr lang="en-GB" dirty="0" err="1"/>
              <a:t>Genehmigungsplanung</a:t>
            </a:r>
            <a:endParaRPr lang="de-DE" dirty="0"/>
          </a:p>
        </p:txBody>
      </p:sp>
      <p:sp>
        <p:nvSpPr>
          <p:cNvPr id="5" name="Foliennummernplatzhalter 4">
            <a:extLst>
              <a:ext uri="{FF2B5EF4-FFF2-40B4-BE49-F238E27FC236}">
                <a16:creationId xmlns:a16="http://schemas.microsoft.com/office/drawing/2014/main" id="{D9F0AB77-AF58-411D-BDA6-E10362E5CCA4}"/>
              </a:ext>
            </a:extLst>
          </p:cNvPr>
          <p:cNvSpPr>
            <a:spLocks noGrp="1"/>
          </p:cNvSpPr>
          <p:nvPr>
            <p:ph type="sldNum" sz="quarter" idx="16"/>
          </p:nvPr>
        </p:nvSpPr>
        <p:spPr>
          <a:xfrm>
            <a:off x="829236" y="6319500"/>
            <a:ext cx="452320" cy="365125"/>
          </a:xfrm>
        </p:spPr>
        <p:txBody>
          <a:bodyPr wrap="none" anchor="ctr">
            <a:normAutofit/>
          </a:bodyPr>
          <a:lstStyle/>
          <a:p>
            <a:pPr>
              <a:spcAft>
                <a:spcPts val="600"/>
              </a:spcAft>
            </a:pPr>
            <a:fld id="{5B2ACB19-C0E1-7345-B8BA-15A723BE30E5}" type="slidenum">
              <a:rPr lang="en-GB" smtClean="0"/>
              <a:pPr>
                <a:spcAft>
                  <a:spcPts val="600"/>
                </a:spcAft>
              </a:pPr>
              <a:t>15</a:t>
            </a:fld>
            <a:endParaRPr lang="en-GB"/>
          </a:p>
        </p:txBody>
      </p:sp>
    </p:spTree>
    <p:extLst>
      <p:ext uri="{BB962C8B-B14F-4D97-AF65-F5344CB8AC3E}">
        <p14:creationId xmlns:p14="http://schemas.microsoft.com/office/powerpoint/2010/main" val="394523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43DDF5D7-7044-42E0-BB19-6182641FDA31}"/>
              </a:ext>
            </a:extLst>
          </p:cNvPr>
          <p:cNvSpPr>
            <a:spLocks noGrp="1"/>
          </p:cNvSpPr>
          <p:nvPr>
            <p:ph sz="quarter" idx="13"/>
          </p:nvPr>
        </p:nvSpPr>
        <p:spPr>
          <a:xfrm>
            <a:off x="824867" y="1830707"/>
            <a:ext cx="4968240" cy="4191000"/>
          </a:xfrm>
        </p:spPr>
        <p:txBody>
          <a:bodyPr>
            <a:normAutofit/>
          </a:bodyPr>
          <a:lstStyle/>
          <a:p>
            <a:pPr>
              <a:lnSpc>
                <a:spcPct val="90000"/>
              </a:lnSpc>
            </a:pPr>
            <a:r>
              <a:rPr lang="de-DE"/>
              <a:t>Genehmigungsantrag nach Bundesimmissionsschutzgesetz, enthält sämtliche Informationen des Projektes</a:t>
            </a:r>
          </a:p>
          <a:p>
            <a:pPr>
              <a:lnSpc>
                <a:spcPct val="90000"/>
              </a:lnSpc>
            </a:pPr>
            <a:endParaRPr lang="de-DE"/>
          </a:p>
          <a:p>
            <a:pPr>
              <a:lnSpc>
                <a:spcPct val="90000"/>
              </a:lnSpc>
            </a:pPr>
            <a:r>
              <a:rPr lang="de-DE"/>
              <a:t>Bearbeitet durch den Landkreis (</a:t>
            </a:r>
            <a:r>
              <a:rPr lang="de-DE" err="1"/>
              <a:t>BImSch</a:t>
            </a:r>
            <a:r>
              <a:rPr lang="de-DE"/>
              <a:t>-Behörde)</a:t>
            </a:r>
          </a:p>
          <a:p>
            <a:pPr>
              <a:lnSpc>
                <a:spcPct val="90000"/>
              </a:lnSpc>
            </a:pPr>
            <a:endParaRPr lang="de-DE"/>
          </a:p>
          <a:p>
            <a:pPr>
              <a:lnSpc>
                <a:spcPct val="90000"/>
              </a:lnSpc>
            </a:pPr>
            <a:r>
              <a:rPr lang="de-DE" err="1"/>
              <a:t>TöB</a:t>
            </a:r>
            <a:r>
              <a:rPr lang="de-DE"/>
              <a:t>-Beteiligung durch den Landkreis</a:t>
            </a:r>
          </a:p>
          <a:p>
            <a:pPr>
              <a:lnSpc>
                <a:spcPct val="90000"/>
              </a:lnSpc>
            </a:pPr>
            <a:endParaRPr lang="de-DE"/>
          </a:p>
          <a:p>
            <a:pPr>
              <a:lnSpc>
                <a:spcPct val="90000"/>
              </a:lnSpc>
            </a:pPr>
            <a:r>
              <a:rPr lang="de-DE"/>
              <a:t>Dauer der Bearbeitung schwierig abzuschätzen </a:t>
            </a:r>
          </a:p>
          <a:p>
            <a:pPr marL="0" indent="0">
              <a:lnSpc>
                <a:spcPct val="90000"/>
              </a:lnSpc>
              <a:buNone/>
            </a:pPr>
            <a:endParaRPr lang="de-DE"/>
          </a:p>
        </p:txBody>
      </p:sp>
      <p:pic>
        <p:nvPicPr>
          <p:cNvPr id="95238" name="Picture 6" descr="Ögonfägnaden vindpark">
            <a:extLst>
              <a:ext uri="{FF2B5EF4-FFF2-40B4-BE49-F238E27FC236}">
                <a16:creationId xmlns:a16="http://schemas.microsoft.com/office/drawing/2014/main" id="{C8E571E0-0210-4CAB-82D5-693C35D102C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012" r="1" b="1"/>
          <a:stretch/>
        </p:blipFill>
        <p:spPr bwMode="auto">
          <a:xfrm>
            <a:off x="6399213" y="3175"/>
            <a:ext cx="5792787" cy="6854825"/>
          </a:xfrm>
          <a:prstGeom prst="rect">
            <a:avLst/>
          </a:prstGeom>
          <a:solidFill>
            <a:srgbClr val="FFFFFF"/>
          </a:solidFill>
        </p:spPr>
      </p:pic>
      <p:sp>
        <p:nvSpPr>
          <p:cNvPr id="2" name="Titel 1">
            <a:extLst>
              <a:ext uri="{FF2B5EF4-FFF2-40B4-BE49-F238E27FC236}">
                <a16:creationId xmlns:a16="http://schemas.microsoft.com/office/drawing/2014/main" id="{78E7AF45-EC70-4159-91C7-2A4C9610059C}"/>
              </a:ext>
            </a:extLst>
          </p:cNvPr>
          <p:cNvSpPr>
            <a:spLocks noGrp="1"/>
          </p:cNvSpPr>
          <p:nvPr>
            <p:ph type="title"/>
          </p:nvPr>
        </p:nvSpPr>
        <p:spPr>
          <a:xfrm>
            <a:off x="829237" y="577216"/>
            <a:ext cx="4963552" cy="907097"/>
          </a:xfrm>
        </p:spPr>
        <p:txBody>
          <a:bodyPr anchor="t">
            <a:normAutofit/>
          </a:bodyPr>
          <a:lstStyle/>
          <a:p>
            <a:r>
              <a:rPr lang="en-GB" dirty="0" err="1"/>
              <a:t>Genehmigungsprozess</a:t>
            </a:r>
            <a:r>
              <a:rPr lang="en-GB" dirty="0"/>
              <a:t> </a:t>
            </a:r>
            <a:endParaRPr lang="de-DE" dirty="0"/>
          </a:p>
        </p:txBody>
      </p:sp>
      <p:sp>
        <p:nvSpPr>
          <p:cNvPr id="5" name="Foliennummernplatzhalter 4">
            <a:extLst>
              <a:ext uri="{FF2B5EF4-FFF2-40B4-BE49-F238E27FC236}">
                <a16:creationId xmlns:a16="http://schemas.microsoft.com/office/drawing/2014/main" id="{D9F0AB77-AF58-411D-BDA6-E10362E5CCA4}"/>
              </a:ext>
            </a:extLst>
          </p:cNvPr>
          <p:cNvSpPr>
            <a:spLocks noGrp="1"/>
          </p:cNvSpPr>
          <p:nvPr>
            <p:ph type="sldNum" sz="quarter" idx="16"/>
          </p:nvPr>
        </p:nvSpPr>
        <p:spPr>
          <a:xfrm>
            <a:off x="829236" y="6319500"/>
            <a:ext cx="452320" cy="365125"/>
          </a:xfrm>
        </p:spPr>
        <p:txBody>
          <a:bodyPr wrap="none" anchor="ctr">
            <a:normAutofit/>
          </a:bodyPr>
          <a:lstStyle/>
          <a:p>
            <a:pPr>
              <a:spcAft>
                <a:spcPts val="600"/>
              </a:spcAft>
            </a:pPr>
            <a:fld id="{5B2ACB19-C0E1-7345-B8BA-15A723BE30E5}" type="slidenum">
              <a:rPr lang="en-GB" smtClean="0"/>
              <a:pPr>
                <a:spcAft>
                  <a:spcPts val="600"/>
                </a:spcAft>
              </a:pPr>
              <a:t>16</a:t>
            </a:fld>
            <a:endParaRPr lang="en-GB"/>
          </a:p>
        </p:txBody>
      </p:sp>
    </p:spTree>
    <p:extLst>
      <p:ext uri="{BB962C8B-B14F-4D97-AF65-F5344CB8AC3E}">
        <p14:creationId xmlns:p14="http://schemas.microsoft.com/office/powerpoint/2010/main" val="228984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43DDF5D7-7044-42E0-BB19-6182641FDA31}"/>
              </a:ext>
            </a:extLst>
          </p:cNvPr>
          <p:cNvSpPr>
            <a:spLocks noGrp="1"/>
          </p:cNvSpPr>
          <p:nvPr>
            <p:ph sz="quarter" idx="13"/>
          </p:nvPr>
        </p:nvSpPr>
        <p:spPr>
          <a:xfrm>
            <a:off x="824867" y="1830707"/>
            <a:ext cx="4968240" cy="4191000"/>
          </a:xfrm>
        </p:spPr>
        <p:txBody>
          <a:bodyPr vert="horz" lIns="0" tIns="0" rIns="0" bIns="0" rtlCol="0" anchor="t">
            <a:normAutofit/>
          </a:bodyPr>
          <a:lstStyle/>
          <a:p>
            <a:pPr marL="215900" indent="-215900"/>
            <a:r>
              <a:rPr lang="de-DE" dirty="0"/>
              <a:t>Bau der Zuwegung, Kabeltrasse, Fundamente </a:t>
            </a:r>
            <a:endParaRPr lang="en-US"/>
          </a:p>
          <a:p>
            <a:pPr marL="215900" indent="-215900"/>
            <a:endParaRPr lang="de-DE" dirty="0"/>
          </a:p>
          <a:p>
            <a:pPr marL="215900" indent="-215900"/>
            <a:r>
              <a:rPr lang="de-DE" dirty="0"/>
              <a:t>Beachtung von Auflagen aus der Genehmigung </a:t>
            </a:r>
          </a:p>
          <a:p>
            <a:pPr marL="215900" indent="-215900"/>
            <a:endParaRPr lang="de-DE" dirty="0"/>
          </a:p>
          <a:p>
            <a:pPr marL="215900" indent="-215900"/>
            <a:r>
              <a:rPr lang="de-DE" dirty="0"/>
              <a:t>Umsetzung von Ausgleichs- und Ersatzmaßnahmen</a:t>
            </a:r>
          </a:p>
          <a:p>
            <a:pPr marL="215900" indent="-215900"/>
            <a:endParaRPr lang="de-DE" dirty="0"/>
          </a:p>
          <a:p>
            <a:pPr marL="215900" indent="-215900"/>
            <a:r>
              <a:rPr lang="de-DE" dirty="0"/>
              <a:t>Finanzielle Beteiligungsmodelle beginnen  </a:t>
            </a:r>
          </a:p>
          <a:p>
            <a:pPr marL="215900" indent="-215900"/>
            <a:endParaRPr lang="de-DE" dirty="0"/>
          </a:p>
          <a:p>
            <a:pPr marL="215900" indent="-215900"/>
            <a:endParaRPr lang="de-DE" dirty="0"/>
          </a:p>
        </p:txBody>
      </p:sp>
      <p:pic>
        <p:nvPicPr>
          <p:cNvPr id="96258" name="Picture 2" descr="Construction Stamåsen">
            <a:extLst>
              <a:ext uri="{FF2B5EF4-FFF2-40B4-BE49-F238E27FC236}">
                <a16:creationId xmlns:a16="http://schemas.microsoft.com/office/drawing/2014/main" id="{071530E9-364C-43E8-BAB4-61F3AFA2E27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603" r="27990" b="2"/>
          <a:stretch/>
        </p:blipFill>
        <p:spPr bwMode="auto">
          <a:xfrm>
            <a:off x="6399213" y="3175"/>
            <a:ext cx="5792787" cy="6854825"/>
          </a:xfrm>
          <a:prstGeom prst="rect">
            <a:avLst/>
          </a:prstGeom>
          <a:solidFill>
            <a:srgbClr val="FFFFFF"/>
          </a:solidFill>
        </p:spPr>
      </p:pic>
      <p:sp>
        <p:nvSpPr>
          <p:cNvPr id="2" name="Titel 1">
            <a:extLst>
              <a:ext uri="{FF2B5EF4-FFF2-40B4-BE49-F238E27FC236}">
                <a16:creationId xmlns:a16="http://schemas.microsoft.com/office/drawing/2014/main" id="{78E7AF45-EC70-4159-91C7-2A4C9610059C}"/>
              </a:ext>
            </a:extLst>
          </p:cNvPr>
          <p:cNvSpPr>
            <a:spLocks noGrp="1"/>
          </p:cNvSpPr>
          <p:nvPr>
            <p:ph type="title"/>
          </p:nvPr>
        </p:nvSpPr>
        <p:spPr>
          <a:xfrm>
            <a:off x="829237" y="577216"/>
            <a:ext cx="4963552" cy="907097"/>
          </a:xfrm>
        </p:spPr>
        <p:txBody>
          <a:bodyPr anchor="t">
            <a:normAutofit/>
          </a:bodyPr>
          <a:lstStyle/>
          <a:p>
            <a:pPr>
              <a:lnSpc>
                <a:spcPct val="90000"/>
              </a:lnSpc>
            </a:pPr>
            <a:r>
              <a:rPr lang="en-GB" dirty="0" err="1"/>
              <a:t>Bauphase</a:t>
            </a:r>
            <a:r>
              <a:rPr lang="en-GB" dirty="0"/>
              <a:t> und </a:t>
            </a:r>
            <a:r>
              <a:rPr lang="en-GB" dirty="0" err="1"/>
              <a:t>Inbetriebnahme</a:t>
            </a:r>
            <a:endParaRPr lang="de-DE"/>
          </a:p>
        </p:txBody>
      </p:sp>
      <p:sp>
        <p:nvSpPr>
          <p:cNvPr id="5" name="Foliennummernplatzhalter 4">
            <a:extLst>
              <a:ext uri="{FF2B5EF4-FFF2-40B4-BE49-F238E27FC236}">
                <a16:creationId xmlns:a16="http://schemas.microsoft.com/office/drawing/2014/main" id="{D9F0AB77-AF58-411D-BDA6-E10362E5CCA4}"/>
              </a:ext>
            </a:extLst>
          </p:cNvPr>
          <p:cNvSpPr>
            <a:spLocks noGrp="1"/>
          </p:cNvSpPr>
          <p:nvPr>
            <p:ph type="sldNum" sz="quarter" idx="16"/>
          </p:nvPr>
        </p:nvSpPr>
        <p:spPr>
          <a:xfrm>
            <a:off x="829236" y="6319500"/>
            <a:ext cx="452320" cy="365125"/>
          </a:xfrm>
        </p:spPr>
        <p:txBody>
          <a:bodyPr wrap="none" anchor="ctr">
            <a:normAutofit/>
          </a:bodyPr>
          <a:lstStyle/>
          <a:p>
            <a:pPr>
              <a:spcAft>
                <a:spcPts val="600"/>
              </a:spcAft>
            </a:pPr>
            <a:fld id="{5B2ACB19-C0E1-7345-B8BA-15A723BE30E5}" type="slidenum">
              <a:rPr lang="en-GB" smtClean="0"/>
              <a:pPr>
                <a:spcAft>
                  <a:spcPts val="600"/>
                </a:spcAft>
              </a:pPr>
              <a:t>17</a:t>
            </a:fld>
            <a:endParaRPr lang="en-GB"/>
          </a:p>
        </p:txBody>
      </p:sp>
      <p:pic>
        <p:nvPicPr>
          <p:cNvPr id="6147" name="Picture 3" descr="Computergenerierter Alternativtext:&#10;&#10;">
            <a:extLst>
              <a:ext uri="{FF2B5EF4-FFF2-40B4-BE49-F238E27FC236}">
                <a16:creationId xmlns:a16="http://schemas.microsoft.com/office/drawing/2014/main" id="{7C4BFC47-F30B-4AFB-8E41-42A582B8C33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643"/>
          <a:stretch/>
        </p:blipFill>
        <p:spPr bwMode="auto">
          <a:xfrm>
            <a:off x="19126508" y="3072556"/>
            <a:ext cx="1132269" cy="988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46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itra wind farm">
            <a:extLst>
              <a:ext uri="{FF2B5EF4-FFF2-40B4-BE49-F238E27FC236}">
                <a16:creationId xmlns:a16="http://schemas.microsoft.com/office/drawing/2014/main" id="{902CC9E7-2ADB-4E21-9BC6-E06C1556F58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0" y="10"/>
            <a:ext cx="12191980" cy="6857990"/>
          </a:xfrm>
          <a:custGeom>
            <a:avLst/>
            <a:gdLst>
              <a:gd name="connsiteX0" fmla="*/ 1235074 w 12192000"/>
              <a:gd name="connsiteY0" fmla="*/ 2 h 6858000"/>
              <a:gd name="connsiteX1" fmla="*/ 1235074 w 12192000"/>
              <a:gd name="connsiteY1" fmla="*/ 4794783 h 6858000"/>
              <a:gd name="connsiteX2" fmla="*/ 6096000 w 12192000"/>
              <a:gd name="connsiteY2" fmla="*/ 4794783 h 6858000"/>
              <a:gd name="connsiteX3" fmla="*/ 6096000 w 12192000"/>
              <a:gd name="connsiteY3" fmla="*/ 2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235074" y="2"/>
                </a:moveTo>
                <a:lnTo>
                  <a:pt x="1235074" y="4794783"/>
                </a:lnTo>
                <a:lnTo>
                  <a:pt x="6096000" y="4794783"/>
                </a:lnTo>
                <a:lnTo>
                  <a:pt x="6096000" y="2"/>
                </a:lnTo>
                <a:close/>
                <a:moveTo>
                  <a:pt x="0" y="0"/>
                </a:moveTo>
                <a:lnTo>
                  <a:pt x="12192000" y="0"/>
                </a:lnTo>
                <a:lnTo>
                  <a:pt x="1219200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 name="Title 4">
            <a:extLst>
              <a:ext uri="{FF2B5EF4-FFF2-40B4-BE49-F238E27FC236}">
                <a16:creationId xmlns:a16="http://schemas.microsoft.com/office/drawing/2014/main" id="{48C40C85-5125-481A-B4C6-36E2DE456AC2}"/>
              </a:ext>
            </a:extLst>
          </p:cNvPr>
          <p:cNvSpPr txBox="1">
            <a:spLocks/>
          </p:cNvSpPr>
          <p:nvPr/>
        </p:nvSpPr>
        <p:spPr>
          <a:xfrm>
            <a:off x="1524000" y="1929546"/>
            <a:ext cx="4284663" cy="2271708"/>
          </a:xfrm>
          <a:prstGeom prst="rect">
            <a:avLst/>
          </a:prstGeom>
        </p:spPr>
        <p:txBody>
          <a:bodyPr vert="horz" lIns="0" tIns="0" rIns="0" bIns="0" rtlCol="0" anchor="b" anchorCtr="0">
            <a:normAutofit/>
          </a:bodyPr>
          <a:lstStyle>
            <a:lvl1pPr algn="l" defTabSz="548610" rtl="0" eaLnBrk="1" latinLnBrk="0" hangingPunct="1">
              <a:lnSpc>
                <a:spcPct val="100000"/>
              </a:lnSpc>
              <a:spcBef>
                <a:spcPct val="0"/>
              </a:spcBef>
              <a:buNone/>
              <a:defRPr sz="3200" b="1" kern="1200">
                <a:solidFill>
                  <a:schemeClr val="accent5"/>
                </a:solidFill>
                <a:latin typeface="Arial"/>
                <a:ea typeface="+mj-ea"/>
                <a:cs typeface="Arial"/>
              </a:defRPr>
            </a:lvl1pPr>
          </a:lstStyle>
          <a:p>
            <a:pPr>
              <a:lnSpc>
                <a:spcPct val="90000"/>
              </a:lnSpc>
              <a:spcAft>
                <a:spcPts val="600"/>
              </a:spcAft>
            </a:pPr>
            <a:r>
              <a:rPr lang="en-GB" sz="4400" b="1" kern="1200" cap="none" baseline="0" dirty="0" err="1">
                <a:solidFill>
                  <a:schemeClr val="tx2"/>
                </a:solidFill>
                <a:latin typeface="Arial"/>
                <a:ea typeface="+mj-ea"/>
                <a:cs typeface="Arial"/>
              </a:rPr>
              <a:t>Beteiligung</a:t>
            </a:r>
            <a:endParaRPr lang="en-GB" sz="4400" b="1" kern="1200" cap="none" baseline="0" dirty="0">
              <a:solidFill>
                <a:schemeClr val="tx2"/>
              </a:solidFill>
              <a:latin typeface="Arial"/>
              <a:ea typeface="+mj-ea"/>
              <a:cs typeface="Arial"/>
            </a:endParaRPr>
          </a:p>
          <a:p>
            <a:pPr>
              <a:lnSpc>
                <a:spcPct val="90000"/>
              </a:lnSpc>
              <a:spcAft>
                <a:spcPts val="600"/>
              </a:spcAft>
            </a:pPr>
            <a:r>
              <a:rPr lang="en-GB" sz="4400" b="1" kern="1200" cap="none" baseline="0" dirty="0">
                <a:solidFill>
                  <a:schemeClr val="tx2"/>
                </a:solidFill>
                <a:latin typeface="Arial"/>
                <a:ea typeface="+mj-ea"/>
                <a:cs typeface="Arial"/>
              </a:rPr>
              <a:t>Windpark </a:t>
            </a:r>
          </a:p>
          <a:p>
            <a:pPr>
              <a:lnSpc>
                <a:spcPct val="90000"/>
              </a:lnSpc>
              <a:spcAft>
                <a:spcPts val="600"/>
              </a:spcAft>
            </a:pPr>
            <a:r>
              <a:rPr lang="en-GB" sz="4400" b="1" kern="1200" cap="none" baseline="0" dirty="0">
                <a:solidFill>
                  <a:schemeClr val="tx2"/>
                </a:solidFill>
                <a:latin typeface="Arial"/>
                <a:ea typeface="+mj-ea"/>
                <a:cs typeface="Arial"/>
              </a:rPr>
              <a:t>Eilte-Ahlden</a:t>
            </a:r>
          </a:p>
        </p:txBody>
      </p:sp>
      <p:sp>
        <p:nvSpPr>
          <p:cNvPr id="5" name="Slide Number Placeholder 4" hidden="1">
            <a:extLst>
              <a:ext uri="{FF2B5EF4-FFF2-40B4-BE49-F238E27FC236}">
                <a16:creationId xmlns:a16="http://schemas.microsoft.com/office/drawing/2014/main" id="{777737BB-59FB-4FAF-8B4E-6DC6D45AF900}"/>
              </a:ext>
            </a:extLst>
          </p:cNvPr>
          <p:cNvSpPr>
            <a:spLocks noGrp="1"/>
          </p:cNvSpPr>
          <p:nvPr>
            <p:ph type="sldNum" sz="quarter" idx="4294967295"/>
          </p:nvPr>
        </p:nvSpPr>
        <p:spPr>
          <a:xfrm>
            <a:off x="829236" y="6319500"/>
            <a:ext cx="452320" cy="365125"/>
          </a:xfrm>
        </p:spPr>
        <p:txBody>
          <a:bodyPr/>
          <a:lstStyle/>
          <a:p>
            <a:pPr>
              <a:spcAft>
                <a:spcPts val="600"/>
              </a:spcAft>
            </a:pPr>
            <a:fld id="{5B2ACB19-C0E1-7345-B8BA-15A723BE30E5}" type="slidenum">
              <a:rPr lang="en-GB" smtClean="0"/>
              <a:pPr>
                <a:spcAft>
                  <a:spcPts val="600"/>
                </a:spcAft>
              </a:pPr>
              <a:t>18</a:t>
            </a:fld>
            <a:endParaRPr lang="en-GB"/>
          </a:p>
        </p:txBody>
      </p:sp>
    </p:spTree>
    <p:extLst>
      <p:ext uri="{BB962C8B-B14F-4D97-AF65-F5344CB8AC3E}">
        <p14:creationId xmlns:p14="http://schemas.microsoft.com/office/powerpoint/2010/main" val="198956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634241-E475-4D52-86A1-4D2FF1EDAE10}"/>
              </a:ext>
            </a:extLst>
          </p:cNvPr>
          <p:cNvSpPr>
            <a:spLocks noGrp="1"/>
          </p:cNvSpPr>
          <p:nvPr>
            <p:ph type="title"/>
          </p:nvPr>
        </p:nvSpPr>
        <p:spPr/>
        <p:txBody>
          <a:bodyPr/>
          <a:lstStyle/>
          <a:p>
            <a:r>
              <a:rPr lang="en-GB"/>
              <a:t>Planerische</a:t>
            </a:r>
            <a:r>
              <a:rPr lang="en-GB" dirty="0"/>
              <a:t> </a:t>
            </a:r>
            <a:r>
              <a:rPr lang="en-GB" dirty="0" err="1"/>
              <a:t>Beteiligung</a:t>
            </a:r>
            <a:r>
              <a:rPr lang="en-GB" dirty="0"/>
              <a:t> </a:t>
            </a:r>
            <a:endParaRPr lang="de-DE" dirty="0"/>
          </a:p>
        </p:txBody>
      </p:sp>
      <p:sp>
        <p:nvSpPr>
          <p:cNvPr id="4" name="Inhaltsplatzhalter 3">
            <a:extLst>
              <a:ext uri="{FF2B5EF4-FFF2-40B4-BE49-F238E27FC236}">
                <a16:creationId xmlns:a16="http://schemas.microsoft.com/office/drawing/2014/main" id="{2BB7A2AE-4259-4B9B-80F7-96B80294D85F}"/>
              </a:ext>
            </a:extLst>
          </p:cNvPr>
          <p:cNvSpPr>
            <a:spLocks noGrp="1"/>
          </p:cNvSpPr>
          <p:nvPr>
            <p:ph sz="quarter" idx="13"/>
          </p:nvPr>
        </p:nvSpPr>
        <p:spPr>
          <a:xfrm>
            <a:off x="824866" y="1990725"/>
            <a:ext cx="5654875" cy="4030981"/>
          </a:xfrm>
        </p:spPr>
        <p:txBody>
          <a:bodyPr/>
          <a:lstStyle/>
          <a:p>
            <a:r>
              <a:rPr lang="de-DE" sz="1600" dirty="0"/>
              <a:t>Frühe Information und Einbindung aller Bürger in den Planungsprozess </a:t>
            </a:r>
          </a:p>
          <a:p>
            <a:r>
              <a:rPr lang="de-DE" sz="1600" dirty="0"/>
              <a:t>Mindestens 1x jährlich eine Bürger-Infoveranstaltung vor Ort</a:t>
            </a:r>
          </a:p>
          <a:p>
            <a:r>
              <a:rPr lang="de-DE" sz="1600" dirty="0"/>
              <a:t>Projekt-Homepage</a:t>
            </a:r>
          </a:p>
          <a:p>
            <a:r>
              <a:rPr lang="de-DE" sz="1600" dirty="0"/>
              <a:t>Dialog mit interessierten Gruppen</a:t>
            </a:r>
          </a:p>
          <a:p>
            <a:r>
              <a:rPr lang="de-DE" sz="1600" dirty="0"/>
              <a:t>Gemeinsame Standortbegehung </a:t>
            </a:r>
          </a:p>
          <a:p>
            <a:endParaRPr lang="de-DE" dirty="0"/>
          </a:p>
        </p:txBody>
      </p:sp>
      <p:sp>
        <p:nvSpPr>
          <p:cNvPr id="5" name="Foliennummernplatzhalter 4">
            <a:extLst>
              <a:ext uri="{FF2B5EF4-FFF2-40B4-BE49-F238E27FC236}">
                <a16:creationId xmlns:a16="http://schemas.microsoft.com/office/drawing/2014/main" id="{35377830-91D3-4C1A-B34A-6FA1B9A47AA9}"/>
              </a:ext>
            </a:extLst>
          </p:cNvPr>
          <p:cNvSpPr>
            <a:spLocks noGrp="1"/>
          </p:cNvSpPr>
          <p:nvPr>
            <p:ph type="sldNum" sz="quarter" idx="16"/>
          </p:nvPr>
        </p:nvSpPr>
        <p:spPr/>
        <p:txBody>
          <a:bodyPr/>
          <a:lstStyle/>
          <a:p>
            <a:fld id="{5B2ACB19-C0E1-7345-B8BA-15A723BE30E5}" type="slidenum">
              <a:rPr lang="en-GB" smtClean="0"/>
              <a:pPr/>
              <a:t>19</a:t>
            </a:fld>
            <a:endParaRPr lang="en-GB"/>
          </a:p>
        </p:txBody>
      </p:sp>
      <p:pic>
        <p:nvPicPr>
          <p:cNvPr id="11" name="Grafik 10">
            <a:extLst>
              <a:ext uri="{FF2B5EF4-FFF2-40B4-BE49-F238E27FC236}">
                <a16:creationId xmlns:a16="http://schemas.microsoft.com/office/drawing/2014/main" id="{B4D3E62E-6221-45DB-90FC-A8C492C15D4D}"/>
              </a:ext>
            </a:extLst>
          </p:cNvPr>
          <p:cNvPicPr>
            <a:picLocks noChangeAspect="1"/>
          </p:cNvPicPr>
          <p:nvPr/>
        </p:nvPicPr>
        <p:blipFill>
          <a:blip r:embed="rId2"/>
          <a:stretch>
            <a:fillRect/>
          </a:stretch>
        </p:blipFill>
        <p:spPr>
          <a:xfrm>
            <a:off x="8035666" y="1484313"/>
            <a:ext cx="3887479" cy="4444457"/>
          </a:xfrm>
          <a:prstGeom prst="rect">
            <a:avLst/>
          </a:prstGeom>
          <a:effectLst>
            <a:outerShdw blurRad="50800" dist="38100" dir="5400000" algn="t" rotWithShape="0">
              <a:prstClr val="black">
                <a:alpha val="40000"/>
              </a:prstClr>
            </a:outerShdw>
          </a:effectLst>
        </p:spPr>
      </p:pic>
      <p:pic>
        <p:nvPicPr>
          <p:cNvPr id="13" name="Grafik 12">
            <a:extLst>
              <a:ext uri="{FF2B5EF4-FFF2-40B4-BE49-F238E27FC236}">
                <a16:creationId xmlns:a16="http://schemas.microsoft.com/office/drawing/2014/main" id="{46ABD56D-670D-41F9-BEE2-F154F0F078D4}"/>
              </a:ext>
            </a:extLst>
          </p:cNvPr>
          <p:cNvPicPr>
            <a:picLocks noChangeAspect="1"/>
          </p:cNvPicPr>
          <p:nvPr/>
        </p:nvPicPr>
        <p:blipFill>
          <a:blip r:embed="rId3"/>
          <a:stretch>
            <a:fillRect/>
          </a:stretch>
        </p:blipFill>
        <p:spPr>
          <a:xfrm>
            <a:off x="5554283" y="4288238"/>
            <a:ext cx="2102117" cy="2213824"/>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42835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96DE0E-D43D-44FC-A80D-02FFACBD23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2D96DE0E-D43D-44FC-A80D-02FFACBD23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035FC01F-6218-4A52-B937-0B016D33500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3176"/>
            <a:ext cx="12192001" cy="6858001"/>
          </a:xfrm>
          <a:prstGeom prst="rect">
            <a:avLst/>
          </a:prstGeom>
        </p:spPr>
      </p:pic>
      <p:grpSp>
        <p:nvGrpSpPr>
          <p:cNvPr id="25" name="Group 24">
            <a:extLst>
              <a:ext uri="{FF2B5EF4-FFF2-40B4-BE49-F238E27FC236}">
                <a16:creationId xmlns:a16="http://schemas.microsoft.com/office/drawing/2014/main" id="{069DD2DF-45BD-459D-9DF8-87C5C08D9D5F}"/>
              </a:ext>
            </a:extLst>
          </p:cNvPr>
          <p:cNvGrpSpPr/>
          <p:nvPr/>
        </p:nvGrpSpPr>
        <p:grpSpPr>
          <a:xfrm>
            <a:off x="829236" y="6340536"/>
            <a:ext cx="1047345" cy="283353"/>
            <a:chOff x="1533524" y="369094"/>
            <a:chExt cx="2243139" cy="606869"/>
          </a:xfrm>
        </p:grpSpPr>
        <p:pic>
          <p:nvPicPr>
            <p:cNvPr id="26" name="Graphic 25">
              <a:extLst>
                <a:ext uri="{FF2B5EF4-FFF2-40B4-BE49-F238E27FC236}">
                  <a16:creationId xmlns:a16="http://schemas.microsoft.com/office/drawing/2014/main" id="{FB088BC6-C75B-48B4-8B80-080836CC41E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277949" y="521688"/>
              <a:ext cx="1498714" cy="302750"/>
            </a:xfrm>
            <a:prstGeom prst="rect">
              <a:avLst/>
            </a:prstGeom>
          </p:spPr>
        </p:pic>
        <p:pic>
          <p:nvPicPr>
            <p:cNvPr id="27" name="Picture 26">
              <a:extLst>
                <a:ext uri="{FF2B5EF4-FFF2-40B4-BE49-F238E27FC236}">
                  <a16:creationId xmlns:a16="http://schemas.microsoft.com/office/drawing/2014/main" id="{5231727E-50CE-45B3-8CE1-E30BCE12544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533524" y="369094"/>
              <a:ext cx="607220" cy="606869"/>
            </a:xfrm>
            <a:prstGeom prst="ellipse">
              <a:avLst/>
            </a:prstGeom>
            <a:ln w="63500" cap="rnd">
              <a:noFill/>
            </a:ln>
            <a:effectLst/>
          </p:spPr>
        </p:pic>
      </p:grpSp>
      <p:sp>
        <p:nvSpPr>
          <p:cNvPr id="17" name="Rectangle 16">
            <a:extLst>
              <a:ext uri="{FF2B5EF4-FFF2-40B4-BE49-F238E27FC236}">
                <a16:creationId xmlns:a16="http://schemas.microsoft.com/office/drawing/2014/main" id="{4004152B-6C73-4CF9-951F-A05F3C0DA5D2}"/>
              </a:ext>
            </a:extLst>
          </p:cNvPr>
          <p:cNvSpPr/>
          <p:nvPr/>
        </p:nvSpPr>
        <p:spPr>
          <a:xfrm>
            <a:off x="2172798" y="908947"/>
            <a:ext cx="3318065" cy="4263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4656322F-62F7-45A6-91F3-591385652C8E}"/>
              </a:ext>
            </a:extLst>
          </p:cNvPr>
          <p:cNvSpPr txBox="1"/>
          <p:nvPr/>
        </p:nvSpPr>
        <p:spPr>
          <a:xfrm>
            <a:off x="2253411" y="4129487"/>
            <a:ext cx="3237452" cy="954107"/>
          </a:xfrm>
          <a:prstGeom prst="rect">
            <a:avLst/>
          </a:prstGeom>
          <a:noFill/>
        </p:spPr>
        <p:txBody>
          <a:bodyPr wrap="square" lIns="0" tIns="0" rIns="0" bIns="0" rtlCol="0">
            <a:spAutoFit/>
          </a:bodyPr>
          <a:lstStyle/>
          <a:p>
            <a:pPr algn="l">
              <a:spcBef>
                <a:spcPts val="600"/>
              </a:spcBef>
              <a:buClr>
                <a:schemeClr val="accent1"/>
              </a:buClr>
              <a:buSzPct val="120000"/>
            </a:pPr>
            <a:r>
              <a:rPr lang="en-GB" sz="2000" b="1" dirty="0">
                <a:solidFill>
                  <a:schemeClr val="accent5"/>
                </a:solidFill>
                <a:latin typeface="Arial" pitchFamily="34" charset="0"/>
                <a:cs typeface="Arial" pitchFamily="34" charset="0"/>
              </a:rPr>
              <a:t>Clemens Hedwig</a:t>
            </a:r>
          </a:p>
          <a:p>
            <a:pPr algn="l">
              <a:spcBef>
                <a:spcPts val="600"/>
              </a:spcBef>
              <a:buClr>
                <a:schemeClr val="accent1"/>
              </a:buClr>
              <a:buSzPct val="120000"/>
            </a:pPr>
            <a:r>
              <a:rPr lang="en-GB" sz="1600" dirty="0" err="1">
                <a:solidFill>
                  <a:schemeClr val="accent5"/>
                </a:solidFill>
                <a:latin typeface="Arial" pitchFamily="34" charset="0"/>
                <a:cs typeface="Arial" pitchFamily="34" charset="0"/>
              </a:rPr>
              <a:t>Geschäftsentwicklung</a:t>
            </a:r>
            <a:r>
              <a:rPr lang="en-GB" sz="1600" dirty="0">
                <a:solidFill>
                  <a:schemeClr val="accent5"/>
                </a:solidFill>
                <a:latin typeface="Arial" pitchFamily="34" charset="0"/>
                <a:cs typeface="Arial" pitchFamily="34" charset="0"/>
              </a:rPr>
              <a:t> &amp; </a:t>
            </a:r>
            <a:r>
              <a:rPr lang="en-GB" sz="1600" dirty="0" err="1">
                <a:solidFill>
                  <a:schemeClr val="accent5"/>
                </a:solidFill>
                <a:latin typeface="Arial" pitchFamily="34" charset="0"/>
                <a:cs typeface="Arial" pitchFamily="34" charset="0"/>
              </a:rPr>
              <a:t>Akquise</a:t>
            </a:r>
            <a:endParaRPr lang="en-GB" sz="1600" dirty="0">
              <a:solidFill>
                <a:schemeClr val="accent5"/>
              </a:solidFill>
              <a:latin typeface="Arial" pitchFamily="34" charset="0"/>
              <a:cs typeface="Arial" pitchFamily="34" charset="0"/>
            </a:endParaRPr>
          </a:p>
          <a:p>
            <a:pPr algn="l">
              <a:spcBef>
                <a:spcPts val="600"/>
              </a:spcBef>
              <a:buClr>
                <a:schemeClr val="accent1"/>
              </a:buClr>
              <a:buSzPct val="120000"/>
            </a:pPr>
            <a:r>
              <a:rPr lang="en-GB" sz="1600" dirty="0">
                <a:solidFill>
                  <a:schemeClr val="accent5"/>
                </a:solidFill>
                <a:latin typeface="Arial" pitchFamily="34" charset="0"/>
                <a:cs typeface="Arial" pitchFamily="34" charset="0"/>
              </a:rPr>
              <a:t>Wind &amp; Solar Deutschland </a:t>
            </a:r>
          </a:p>
        </p:txBody>
      </p:sp>
      <p:sp>
        <p:nvSpPr>
          <p:cNvPr id="20" name="Rectangle 19">
            <a:extLst>
              <a:ext uri="{FF2B5EF4-FFF2-40B4-BE49-F238E27FC236}">
                <a16:creationId xmlns:a16="http://schemas.microsoft.com/office/drawing/2014/main" id="{539B94A7-7AE3-4C00-BF55-3DA6BFA12F51}"/>
              </a:ext>
            </a:extLst>
          </p:cNvPr>
          <p:cNvSpPr/>
          <p:nvPr/>
        </p:nvSpPr>
        <p:spPr>
          <a:xfrm>
            <a:off x="6017700" y="908948"/>
            <a:ext cx="3318065" cy="42631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58253884-8291-4596-9CB4-3C5BE96DB02D}"/>
              </a:ext>
            </a:extLst>
          </p:cNvPr>
          <p:cNvSpPr txBox="1"/>
          <p:nvPr/>
        </p:nvSpPr>
        <p:spPr>
          <a:xfrm>
            <a:off x="6098313" y="4129487"/>
            <a:ext cx="3237452" cy="954107"/>
          </a:xfrm>
          <a:prstGeom prst="rect">
            <a:avLst/>
          </a:prstGeom>
          <a:noFill/>
        </p:spPr>
        <p:txBody>
          <a:bodyPr wrap="square" lIns="0" tIns="0" rIns="0" bIns="0" rtlCol="0">
            <a:spAutoFit/>
          </a:bodyPr>
          <a:lstStyle/>
          <a:p>
            <a:pPr algn="l">
              <a:spcBef>
                <a:spcPts val="600"/>
              </a:spcBef>
              <a:buClr>
                <a:schemeClr val="accent1"/>
              </a:buClr>
              <a:buSzPct val="120000"/>
            </a:pPr>
            <a:r>
              <a:rPr lang="en-GB" sz="2000" b="1" dirty="0">
                <a:solidFill>
                  <a:schemeClr val="accent5"/>
                </a:solidFill>
                <a:latin typeface="Arial" pitchFamily="34" charset="0"/>
                <a:cs typeface="Arial" pitchFamily="34" charset="0"/>
              </a:rPr>
              <a:t>Bernd Hemmers</a:t>
            </a:r>
          </a:p>
          <a:p>
            <a:pPr algn="l">
              <a:spcBef>
                <a:spcPts val="600"/>
              </a:spcBef>
              <a:buClr>
                <a:schemeClr val="accent1"/>
              </a:buClr>
              <a:buSzPct val="120000"/>
            </a:pPr>
            <a:r>
              <a:rPr lang="en-GB" sz="1600" dirty="0" err="1">
                <a:solidFill>
                  <a:schemeClr val="accent5"/>
                </a:solidFill>
                <a:latin typeface="Arial" pitchFamily="34" charset="0"/>
                <a:cs typeface="Arial" pitchFamily="34" charset="0"/>
              </a:rPr>
              <a:t>Projektmanagement</a:t>
            </a:r>
            <a:r>
              <a:rPr lang="en-GB" sz="1600" dirty="0">
                <a:solidFill>
                  <a:schemeClr val="accent5"/>
                </a:solidFill>
                <a:latin typeface="Arial" pitchFamily="34" charset="0"/>
                <a:cs typeface="Arial" pitchFamily="34" charset="0"/>
              </a:rPr>
              <a:t> </a:t>
            </a:r>
          </a:p>
          <a:p>
            <a:pPr>
              <a:spcBef>
                <a:spcPts val="600"/>
              </a:spcBef>
              <a:buClr>
                <a:schemeClr val="accent1"/>
              </a:buClr>
              <a:buSzPct val="120000"/>
            </a:pPr>
            <a:r>
              <a:rPr lang="en-GB" sz="1600" dirty="0">
                <a:solidFill>
                  <a:schemeClr val="accent5"/>
                </a:solidFill>
                <a:latin typeface="Arial" pitchFamily="34" charset="0"/>
                <a:cs typeface="Arial" pitchFamily="34" charset="0"/>
              </a:rPr>
              <a:t>Wind &amp; Solar Deutschland </a:t>
            </a:r>
          </a:p>
        </p:txBody>
      </p:sp>
      <p:pic>
        <p:nvPicPr>
          <p:cNvPr id="6" name="Grafik 5" descr="Ein Bild, das Person, draußen, Mann, stehend enthält.&#10;&#10;Automatisch generierte Beschreibung">
            <a:extLst>
              <a:ext uri="{FF2B5EF4-FFF2-40B4-BE49-F238E27FC236}">
                <a16:creationId xmlns:a16="http://schemas.microsoft.com/office/drawing/2014/main" id="{D465233E-65FF-43C7-ACA4-71BA2CC7D461}"/>
              </a:ext>
            </a:extLst>
          </p:cNvPr>
          <p:cNvPicPr>
            <a:picLocks noChangeAspect="1"/>
          </p:cNvPicPr>
          <p:nvPr/>
        </p:nvPicPr>
        <p:blipFill rotWithShape="1">
          <a:blip r:embed="rId10">
            <a:extLst>
              <a:ext uri="{28A0092B-C50C-407E-A947-70E740481C1C}">
                <a14:useLocalDpi xmlns:a14="http://schemas.microsoft.com/office/drawing/2010/main" val="0"/>
              </a:ext>
            </a:extLst>
          </a:blip>
          <a:srcRect t="9302"/>
          <a:stretch/>
        </p:blipFill>
        <p:spPr>
          <a:xfrm>
            <a:off x="2281200" y="976712"/>
            <a:ext cx="3101259" cy="3058216"/>
          </a:xfrm>
          <a:prstGeom prst="rect">
            <a:avLst/>
          </a:prstGeom>
        </p:spPr>
      </p:pic>
      <p:sp>
        <p:nvSpPr>
          <p:cNvPr id="3" name="AutoShape 4">
            <a:extLst>
              <a:ext uri="{FF2B5EF4-FFF2-40B4-BE49-F238E27FC236}">
                <a16:creationId xmlns:a16="http://schemas.microsoft.com/office/drawing/2014/main" id="{47CB048F-CBCD-49E3-A962-D5C9C1F2A307}"/>
              </a:ext>
            </a:extLst>
          </p:cNvPr>
          <p:cNvSpPr>
            <a:spLocks noChangeAspect="1" noChangeArrowheads="1"/>
          </p:cNvSpPr>
          <p:nvPr/>
        </p:nvSpPr>
        <p:spPr bwMode="auto">
          <a:xfrm>
            <a:off x="3592287"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 name="AutoShape 6">
            <a:extLst>
              <a:ext uri="{FF2B5EF4-FFF2-40B4-BE49-F238E27FC236}">
                <a16:creationId xmlns:a16="http://schemas.microsoft.com/office/drawing/2014/main" id="{02A352E0-F0EE-4FFF-8FA9-48BBD5077531}"/>
              </a:ext>
            </a:extLst>
          </p:cNvPr>
          <p:cNvSpPr>
            <a:spLocks noChangeAspect="1" noChangeArrowheads="1"/>
          </p:cNvSpPr>
          <p:nvPr/>
        </p:nvSpPr>
        <p:spPr bwMode="auto">
          <a:xfrm>
            <a:off x="3744687"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1" name="Grafik 10" descr="Ein Bild, das Person, Mann, Anzug enthält.&#10;&#10;Automatisch generierte Beschreibung">
            <a:extLst>
              <a:ext uri="{FF2B5EF4-FFF2-40B4-BE49-F238E27FC236}">
                <a16:creationId xmlns:a16="http://schemas.microsoft.com/office/drawing/2014/main" id="{9FBE6BCD-72B0-4D07-8DD5-5CB8CB4403F6}"/>
              </a:ext>
            </a:extLst>
          </p:cNvPr>
          <p:cNvPicPr>
            <a:picLocks noChangeAspect="1"/>
          </p:cNvPicPr>
          <p:nvPr/>
        </p:nvPicPr>
        <p:blipFill rotWithShape="1">
          <a:blip r:embed="rId11">
            <a:extLst>
              <a:ext uri="{28A0092B-C50C-407E-A947-70E740481C1C}">
                <a14:useLocalDpi xmlns:a14="http://schemas.microsoft.com/office/drawing/2010/main" val="0"/>
              </a:ext>
            </a:extLst>
          </a:blip>
          <a:srcRect l="24233" t="689" r="15549" b="8797"/>
          <a:stretch/>
        </p:blipFill>
        <p:spPr>
          <a:xfrm>
            <a:off x="6127854" y="953479"/>
            <a:ext cx="3075843" cy="3081449"/>
          </a:xfrm>
          <a:prstGeom prst="rect">
            <a:avLst/>
          </a:prstGeom>
        </p:spPr>
      </p:pic>
    </p:spTree>
    <p:extLst>
      <p:ext uri="{BB962C8B-B14F-4D97-AF65-F5344CB8AC3E}">
        <p14:creationId xmlns:p14="http://schemas.microsoft.com/office/powerpoint/2010/main" val="1190641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566F3E-ECA0-468E-AEE4-9EED34492B11}"/>
              </a:ext>
            </a:extLst>
          </p:cNvPr>
          <p:cNvSpPr>
            <a:spLocks noGrp="1"/>
          </p:cNvSpPr>
          <p:nvPr>
            <p:ph type="title"/>
          </p:nvPr>
        </p:nvSpPr>
        <p:spPr>
          <a:xfrm>
            <a:off x="829237" y="577216"/>
            <a:ext cx="5190564" cy="907097"/>
          </a:xfrm>
        </p:spPr>
        <p:txBody>
          <a:bodyPr/>
          <a:lstStyle/>
          <a:p>
            <a:r>
              <a:rPr lang="en-GB" sz="3200"/>
              <a:t>Finanzielle Beteiligung</a:t>
            </a:r>
            <a:endParaRPr lang="de-DE" dirty="0"/>
          </a:p>
        </p:txBody>
      </p:sp>
      <p:sp>
        <p:nvSpPr>
          <p:cNvPr id="4" name="Foliennummernplatzhalter 3">
            <a:extLst>
              <a:ext uri="{FF2B5EF4-FFF2-40B4-BE49-F238E27FC236}">
                <a16:creationId xmlns:a16="http://schemas.microsoft.com/office/drawing/2014/main" id="{FC3AF0E9-9380-4163-B59A-503F5F795EE9}"/>
              </a:ext>
            </a:extLst>
          </p:cNvPr>
          <p:cNvSpPr>
            <a:spLocks noGrp="1"/>
          </p:cNvSpPr>
          <p:nvPr>
            <p:ph type="sldNum" sz="quarter" idx="15"/>
          </p:nvPr>
        </p:nvSpPr>
        <p:spPr/>
        <p:txBody>
          <a:bodyPr/>
          <a:lstStyle/>
          <a:p>
            <a:fld id="{5B2ACB19-C0E1-7345-B8BA-15A723BE30E5}" type="slidenum">
              <a:rPr lang="en-GB" smtClean="0"/>
              <a:pPr/>
              <a:t>20</a:t>
            </a:fld>
            <a:endParaRPr lang="en-GB"/>
          </a:p>
        </p:txBody>
      </p:sp>
      <p:grpSp>
        <p:nvGrpSpPr>
          <p:cNvPr id="21" name="Gruppieren 20">
            <a:extLst>
              <a:ext uri="{FF2B5EF4-FFF2-40B4-BE49-F238E27FC236}">
                <a16:creationId xmlns:a16="http://schemas.microsoft.com/office/drawing/2014/main" id="{1380CB08-B3C1-4B99-9E49-FB427B9FA32E}"/>
              </a:ext>
            </a:extLst>
          </p:cNvPr>
          <p:cNvGrpSpPr/>
          <p:nvPr/>
        </p:nvGrpSpPr>
        <p:grpSpPr>
          <a:xfrm>
            <a:off x="774447" y="2169212"/>
            <a:ext cx="4957674" cy="792609"/>
            <a:chOff x="976437" y="2113163"/>
            <a:chExt cx="4957674" cy="792609"/>
          </a:xfrm>
        </p:grpSpPr>
        <p:sp>
          <p:nvSpPr>
            <p:cNvPr id="12" name="Rechteck 11">
              <a:extLst>
                <a:ext uri="{FF2B5EF4-FFF2-40B4-BE49-F238E27FC236}">
                  <a16:creationId xmlns:a16="http://schemas.microsoft.com/office/drawing/2014/main" id="{DDDAB239-C56E-4B30-B5F7-F8775471FD57}"/>
                </a:ext>
              </a:extLst>
            </p:cNvPr>
            <p:cNvSpPr/>
            <p:nvPr/>
          </p:nvSpPr>
          <p:spPr>
            <a:xfrm>
              <a:off x="976437" y="2113163"/>
              <a:ext cx="4957674" cy="7926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de-DE" sz="1600">
                <a:solidFill>
                  <a:schemeClr val="accent5"/>
                </a:solidFill>
              </a:endParaRPr>
            </a:p>
          </p:txBody>
        </p:sp>
        <p:sp>
          <p:nvSpPr>
            <p:cNvPr id="13" name="Rectangle 10">
              <a:extLst>
                <a:ext uri="{FF2B5EF4-FFF2-40B4-BE49-F238E27FC236}">
                  <a16:creationId xmlns:a16="http://schemas.microsoft.com/office/drawing/2014/main" id="{514D4195-12D2-43CD-9B65-AD0E4FC801F3}"/>
                </a:ext>
              </a:extLst>
            </p:cNvPr>
            <p:cNvSpPr/>
            <p:nvPr/>
          </p:nvSpPr>
          <p:spPr>
            <a:xfrm>
              <a:off x="1755608" y="2149467"/>
              <a:ext cx="4130163" cy="70910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lvl="1"/>
              <a:r>
                <a:rPr lang="en-GB" sz="2000" b="1" dirty="0" err="1"/>
                <a:t>Eigenbetrieb</a:t>
              </a:r>
              <a:r>
                <a:rPr lang="en-GB" sz="2000" b="1" dirty="0"/>
                <a:t> von WEA </a:t>
              </a:r>
            </a:p>
          </p:txBody>
        </p:sp>
        <p:pic>
          <p:nvPicPr>
            <p:cNvPr id="14" name="Grafik 13">
              <a:extLst>
                <a:ext uri="{FF2B5EF4-FFF2-40B4-BE49-F238E27FC236}">
                  <a16:creationId xmlns:a16="http://schemas.microsoft.com/office/drawing/2014/main" id="{298B1E01-75AD-470C-BF46-5C3C6929C9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6707" y="2155943"/>
              <a:ext cx="720000" cy="720000"/>
            </a:xfrm>
            <a:prstGeom prst="rect">
              <a:avLst/>
            </a:prstGeom>
            <a:noFill/>
            <a:ln>
              <a:noFill/>
            </a:ln>
          </p:spPr>
        </p:pic>
      </p:grpSp>
      <p:grpSp>
        <p:nvGrpSpPr>
          <p:cNvPr id="22" name="Gruppieren 21">
            <a:extLst>
              <a:ext uri="{FF2B5EF4-FFF2-40B4-BE49-F238E27FC236}">
                <a16:creationId xmlns:a16="http://schemas.microsoft.com/office/drawing/2014/main" id="{1CB69A85-FED5-4058-B040-75FFF2EB7F23}"/>
              </a:ext>
            </a:extLst>
          </p:cNvPr>
          <p:cNvGrpSpPr/>
          <p:nvPr/>
        </p:nvGrpSpPr>
        <p:grpSpPr>
          <a:xfrm>
            <a:off x="774447" y="3272871"/>
            <a:ext cx="4957674" cy="792609"/>
            <a:chOff x="976437" y="3105842"/>
            <a:chExt cx="4957674" cy="792609"/>
          </a:xfrm>
        </p:grpSpPr>
        <p:sp>
          <p:nvSpPr>
            <p:cNvPr id="8" name="Rechteck 7">
              <a:extLst>
                <a:ext uri="{FF2B5EF4-FFF2-40B4-BE49-F238E27FC236}">
                  <a16:creationId xmlns:a16="http://schemas.microsoft.com/office/drawing/2014/main" id="{CCB188D5-CE67-4A1A-8647-29035891FE98}"/>
                </a:ext>
              </a:extLst>
            </p:cNvPr>
            <p:cNvSpPr/>
            <p:nvPr/>
          </p:nvSpPr>
          <p:spPr>
            <a:xfrm>
              <a:off x="976437" y="3105842"/>
              <a:ext cx="4957674" cy="7926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72000" bIns="7200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de-DE" sz="1600" dirty="0">
                <a:solidFill>
                  <a:schemeClr val="accent5"/>
                </a:solidFill>
              </a:endParaRPr>
            </a:p>
          </p:txBody>
        </p:sp>
        <p:sp>
          <p:nvSpPr>
            <p:cNvPr id="9" name="Rectangle 10">
              <a:extLst>
                <a:ext uri="{FF2B5EF4-FFF2-40B4-BE49-F238E27FC236}">
                  <a16:creationId xmlns:a16="http://schemas.microsoft.com/office/drawing/2014/main" id="{0285C54A-9465-44A2-BCCF-E6A4E560976C}"/>
                </a:ext>
              </a:extLst>
            </p:cNvPr>
            <p:cNvSpPr/>
            <p:nvPr/>
          </p:nvSpPr>
          <p:spPr>
            <a:xfrm>
              <a:off x="1773218" y="3142146"/>
              <a:ext cx="4112553" cy="70910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72000" bIns="72000" numCol="1" spcCol="0" rtlCol="0" fromWordArt="0" anchor="ctr" anchorCtr="0" forceAA="0" compatLnSpc="1">
              <a:prstTxWarp prst="textNoShape">
                <a:avLst/>
              </a:prstTxWarp>
              <a:noAutofit/>
            </a:bodyPr>
            <a:lstStyle/>
            <a:p>
              <a:pPr lvl="1"/>
              <a:r>
                <a:rPr lang="en-GB" sz="2000" b="1" dirty="0" err="1"/>
                <a:t>Nachrangdarlehen</a:t>
              </a:r>
              <a:r>
                <a:rPr lang="en-GB" sz="2000" b="1" dirty="0"/>
                <a:t> </a:t>
              </a:r>
            </a:p>
          </p:txBody>
        </p:sp>
        <p:pic>
          <p:nvPicPr>
            <p:cNvPr id="19" name="Grafik 18">
              <a:extLst>
                <a:ext uri="{FF2B5EF4-FFF2-40B4-BE49-F238E27FC236}">
                  <a16:creationId xmlns:a16="http://schemas.microsoft.com/office/drawing/2014/main" id="{63D0F3BF-6CA2-4434-9A36-E559014AA0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4250" y="3153334"/>
              <a:ext cx="720000" cy="720000"/>
            </a:xfrm>
            <a:prstGeom prst="rect">
              <a:avLst/>
            </a:prstGeom>
          </p:spPr>
        </p:pic>
      </p:grpSp>
      <p:grpSp>
        <p:nvGrpSpPr>
          <p:cNvPr id="23" name="Gruppieren 22">
            <a:extLst>
              <a:ext uri="{FF2B5EF4-FFF2-40B4-BE49-F238E27FC236}">
                <a16:creationId xmlns:a16="http://schemas.microsoft.com/office/drawing/2014/main" id="{0FD3ADC8-C1AB-477A-9561-6079AAE9EED9}"/>
              </a:ext>
            </a:extLst>
          </p:cNvPr>
          <p:cNvGrpSpPr/>
          <p:nvPr/>
        </p:nvGrpSpPr>
        <p:grpSpPr>
          <a:xfrm>
            <a:off x="774448" y="4376031"/>
            <a:ext cx="4957674" cy="792609"/>
            <a:chOff x="958828" y="4186493"/>
            <a:chExt cx="4957674" cy="792609"/>
          </a:xfrm>
        </p:grpSpPr>
        <p:sp>
          <p:nvSpPr>
            <p:cNvPr id="17" name="Rechteck 16">
              <a:extLst>
                <a:ext uri="{FF2B5EF4-FFF2-40B4-BE49-F238E27FC236}">
                  <a16:creationId xmlns:a16="http://schemas.microsoft.com/office/drawing/2014/main" id="{EB7B82CE-E870-4626-ABD8-924FBB52CA80}"/>
                </a:ext>
              </a:extLst>
            </p:cNvPr>
            <p:cNvSpPr/>
            <p:nvPr/>
          </p:nvSpPr>
          <p:spPr>
            <a:xfrm>
              <a:off x="958828" y="4186493"/>
              <a:ext cx="4957674" cy="7926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de-DE" sz="1600" dirty="0">
                <a:solidFill>
                  <a:schemeClr val="accent5"/>
                </a:solidFill>
              </a:endParaRPr>
            </a:p>
          </p:txBody>
        </p:sp>
        <p:sp>
          <p:nvSpPr>
            <p:cNvPr id="18" name="Rectangle 10">
              <a:extLst>
                <a:ext uri="{FF2B5EF4-FFF2-40B4-BE49-F238E27FC236}">
                  <a16:creationId xmlns:a16="http://schemas.microsoft.com/office/drawing/2014/main" id="{3DAA7242-F225-4B09-95FC-0920F4DEAA54}"/>
                </a:ext>
              </a:extLst>
            </p:cNvPr>
            <p:cNvSpPr/>
            <p:nvPr/>
          </p:nvSpPr>
          <p:spPr>
            <a:xfrm>
              <a:off x="1755608" y="4222797"/>
              <a:ext cx="4112553" cy="70910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72000" bIns="72000" numCol="1" spcCol="0" rtlCol="0" fromWordArt="0" anchor="ctr" anchorCtr="0" forceAA="0" compatLnSpc="1">
              <a:prstTxWarp prst="textNoShape">
                <a:avLst/>
              </a:prstTxWarp>
              <a:noAutofit/>
            </a:bodyPr>
            <a:lstStyle/>
            <a:p>
              <a:pPr lvl="1"/>
              <a:r>
                <a:rPr lang="en-GB" sz="2000" b="1" dirty="0" err="1"/>
                <a:t>Zahlung</a:t>
              </a:r>
              <a:r>
                <a:rPr lang="en-GB" sz="2000" b="1" dirty="0"/>
                <a:t> an die </a:t>
              </a:r>
              <a:r>
                <a:rPr lang="en-GB" sz="2000" b="1" dirty="0" err="1"/>
                <a:t>Kommunen</a:t>
              </a:r>
              <a:endParaRPr lang="en-GB" sz="2000" b="1" dirty="0"/>
            </a:p>
          </p:txBody>
        </p:sp>
        <p:pic>
          <p:nvPicPr>
            <p:cNvPr id="20" name="Grafik 19">
              <a:extLst>
                <a:ext uri="{FF2B5EF4-FFF2-40B4-BE49-F238E27FC236}">
                  <a16:creationId xmlns:a16="http://schemas.microsoft.com/office/drawing/2014/main" id="{CB98F29B-0E5A-44B5-ADA5-06FBFC40E0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0250" y="4253349"/>
              <a:ext cx="648000" cy="648000"/>
            </a:xfrm>
            <a:prstGeom prst="rect">
              <a:avLst/>
            </a:prstGeom>
          </p:spPr>
        </p:pic>
      </p:grpSp>
      <p:pic>
        <p:nvPicPr>
          <p:cNvPr id="29" name="Grafik 28">
            <a:extLst>
              <a:ext uri="{FF2B5EF4-FFF2-40B4-BE49-F238E27FC236}">
                <a16:creationId xmlns:a16="http://schemas.microsoft.com/office/drawing/2014/main" id="{D18544DE-05CF-4EF1-9FBE-BBE0C780007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164" r="11554"/>
          <a:stretch/>
        </p:blipFill>
        <p:spPr>
          <a:xfrm>
            <a:off x="6607510" y="0"/>
            <a:ext cx="5584490" cy="6858000"/>
          </a:xfrm>
          <a:prstGeom prst="rect">
            <a:avLst/>
          </a:prstGeom>
        </p:spPr>
      </p:pic>
    </p:spTree>
    <p:extLst>
      <p:ext uri="{BB962C8B-B14F-4D97-AF65-F5344CB8AC3E}">
        <p14:creationId xmlns:p14="http://schemas.microsoft.com/office/powerpoint/2010/main" val="274171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80B06F-7424-48B9-BAB6-9FD7560895AC}"/>
              </a:ext>
            </a:extLst>
          </p:cNvPr>
          <p:cNvSpPr>
            <a:spLocks noGrp="1"/>
          </p:cNvSpPr>
          <p:nvPr>
            <p:ph type="title"/>
          </p:nvPr>
        </p:nvSpPr>
        <p:spPr/>
        <p:txBody>
          <a:bodyPr/>
          <a:lstStyle/>
          <a:p>
            <a:r>
              <a:rPr lang="en-GB" sz="3200" dirty="0" err="1"/>
              <a:t>Bürgerwindenergieanlagen</a:t>
            </a:r>
            <a:endParaRPr lang="en-GB" sz="3200" dirty="0"/>
          </a:p>
        </p:txBody>
      </p:sp>
      <p:sp>
        <p:nvSpPr>
          <p:cNvPr id="4" name="Inhaltsplatzhalter 3">
            <a:extLst>
              <a:ext uri="{FF2B5EF4-FFF2-40B4-BE49-F238E27FC236}">
                <a16:creationId xmlns:a16="http://schemas.microsoft.com/office/drawing/2014/main" id="{025FA36D-6220-4276-AC20-E0C9AB7AF549}"/>
              </a:ext>
            </a:extLst>
          </p:cNvPr>
          <p:cNvSpPr>
            <a:spLocks noGrp="1"/>
          </p:cNvSpPr>
          <p:nvPr>
            <p:ph sz="quarter" idx="13"/>
          </p:nvPr>
        </p:nvSpPr>
        <p:spPr>
          <a:xfrm>
            <a:off x="824866" y="2241549"/>
            <a:ext cx="4842509" cy="3780157"/>
          </a:xfrm>
        </p:spPr>
        <p:txBody>
          <a:bodyPr/>
          <a:lstStyle/>
          <a:p>
            <a:r>
              <a:rPr lang="de-DE" sz="1600" dirty="0"/>
              <a:t>Schlüsselfertige Errichtung und Veräußerung von bis zu 6 Bürgerwindenergieanlagen durch </a:t>
            </a:r>
            <a:r>
              <a:rPr lang="de-DE" sz="1600" dirty="0" err="1"/>
              <a:t>Statkraft</a:t>
            </a:r>
            <a:r>
              <a:rPr lang="de-DE" sz="1600" dirty="0"/>
              <a:t> </a:t>
            </a:r>
          </a:p>
          <a:p>
            <a:r>
              <a:rPr lang="de-DE" sz="1600" dirty="0"/>
              <a:t>Beteiligung über eine oder mehrere Bürger-Energiegenossenschaften (BEG) </a:t>
            </a:r>
          </a:p>
          <a:p>
            <a:r>
              <a:rPr lang="de-DE" sz="1600" dirty="0"/>
              <a:t>Selbstständige Verantwortung für min. eine  Windenergieanlage in eigener Gesellschaft</a:t>
            </a:r>
          </a:p>
        </p:txBody>
      </p:sp>
      <p:sp>
        <p:nvSpPr>
          <p:cNvPr id="5" name="Foliennummernplatzhalter 4">
            <a:extLst>
              <a:ext uri="{FF2B5EF4-FFF2-40B4-BE49-F238E27FC236}">
                <a16:creationId xmlns:a16="http://schemas.microsoft.com/office/drawing/2014/main" id="{C282C05F-96FF-4D63-9AF6-42E0E0B7A42D}"/>
              </a:ext>
            </a:extLst>
          </p:cNvPr>
          <p:cNvSpPr>
            <a:spLocks noGrp="1"/>
          </p:cNvSpPr>
          <p:nvPr>
            <p:ph type="sldNum" sz="quarter" idx="16"/>
          </p:nvPr>
        </p:nvSpPr>
        <p:spPr/>
        <p:txBody>
          <a:bodyPr/>
          <a:lstStyle/>
          <a:p>
            <a:fld id="{5B2ACB19-C0E1-7345-B8BA-15A723BE30E5}" type="slidenum">
              <a:rPr lang="en-GB" smtClean="0"/>
              <a:pPr/>
              <a:t>21</a:t>
            </a:fld>
            <a:endParaRPr lang="en-GB"/>
          </a:p>
        </p:txBody>
      </p:sp>
      <p:grpSp>
        <p:nvGrpSpPr>
          <p:cNvPr id="76" name="Gruppieren 75">
            <a:extLst>
              <a:ext uri="{FF2B5EF4-FFF2-40B4-BE49-F238E27FC236}">
                <a16:creationId xmlns:a16="http://schemas.microsoft.com/office/drawing/2014/main" id="{F664E056-3F81-4B4A-88A9-DEDB14459E76}"/>
              </a:ext>
            </a:extLst>
          </p:cNvPr>
          <p:cNvGrpSpPr/>
          <p:nvPr/>
        </p:nvGrpSpPr>
        <p:grpSpPr>
          <a:xfrm>
            <a:off x="6890019" y="2265500"/>
            <a:ext cx="4271180" cy="2528603"/>
            <a:chOff x="8627010" y="2426432"/>
            <a:chExt cx="3491261" cy="1706133"/>
          </a:xfrm>
          <a:effectLst>
            <a:outerShdw blurRad="50800" dist="38100" dir="5400000" algn="t" rotWithShape="0">
              <a:prstClr val="black">
                <a:alpha val="40000"/>
              </a:prstClr>
            </a:outerShdw>
          </a:effectLst>
        </p:grpSpPr>
        <p:sp>
          <p:nvSpPr>
            <p:cNvPr id="30" name="Rectangle 42">
              <a:extLst>
                <a:ext uri="{FF2B5EF4-FFF2-40B4-BE49-F238E27FC236}">
                  <a16:creationId xmlns:a16="http://schemas.microsoft.com/office/drawing/2014/main" id="{71EBE147-B7FB-4C0D-A559-435AF31156F5}"/>
                </a:ext>
              </a:extLst>
            </p:cNvPr>
            <p:cNvSpPr/>
            <p:nvPr/>
          </p:nvSpPr>
          <p:spPr>
            <a:xfrm>
              <a:off x="8751221" y="3037761"/>
              <a:ext cx="1292400" cy="3301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900" b="1" dirty="0"/>
                <a:t>Wind-Gesellschaft x</a:t>
              </a:r>
            </a:p>
          </p:txBody>
        </p:sp>
        <p:sp>
          <p:nvSpPr>
            <p:cNvPr id="31" name="Rectangle 43">
              <a:extLst>
                <a:ext uri="{FF2B5EF4-FFF2-40B4-BE49-F238E27FC236}">
                  <a16:creationId xmlns:a16="http://schemas.microsoft.com/office/drawing/2014/main" id="{F70EC658-B779-4299-B0D5-0F2BF3BE8D79}"/>
                </a:ext>
              </a:extLst>
            </p:cNvPr>
            <p:cNvSpPr/>
            <p:nvPr/>
          </p:nvSpPr>
          <p:spPr>
            <a:xfrm>
              <a:off x="10820979" y="3029847"/>
              <a:ext cx="1296000" cy="33016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900" b="1" dirty="0"/>
                <a:t>Wind-Gesellschaft y</a:t>
              </a:r>
            </a:p>
          </p:txBody>
        </p:sp>
        <p:sp>
          <p:nvSpPr>
            <p:cNvPr id="32" name="Rectangle 44">
              <a:extLst>
                <a:ext uri="{FF2B5EF4-FFF2-40B4-BE49-F238E27FC236}">
                  <a16:creationId xmlns:a16="http://schemas.microsoft.com/office/drawing/2014/main" id="{E98F08FC-36F2-4193-83CE-3A9E1599B9A7}"/>
                </a:ext>
              </a:extLst>
            </p:cNvPr>
            <p:cNvSpPr/>
            <p:nvPr/>
          </p:nvSpPr>
          <p:spPr>
            <a:xfrm>
              <a:off x="8752818" y="2426432"/>
              <a:ext cx="1290803" cy="33018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err="1"/>
                <a:t>Statkraft</a:t>
              </a:r>
              <a:endParaRPr lang="de-DE" sz="1400" b="1" dirty="0"/>
            </a:p>
          </p:txBody>
        </p:sp>
        <p:sp>
          <p:nvSpPr>
            <p:cNvPr id="33" name="Rectangle 45">
              <a:extLst>
                <a:ext uri="{FF2B5EF4-FFF2-40B4-BE49-F238E27FC236}">
                  <a16:creationId xmlns:a16="http://schemas.microsoft.com/office/drawing/2014/main" id="{9007F231-E45E-4D2F-875F-338A7A795371}"/>
                </a:ext>
              </a:extLst>
            </p:cNvPr>
            <p:cNvSpPr/>
            <p:nvPr/>
          </p:nvSpPr>
          <p:spPr>
            <a:xfrm>
              <a:off x="10820979" y="2426432"/>
              <a:ext cx="1297292" cy="33018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t>BEG</a:t>
              </a:r>
            </a:p>
          </p:txBody>
        </p:sp>
        <p:cxnSp>
          <p:nvCxnSpPr>
            <p:cNvPr id="47" name="Straight Arrow Connector 5">
              <a:extLst>
                <a:ext uri="{FF2B5EF4-FFF2-40B4-BE49-F238E27FC236}">
                  <a16:creationId xmlns:a16="http://schemas.microsoft.com/office/drawing/2014/main" id="{904D94BE-057C-49CF-A2D9-924FE59B860C}"/>
                </a:ext>
              </a:extLst>
            </p:cNvPr>
            <p:cNvCxnSpPr/>
            <p:nvPr/>
          </p:nvCxnSpPr>
          <p:spPr>
            <a:xfrm>
              <a:off x="10252819" y="3690048"/>
              <a:ext cx="498308" cy="0"/>
            </a:xfrm>
            <a:prstGeom prst="straightConnector1">
              <a:avLst/>
            </a:prstGeom>
            <a:ln w="63500" cap="flat" cmpd="sng">
              <a:solidFill>
                <a:schemeClr val="accent6"/>
              </a:solidFill>
              <a:prstDash val="solid"/>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67">
              <a:extLst>
                <a:ext uri="{FF2B5EF4-FFF2-40B4-BE49-F238E27FC236}">
                  <a16:creationId xmlns:a16="http://schemas.microsoft.com/office/drawing/2014/main" id="{C94B28D6-EC68-4930-AE34-49F1F1507381}"/>
                </a:ext>
              </a:extLst>
            </p:cNvPr>
            <p:cNvCxnSpPr>
              <a:cxnSpLocks/>
            </p:cNvCxnSpPr>
            <p:nvPr/>
          </p:nvCxnSpPr>
          <p:spPr>
            <a:xfrm flipH="1">
              <a:off x="10235356" y="3865878"/>
              <a:ext cx="515771" cy="0"/>
            </a:xfrm>
            <a:prstGeom prst="straightConnector1">
              <a:avLst/>
            </a:prstGeom>
            <a:ln w="63500" cap="flat" cmpd="sng">
              <a:solidFill>
                <a:schemeClr val="accent6"/>
              </a:solidFill>
              <a:prstDash val="solid"/>
              <a:tailEnd type="triangle"/>
            </a:ln>
            <a:effectLst/>
          </p:spPr>
          <p:style>
            <a:lnRef idx="2">
              <a:schemeClr val="accent1"/>
            </a:lnRef>
            <a:fillRef idx="0">
              <a:schemeClr val="accent1"/>
            </a:fillRef>
            <a:effectRef idx="1">
              <a:schemeClr val="accent1"/>
            </a:effectRef>
            <a:fontRef idx="minor">
              <a:schemeClr val="tx1"/>
            </a:fontRef>
          </p:style>
        </p:cxnSp>
        <p:pic>
          <p:nvPicPr>
            <p:cNvPr id="57" name="Grafik 56">
              <a:extLst>
                <a:ext uri="{FF2B5EF4-FFF2-40B4-BE49-F238E27FC236}">
                  <a16:creationId xmlns:a16="http://schemas.microsoft.com/office/drawing/2014/main" id="{6D184898-31F3-4674-B1ED-4A2E7EB4792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27010" y="3772565"/>
              <a:ext cx="360000" cy="360000"/>
            </a:xfrm>
            <a:prstGeom prst="rect">
              <a:avLst/>
            </a:prstGeom>
            <a:noFill/>
            <a:ln>
              <a:noFill/>
            </a:ln>
          </p:spPr>
        </p:pic>
        <p:pic>
          <p:nvPicPr>
            <p:cNvPr id="58" name="Grafik 57">
              <a:extLst>
                <a:ext uri="{FF2B5EF4-FFF2-40B4-BE49-F238E27FC236}">
                  <a16:creationId xmlns:a16="http://schemas.microsoft.com/office/drawing/2014/main" id="{AE430036-6E47-4792-997C-6498DE2942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73929" y="3486716"/>
              <a:ext cx="360000" cy="360000"/>
            </a:xfrm>
            <a:prstGeom prst="rect">
              <a:avLst/>
            </a:prstGeom>
            <a:noFill/>
            <a:ln>
              <a:noFill/>
            </a:ln>
          </p:spPr>
        </p:pic>
        <p:pic>
          <p:nvPicPr>
            <p:cNvPr id="59" name="Grafik 58">
              <a:extLst>
                <a:ext uri="{FF2B5EF4-FFF2-40B4-BE49-F238E27FC236}">
                  <a16:creationId xmlns:a16="http://schemas.microsoft.com/office/drawing/2014/main" id="{F3C8D63A-26E1-4284-9044-7E3FB0AADE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980" y="3768424"/>
              <a:ext cx="360000" cy="360000"/>
            </a:xfrm>
            <a:prstGeom prst="rect">
              <a:avLst/>
            </a:prstGeom>
            <a:noFill/>
            <a:ln>
              <a:noFill/>
            </a:ln>
          </p:spPr>
        </p:pic>
        <p:pic>
          <p:nvPicPr>
            <p:cNvPr id="60" name="Grafik 59">
              <a:extLst>
                <a:ext uri="{FF2B5EF4-FFF2-40B4-BE49-F238E27FC236}">
                  <a16:creationId xmlns:a16="http://schemas.microsoft.com/office/drawing/2014/main" id="{B03E241F-171E-49DE-9376-2234EE00BC0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14959" y="3490059"/>
              <a:ext cx="360000" cy="360000"/>
            </a:xfrm>
            <a:prstGeom prst="rect">
              <a:avLst/>
            </a:prstGeom>
            <a:noFill/>
            <a:ln>
              <a:noFill/>
            </a:ln>
          </p:spPr>
        </p:pic>
        <p:pic>
          <p:nvPicPr>
            <p:cNvPr id="61" name="Grafik 60">
              <a:extLst>
                <a:ext uri="{FF2B5EF4-FFF2-40B4-BE49-F238E27FC236}">
                  <a16:creationId xmlns:a16="http://schemas.microsoft.com/office/drawing/2014/main" id="{B33A7DAD-B376-405D-AEFA-C948F9C9BD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51119" y="3768424"/>
              <a:ext cx="360000" cy="360000"/>
            </a:xfrm>
            <a:prstGeom prst="rect">
              <a:avLst/>
            </a:prstGeom>
            <a:noFill/>
            <a:ln>
              <a:noFill/>
            </a:ln>
          </p:spPr>
        </p:pic>
        <p:pic>
          <p:nvPicPr>
            <p:cNvPr id="62" name="Grafik 61">
              <a:extLst>
                <a:ext uri="{FF2B5EF4-FFF2-40B4-BE49-F238E27FC236}">
                  <a16:creationId xmlns:a16="http://schemas.microsoft.com/office/drawing/2014/main" id="{E69576B2-963D-4823-A706-CAEAB558875B}"/>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289625" y="3604717"/>
              <a:ext cx="360000" cy="360000"/>
            </a:xfrm>
            <a:prstGeom prst="rect">
              <a:avLst/>
            </a:prstGeom>
            <a:noFill/>
            <a:ln>
              <a:noFill/>
            </a:ln>
          </p:spPr>
        </p:pic>
        <p:cxnSp>
          <p:nvCxnSpPr>
            <p:cNvPr id="67" name="Gerader Verbinder 66">
              <a:extLst>
                <a:ext uri="{FF2B5EF4-FFF2-40B4-BE49-F238E27FC236}">
                  <a16:creationId xmlns:a16="http://schemas.microsoft.com/office/drawing/2014/main" id="{24403FE6-2A71-4B85-A4F8-10035E2BB803}"/>
                </a:ext>
              </a:extLst>
            </p:cNvPr>
            <p:cNvCxnSpPr>
              <a:cxnSpLocks/>
              <a:stCxn id="32" idx="2"/>
              <a:endCxn id="30" idx="0"/>
            </p:cNvCxnSpPr>
            <p:nvPr/>
          </p:nvCxnSpPr>
          <p:spPr>
            <a:xfrm flipH="1">
              <a:off x="9397421" y="2756614"/>
              <a:ext cx="799" cy="281147"/>
            </a:xfrm>
            <a:prstGeom prst="line">
              <a:avLst/>
            </a:prstGeom>
            <a:ln w="22225" cap="flat" cmpd="sng">
              <a:solidFill>
                <a:schemeClr val="accent6"/>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Gerader Verbinder 68">
              <a:extLst>
                <a:ext uri="{FF2B5EF4-FFF2-40B4-BE49-F238E27FC236}">
                  <a16:creationId xmlns:a16="http://schemas.microsoft.com/office/drawing/2014/main" id="{4A0A2563-257A-496F-A45C-00B7A1313145}"/>
                </a:ext>
              </a:extLst>
            </p:cNvPr>
            <p:cNvCxnSpPr>
              <a:cxnSpLocks/>
              <a:stCxn id="33" idx="2"/>
              <a:endCxn id="31" idx="0"/>
            </p:cNvCxnSpPr>
            <p:nvPr/>
          </p:nvCxnSpPr>
          <p:spPr>
            <a:xfrm flipH="1">
              <a:off x="11468979" y="2756614"/>
              <a:ext cx="646" cy="273233"/>
            </a:xfrm>
            <a:prstGeom prst="line">
              <a:avLst/>
            </a:prstGeom>
            <a:ln w="22225" cap="flat" cmpd="sng">
              <a:solidFill>
                <a:schemeClr val="accent6"/>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29853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C894CD-3C72-412D-B374-D335B8F3F817}"/>
              </a:ext>
            </a:extLst>
          </p:cNvPr>
          <p:cNvSpPr>
            <a:spLocks noGrp="1"/>
          </p:cNvSpPr>
          <p:nvPr>
            <p:ph type="title"/>
          </p:nvPr>
        </p:nvSpPr>
        <p:spPr/>
        <p:txBody>
          <a:bodyPr/>
          <a:lstStyle/>
          <a:p>
            <a:r>
              <a:rPr lang="en-GB" sz="3200" dirty="0"/>
              <a:t>Nachrangdarlehen</a:t>
            </a:r>
            <a:endParaRPr lang="de-DE" dirty="0"/>
          </a:p>
        </p:txBody>
      </p:sp>
      <p:sp>
        <p:nvSpPr>
          <p:cNvPr id="4" name="Inhaltsplatzhalter 3">
            <a:extLst>
              <a:ext uri="{FF2B5EF4-FFF2-40B4-BE49-F238E27FC236}">
                <a16:creationId xmlns:a16="http://schemas.microsoft.com/office/drawing/2014/main" id="{E923FB6A-FA9B-4D2E-9EF1-08D2106B0F4B}"/>
              </a:ext>
            </a:extLst>
          </p:cNvPr>
          <p:cNvSpPr>
            <a:spLocks noGrp="1"/>
          </p:cNvSpPr>
          <p:nvPr>
            <p:ph sz="quarter" idx="13"/>
          </p:nvPr>
        </p:nvSpPr>
        <p:spPr>
          <a:xfrm>
            <a:off x="824866" y="2241549"/>
            <a:ext cx="5588997" cy="3780157"/>
          </a:xfrm>
        </p:spPr>
        <p:txBody>
          <a:bodyPr vert="horz" lIns="0" tIns="0" rIns="0" bIns="0" rtlCol="0" anchor="t">
            <a:noAutofit/>
          </a:bodyPr>
          <a:lstStyle/>
          <a:p>
            <a:pPr lvl="1" indent="-236220">
              <a:buFont typeface="Arial" panose="020B0604020202020204" pitchFamily="34" charset="0"/>
              <a:buChar char="•"/>
            </a:pPr>
            <a:endParaRPr lang="en-GB" dirty="0"/>
          </a:p>
          <a:p>
            <a:pPr lvl="1" indent="-236220">
              <a:buFont typeface="Arial" panose="020B0604020202020204" pitchFamily="34" charset="0"/>
              <a:buChar char="•"/>
            </a:pPr>
            <a:r>
              <a:rPr lang="en-GB" dirty="0" err="1"/>
              <a:t>Mindestbeteiligung</a:t>
            </a:r>
            <a:r>
              <a:rPr lang="en-GB" dirty="0"/>
              <a:t>: 	500 Euro </a:t>
            </a:r>
            <a:r>
              <a:rPr lang="en-GB" dirty="0" err="1"/>
              <a:t>p.P.</a:t>
            </a:r>
            <a:r>
              <a:rPr lang="en-GB" dirty="0"/>
              <a:t> </a:t>
            </a:r>
          </a:p>
          <a:p>
            <a:pPr lvl="1" indent="-236220">
              <a:buFont typeface="Arial" panose="020B0604020202020204" pitchFamily="34" charset="0"/>
              <a:buChar char="•"/>
            </a:pPr>
            <a:r>
              <a:rPr lang="en-GB" dirty="0" err="1"/>
              <a:t>Maximalbeteiligung</a:t>
            </a:r>
            <a:r>
              <a:rPr lang="en-GB" dirty="0"/>
              <a:t>: 	10.000 Euro </a:t>
            </a:r>
            <a:r>
              <a:rPr lang="en-GB" dirty="0" err="1"/>
              <a:t>p.P.</a:t>
            </a:r>
            <a:r>
              <a:rPr lang="en-GB" dirty="0"/>
              <a:t> </a:t>
            </a:r>
          </a:p>
          <a:p>
            <a:pPr lvl="1" indent="-236220">
              <a:buFont typeface="Arial" panose="020B0604020202020204" pitchFamily="34" charset="0"/>
              <a:buChar char="•"/>
            </a:pPr>
            <a:r>
              <a:rPr lang="en-GB" dirty="0"/>
              <a:t>Feste </a:t>
            </a:r>
            <a:r>
              <a:rPr lang="en-GB" dirty="0" err="1"/>
              <a:t>Laufzeit</a:t>
            </a:r>
            <a:r>
              <a:rPr lang="en-GB" dirty="0"/>
              <a:t>: 		ca. 5 - 7 Jahre </a:t>
            </a:r>
          </a:p>
          <a:p>
            <a:pPr lvl="1" indent="-236220">
              <a:buFont typeface="Arial" panose="020B0604020202020204" pitchFamily="34" charset="0"/>
              <a:buChar char="•"/>
            </a:pPr>
            <a:r>
              <a:rPr lang="en-GB" dirty="0"/>
              <a:t>Feste </a:t>
            </a:r>
            <a:r>
              <a:rPr lang="en-GB" dirty="0" err="1"/>
              <a:t>Verzinsung</a:t>
            </a:r>
            <a:r>
              <a:rPr lang="en-GB" dirty="0"/>
              <a:t>:       </a:t>
            </a:r>
            <a:r>
              <a:rPr lang="en-GB" dirty="0" err="1"/>
              <a:t>wird</a:t>
            </a:r>
            <a:r>
              <a:rPr lang="en-GB" dirty="0"/>
              <a:t> </a:t>
            </a:r>
            <a:r>
              <a:rPr lang="en-GB" dirty="0" err="1"/>
              <a:t>zum</a:t>
            </a:r>
            <a:r>
              <a:rPr lang="en-GB" dirty="0"/>
              <a:t> Start </a:t>
            </a:r>
            <a:r>
              <a:rPr lang="en-GB" dirty="0" err="1"/>
              <a:t>festgelegt</a:t>
            </a:r>
            <a:endParaRPr lang="en-GB" dirty="0"/>
          </a:p>
          <a:p>
            <a:pPr lvl="1" indent="-236220">
              <a:buFont typeface="Arial" panose="020B0604020202020204" pitchFamily="34" charset="0"/>
              <a:buChar char="•"/>
            </a:pPr>
            <a:r>
              <a:rPr lang="en-GB" dirty="0" err="1"/>
              <a:t>Emissionsvolumen</a:t>
            </a:r>
            <a:r>
              <a:rPr lang="en-GB" dirty="0"/>
              <a:t>:	1.000.000</a:t>
            </a:r>
          </a:p>
          <a:p>
            <a:pPr lvl="1" indent="-236220">
              <a:buFont typeface="Arial" panose="020B0604020202020204" pitchFamily="34" charset="0"/>
              <a:buChar char="•"/>
            </a:pPr>
            <a:r>
              <a:rPr lang="en-GB" dirty="0" err="1"/>
              <a:t>Beginn</a:t>
            </a:r>
            <a:r>
              <a:rPr lang="en-GB" dirty="0"/>
              <a:t> der </a:t>
            </a:r>
            <a:r>
              <a:rPr lang="en-GB" dirty="0" err="1"/>
              <a:t>Laufzeit</a:t>
            </a:r>
            <a:r>
              <a:rPr lang="en-GB" dirty="0"/>
              <a:t>: 	Mit </a:t>
            </a:r>
            <a:r>
              <a:rPr lang="en-GB" dirty="0" err="1"/>
              <a:t>Inbetriebnahme</a:t>
            </a:r>
            <a:r>
              <a:rPr lang="en-GB" dirty="0"/>
              <a:t> (IB)</a:t>
            </a:r>
          </a:p>
          <a:p>
            <a:pPr lvl="1" indent="-236220">
              <a:buFont typeface="Arial" panose="020B0604020202020204" pitchFamily="34" charset="0"/>
              <a:buChar char="•"/>
            </a:pPr>
            <a:r>
              <a:rPr lang="en-GB" dirty="0" err="1"/>
              <a:t>Vorab-Umfrage</a:t>
            </a:r>
            <a:r>
              <a:rPr lang="en-GB" dirty="0"/>
              <a:t>:		</a:t>
            </a:r>
            <a:r>
              <a:rPr lang="en-GB" dirty="0" err="1"/>
              <a:t>Interessensbekundung</a:t>
            </a:r>
            <a:r>
              <a:rPr lang="en-GB" dirty="0"/>
              <a:t>, ca. 					6 - 12 </a:t>
            </a:r>
            <a:r>
              <a:rPr lang="en-GB" dirty="0" err="1"/>
              <a:t>Monate</a:t>
            </a:r>
            <a:r>
              <a:rPr lang="en-GB" dirty="0"/>
              <a:t> </a:t>
            </a:r>
            <a:r>
              <a:rPr lang="en-GB" dirty="0" err="1"/>
              <a:t>vor</a:t>
            </a:r>
            <a:r>
              <a:rPr lang="en-GB" dirty="0"/>
              <a:t> IB </a:t>
            </a:r>
            <a:r>
              <a:rPr lang="en-GB" dirty="0" err="1"/>
              <a:t>mittels</a:t>
            </a:r>
            <a:r>
              <a:rPr lang="en-GB" dirty="0"/>
              <a:t> 					Online-</a:t>
            </a:r>
            <a:r>
              <a:rPr lang="en-GB" dirty="0" err="1"/>
              <a:t>Plattform</a:t>
            </a:r>
            <a:endParaRPr lang="en-GB" dirty="0"/>
          </a:p>
          <a:p>
            <a:pPr marL="215900" indent="-215900"/>
            <a:endParaRPr lang="de-DE" dirty="0"/>
          </a:p>
        </p:txBody>
      </p:sp>
      <p:sp>
        <p:nvSpPr>
          <p:cNvPr id="5" name="Foliennummernplatzhalter 4">
            <a:extLst>
              <a:ext uri="{FF2B5EF4-FFF2-40B4-BE49-F238E27FC236}">
                <a16:creationId xmlns:a16="http://schemas.microsoft.com/office/drawing/2014/main" id="{2358607A-DE05-4974-AF20-11B1DEACCC6B}"/>
              </a:ext>
            </a:extLst>
          </p:cNvPr>
          <p:cNvSpPr>
            <a:spLocks noGrp="1"/>
          </p:cNvSpPr>
          <p:nvPr>
            <p:ph type="sldNum" sz="quarter" idx="16"/>
          </p:nvPr>
        </p:nvSpPr>
        <p:spPr/>
        <p:txBody>
          <a:bodyPr/>
          <a:lstStyle/>
          <a:p>
            <a:fld id="{5B2ACB19-C0E1-7345-B8BA-15A723BE30E5}" type="slidenum">
              <a:rPr lang="en-GB" smtClean="0"/>
              <a:pPr/>
              <a:t>22</a:t>
            </a:fld>
            <a:endParaRPr lang="en-GB"/>
          </a:p>
        </p:txBody>
      </p:sp>
      <p:sp>
        <p:nvSpPr>
          <p:cNvPr id="8" name="Textfeld 7">
            <a:extLst>
              <a:ext uri="{FF2B5EF4-FFF2-40B4-BE49-F238E27FC236}">
                <a16:creationId xmlns:a16="http://schemas.microsoft.com/office/drawing/2014/main" id="{C990F934-CECC-4906-BDB4-172F32D270FA}"/>
              </a:ext>
            </a:extLst>
          </p:cNvPr>
          <p:cNvSpPr txBox="1"/>
          <p:nvPr/>
        </p:nvSpPr>
        <p:spPr>
          <a:xfrm rot="1839651">
            <a:off x="3055301" y="2454728"/>
            <a:ext cx="4488110" cy="430887"/>
          </a:xfrm>
          <a:prstGeom prst="rect">
            <a:avLst/>
          </a:prstGeom>
          <a:noFill/>
        </p:spPr>
        <p:txBody>
          <a:bodyPr wrap="square" lIns="0" tIns="0" rIns="0" bIns="0" rtlCol="0">
            <a:spAutoFit/>
          </a:bodyPr>
          <a:lstStyle/>
          <a:p>
            <a:pPr algn="ctr">
              <a:spcBef>
                <a:spcPts val="600"/>
              </a:spcBef>
              <a:buClr>
                <a:schemeClr val="accent1"/>
              </a:buClr>
              <a:buSzPct val="120000"/>
            </a:pPr>
            <a:r>
              <a:rPr lang="de-DE" sz="2800" b="1" dirty="0">
                <a:solidFill>
                  <a:srgbClr val="FF0000"/>
                </a:solidFill>
                <a:latin typeface="Arial" pitchFamily="34" charset="0"/>
                <a:cs typeface="Arial" pitchFamily="34" charset="0"/>
              </a:rPr>
              <a:t>Beispiel</a:t>
            </a:r>
          </a:p>
        </p:txBody>
      </p:sp>
      <p:pic>
        <p:nvPicPr>
          <p:cNvPr id="11" name="Grafik 10">
            <a:extLst>
              <a:ext uri="{FF2B5EF4-FFF2-40B4-BE49-F238E27FC236}">
                <a16:creationId xmlns:a16="http://schemas.microsoft.com/office/drawing/2014/main" id="{B1AC02C6-C927-404C-A52E-120A16E2473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035520" y="2379868"/>
            <a:ext cx="4709646" cy="2496138"/>
          </a:xfrm>
          <a:prstGeom prst="rect">
            <a:avLst/>
          </a:prstGeom>
          <a:noFill/>
          <a:ln>
            <a:noFill/>
          </a:ln>
          <a:effectLst>
            <a:outerShdw blurRad="50800" dist="50800" dir="5400000" algn="ctr" rotWithShape="0">
              <a:schemeClr val="accent5"/>
            </a:outerShdw>
          </a:effectLst>
        </p:spPr>
      </p:pic>
    </p:spTree>
    <p:extLst>
      <p:ext uri="{BB962C8B-B14F-4D97-AF65-F5344CB8AC3E}">
        <p14:creationId xmlns:p14="http://schemas.microsoft.com/office/powerpoint/2010/main" val="81382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D9D4DB-BACE-4FFA-9EE5-3C5F64889A8B}"/>
              </a:ext>
            </a:extLst>
          </p:cNvPr>
          <p:cNvSpPr>
            <a:spLocks noGrp="1"/>
          </p:cNvSpPr>
          <p:nvPr>
            <p:ph type="title"/>
          </p:nvPr>
        </p:nvSpPr>
        <p:spPr/>
        <p:txBody>
          <a:bodyPr/>
          <a:lstStyle/>
          <a:p>
            <a:r>
              <a:rPr lang="en-GB" sz="3200" dirty="0"/>
              <a:t>Zahlung an die Kommunen</a:t>
            </a:r>
          </a:p>
        </p:txBody>
      </p:sp>
      <p:sp>
        <p:nvSpPr>
          <p:cNvPr id="4" name="Inhaltsplatzhalter 3">
            <a:extLst>
              <a:ext uri="{FF2B5EF4-FFF2-40B4-BE49-F238E27FC236}">
                <a16:creationId xmlns:a16="http://schemas.microsoft.com/office/drawing/2014/main" id="{6B65D384-98A2-464C-9CDE-90D085908F64}"/>
              </a:ext>
            </a:extLst>
          </p:cNvPr>
          <p:cNvSpPr>
            <a:spLocks noGrp="1"/>
          </p:cNvSpPr>
          <p:nvPr>
            <p:ph sz="quarter" idx="13"/>
          </p:nvPr>
        </p:nvSpPr>
        <p:spPr>
          <a:xfrm>
            <a:off x="824866" y="1658178"/>
            <a:ext cx="5270817" cy="4363528"/>
          </a:xfrm>
        </p:spPr>
        <p:txBody>
          <a:bodyPr/>
          <a:lstStyle/>
          <a:p>
            <a:pPr marL="0" indent="0">
              <a:buNone/>
            </a:pPr>
            <a:r>
              <a:rPr lang="de-DE" sz="1600" dirty="0" err="1"/>
              <a:t>Statkraft</a:t>
            </a:r>
            <a:r>
              <a:rPr lang="de-DE" sz="1600" dirty="0"/>
              <a:t> bietet den umliegenden Kommunen im 2.500 m Umkreis eine finanzielle Zahlung von bis zu 0,2 Cent/kWh pro ins Netz eingespeisten Stromes nach EEG 2021 § 6 an. </a:t>
            </a:r>
          </a:p>
          <a:p>
            <a:endParaRPr lang="de-DE" dirty="0"/>
          </a:p>
        </p:txBody>
      </p:sp>
      <p:sp>
        <p:nvSpPr>
          <p:cNvPr id="5" name="Foliennummernplatzhalter 4">
            <a:extLst>
              <a:ext uri="{FF2B5EF4-FFF2-40B4-BE49-F238E27FC236}">
                <a16:creationId xmlns:a16="http://schemas.microsoft.com/office/drawing/2014/main" id="{B232CF8A-2688-4187-918E-3F4514FE3239}"/>
              </a:ext>
            </a:extLst>
          </p:cNvPr>
          <p:cNvSpPr>
            <a:spLocks noGrp="1"/>
          </p:cNvSpPr>
          <p:nvPr>
            <p:ph type="sldNum" sz="quarter" idx="16"/>
          </p:nvPr>
        </p:nvSpPr>
        <p:spPr/>
        <p:txBody>
          <a:bodyPr/>
          <a:lstStyle/>
          <a:p>
            <a:fld id="{5B2ACB19-C0E1-7345-B8BA-15A723BE30E5}" type="slidenum">
              <a:rPr lang="en-GB" smtClean="0"/>
              <a:pPr/>
              <a:t>23</a:t>
            </a:fld>
            <a:endParaRPr lang="en-GB"/>
          </a:p>
        </p:txBody>
      </p:sp>
      <p:sp>
        <p:nvSpPr>
          <p:cNvPr id="10" name="TextBox 13">
            <a:extLst>
              <a:ext uri="{FF2B5EF4-FFF2-40B4-BE49-F238E27FC236}">
                <a16:creationId xmlns:a16="http://schemas.microsoft.com/office/drawing/2014/main" id="{AD130ACD-A342-446C-BB56-F7B7075EC241}"/>
              </a:ext>
            </a:extLst>
          </p:cNvPr>
          <p:cNvSpPr txBox="1"/>
          <p:nvPr/>
        </p:nvSpPr>
        <p:spPr>
          <a:xfrm>
            <a:off x="1068665" y="6493365"/>
            <a:ext cx="5027017" cy="138499"/>
          </a:xfrm>
          <a:prstGeom prst="rect">
            <a:avLst/>
          </a:prstGeom>
          <a:noFill/>
        </p:spPr>
        <p:txBody>
          <a:bodyPr wrap="none" lIns="0" tIns="0" rIns="0" bIns="0" rtlCol="0">
            <a:spAutoFit/>
          </a:bodyPr>
          <a:lstStyle/>
          <a:p>
            <a:pPr>
              <a:spcBef>
                <a:spcPts val="600"/>
              </a:spcBef>
              <a:buClr>
                <a:schemeClr val="accent1"/>
              </a:buClr>
              <a:buSzPct val="120000"/>
            </a:pPr>
            <a:r>
              <a:rPr lang="de-DE" sz="900" dirty="0">
                <a:solidFill>
                  <a:schemeClr val="accent5"/>
                </a:solidFill>
                <a:latin typeface="Arial" pitchFamily="34" charset="0"/>
                <a:cs typeface="Arial" pitchFamily="34" charset="0"/>
              </a:rPr>
              <a:t>Weitere Informationen zum EEG 2021 §6: https://www.gesetze-im-internet.de/eeg_2014/__6.html</a:t>
            </a:r>
          </a:p>
        </p:txBody>
      </p:sp>
      <p:graphicFrame>
        <p:nvGraphicFramePr>
          <p:cNvPr id="6" name="Tabelle 5">
            <a:extLst>
              <a:ext uri="{FF2B5EF4-FFF2-40B4-BE49-F238E27FC236}">
                <a16:creationId xmlns:a16="http://schemas.microsoft.com/office/drawing/2014/main" id="{D78E4F33-0118-44E7-8200-330B21CBB7FC}"/>
              </a:ext>
            </a:extLst>
          </p:cNvPr>
          <p:cNvGraphicFramePr>
            <a:graphicFrameLocks noGrp="1"/>
          </p:cNvGraphicFramePr>
          <p:nvPr>
            <p:extLst>
              <p:ext uri="{D42A27DB-BD31-4B8C-83A1-F6EECF244321}">
                <p14:modId xmlns:p14="http://schemas.microsoft.com/office/powerpoint/2010/main" val="331429871"/>
              </p:ext>
            </p:extLst>
          </p:nvPr>
        </p:nvGraphicFramePr>
        <p:xfrm>
          <a:off x="824867" y="3521094"/>
          <a:ext cx="5270816" cy="2440171"/>
        </p:xfrm>
        <a:graphic>
          <a:graphicData uri="http://schemas.openxmlformats.org/drawingml/2006/table">
            <a:tbl>
              <a:tblPr firstRow="1" firstCol="1" bandRow="1">
                <a:tableStyleId>{5C22544A-7EE6-4342-B048-85BDC9FD1C3A}</a:tableStyleId>
              </a:tblPr>
              <a:tblGrid>
                <a:gridCol w="1495000">
                  <a:extLst>
                    <a:ext uri="{9D8B030D-6E8A-4147-A177-3AD203B41FA5}">
                      <a16:colId xmlns:a16="http://schemas.microsoft.com/office/drawing/2014/main" val="1423202587"/>
                    </a:ext>
                  </a:extLst>
                </a:gridCol>
                <a:gridCol w="1752600">
                  <a:extLst>
                    <a:ext uri="{9D8B030D-6E8A-4147-A177-3AD203B41FA5}">
                      <a16:colId xmlns:a16="http://schemas.microsoft.com/office/drawing/2014/main" val="2043759017"/>
                    </a:ext>
                  </a:extLst>
                </a:gridCol>
                <a:gridCol w="2023216">
                  <a:extLst>
                    <a:ext uri="{9D8B030D-6E8A-4147-A177-3AD203B41FA5}">
                      <a16:colId xmlns:a16="http://schemas.microsoft.com/office/drawing/2014/main" val="1174757007"/>
                    </a:ext>
                  </a:extLst>
                </a:gridCol>
              </a:tblGrid>
              <a:tr h="653371">
                <a:tc>
                  <a:txBody>
                    <a:bodyPr/>
                    <a:lstStyle/>
                    <a:p>
                      <a:pPr>
                        <a:lnSpc>
                          <a:spcPts val="1400"/>
                        </a:lnSpc>
                        <a:spcBef>
                          <a:spcPts val="600"/>
                        </a:spcBef>
                      </a:pPr>
                      <a:endParaRPr lang="de-DE" sz="1400"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de-DE" sz="1400" dirty="0">
                          <a:effectLst/>
                        </a:rPr>
                        <a:t>ca. Euro / Jahr</a:t>
                      </a:r>
                      <a:endParaRPr lang="de-DE" sz="1400"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en-GB" sz="1400" dirty="0">
                          <a:effectLst/>
                        </a:rPr>
                        <a:t>ca. Euro / 20 Jahre</a:t>
                      </a:r>
                      <a:endParaRPr lang="de-DE" sz="1400"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0" marT="72000" marB="72000" anchor="ctr"/>
                </a:tc>
                <a:extLst>
                  <a:ext uri="{0D108BD9-81ED-4DB2-BD59-A6C34878D82A}">
                    <a16:rowId xmlns:a16="http://schemas.microsoft.com/office/drawing/2014/main" val="1071790485"/>
                  </a:ext>
                </a:extLst>
              </a:tr>
              <a:tr h="306846">
                <a:tc>
                  <a:txBody>
                    <a:bodyPr/>
                    <a:lstStyle/>
                    <a:p>
                      <a:pPr>
                        <a:lnSpc>
                          <a:spcPts val="1400"/>
                        </a:lnSpc>
                        <a:spcBef>
                          <a:spcPts val="600"/>
                        </a:spcBef>
                      </a:pPr>
                      <a:r>
                        <a:rPr lang="de-DE" sz="1400" b="1" kern="1200" dirty="0">
                          <a:effectLst/>
                        </a:rPr>
                        <a:t>Insgesamt</a:t>
                      </a:r>
                      <a:endParaRPr lang="de-DE" sz="1400" b="1"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de-DE" sz="1400" b="1" dirty="0">
                          <a:solidFill>
                            <a:schemeClr val="tx1"/>
                          </a:solidFill>
                          <a:effectLst/>
                        </a:rPr>
                        <a:t>443.445 €</a:t>
                      </a:r>
                      <a:endParaRPr lang="de-DE" sz="1400" b="1" dirty="0">
                        <a:solidFill>
                          <a:schemeClr val="tx1"/>
                        </a:solidFill>
                        <a:effectLst/>
                        <a:latin typeface="Arial" panose="020B0604020202020204" pitchFamily="34" charset="0"/>
                        <a:ea typeface="Arial" panose="020B0604020202020204" pitchFamily="34" charset="0"/>
                        <a:cs typeface="Mangal" panose="02040503050203030202" pitchFamily="18" charset="0"/>
                      </a:endParaRPr>
                    </a:p>
                  </a:txBody>
                  <a:tcPr marL="72000" marR="72000" marT="72000" marB="72000" anchor="ctr"/>
                </a:tc>
                <a:tc>
                  <a:txBody>
                    <a:bodyPr/>
                    <a:lstStyle/>
                    <a:p>
                      <a:pPr algn="ctr">
                        <a:lnSpc>
                          <a:spcPts val="1400"/>
                        </a:lnSpc>
                        <a:spcBef>
                          <a:spcPts val="600"/>
                        </a:spcBef>
                      </a:pPr>
                      <a:r>
                        <a:rPr lang="de-DE" sz="1400" b="1" dirty="0">
                          <a:solidFill>
                            <a:schemeClr val="tx1"/>
                          </a:solidFill>
                          <a:effectLst/>
                        </a:rPr>
                        <a:t>8.868.894 €</a:t>
                      </a:r>
                      <a:endParaRPr lang="de-DE" sz="1400" b="1" dirty="0">
                        <a:solidFill>
                          <a:schemeClr val="tx1"/>
                        </a:solidFill>
                        <a:effectLst/>
                        <a:latin typeface="Arial" panose="020B0604020202020204" pitchFamily="34" charset="0"/>
                        <a:ea typeface="Arial" panose="020B0604020202020204" pitchFamily="34" charset="0"/>
                        <a:cs typeface="Mangal" panose="02040503050203030202" pitchFamily="18" charset="0"/>
                      </a:endParaRPr>
                    </a:p>
                  </a:txBody>
                  <a:tcPr marL="72000" marR="72000" marT="72000" marB="72000" anchor="ctr"/>
                </a:tc>
                <a:extLst>
                  <a:ext uri="{0D108BD9-81ED-4DB2-BD59-A6C34878D82A}">
                    <a16:rowId xmlns:a16="http://schemas.microsoft.com/office/drawing/2014/main" val="4270066647"/>
                  </a:ext>
                </a:extLst>
              </a:tr>
              <a:tr h="319119">
                <a:tc>
                  <a:txBody>
                    <a:bodyPr/>
                    <a:lstStyle/>
                    <a:p>
                      <a:pPr>
                        <a:lnSpc>
                          <a:spcPts val="1400"/>
                        </a:lnSpc>
                        <a:spcBef>
                          <a:spcPts val="600"/>
                        </a:spcBef>
                      </a:pPr>
                      <a:r>
                        <a:rPr lang="de-DE" sz="1400" b="0" kern="1200" dirty="0">
                          <a:effectLst/>
                        </a:rPr>
                        <a:t>davon Ahlden </a:t>
                      </a:r>
                      <a:endParaRPr lang="de-DE" sz="1400" b="0"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de-DE" sz="1400" b="0" dirty="0">
                          <a:solidFill>
                            <a:schemeClr val="tx1"/>
                          </a:solidFill>
                          <a:effectLst/>
                        </a:rPr>
                        <a:t>182.189 € </a:t>
                      </a:r>
                    </a:p>
                  </a:txBody>
                  <a:tcPr marL="72000" marR="72000" marT="72000" marB="72000" anchor="ctr"/>
                </a:tc>
                <a:tc>
                  <a:txBody>
                    <a:bodyPr/>
                    <a:lstStyle/>
                    <a:p>
                      <a:pPr algn="ctr">
                        <a:lnSpc>
                          <a:spcPts val="1400"/>
                        </a:lnSpc>
                        <a:spcBef>
                          <a:spcPts val="600"/>
                        </a:spcBef>
                      </a:pPr>
                      <a:r>
                        <a:rPr lang="de-DE" sz="1400" b="0" dirty="0">
                          <a:solidFill>
                            <a:schemeClr val="tx1"/>
                          </a:solidFill>
                          <a:effectLst/>
                        </a:rPr>
                        <a:t>3.643.771 €</a:t>
                      </a:r>
                    </a:p>
                  </a:txBody>
                  <a:tcPr marL="72000" marR="72000" marT="72000" marB="72000" anchor="ctr"/>
                </a:tc>
                <a:extLst>
                  <a:ext uri="{0D108BD9-81ED-4DB2-BD59-A6C34878D82A}">
                    <a16:rowId xmlns:a16="http://schemas.microsoft.com/office/drawing/2014/main" val="2030168044"/>
                  </a:ext>
                </a:extLst>
              </a:tr>
              <a:tr h="319119">
                <a:tc>
                  <a:txBody>
                    <a:bodyPr/>
                    <a:lstStyle/>
                    <a:p>
                      <a:pPr>
                        <a:lnSpc>
                          <a:spcPts val="1400"/>
                        </a:lnSpc>
                        <a:spcBef>
                          <a:spcPts val="600"/>
                        </a:spcBef>
                      </a:pPr>
                      <a:r>
                        <a:rPr lang="de-DE" sz="1400" b="0" dirty="0">
                          <a:solidFill>
                            <a:schemeClr val="bg1"/>
                          </a:solidFill>
                          <a:effectLst/>
                          <a:latin typeface="Arial" panose="020B0604020202020204" pitchFamily="34" charset="0"/>
                          <a:ea typeface="Arial" panose="020B0604020202020204" pitchFamily="34" charset="0"/>
                          <a:cs typeface="Mangal" panose="02040503050203030202" pitchFamily="18" charset="0"/>
                        </a:rPr>
                        <a:t>davon Rethem </a:t>
                      </a:r>
                    </a:p>
                  </a:txBody>
                  <a:tcPr marL="72000" marR="42545" marT="72000" marB="72000" anchor="ctr"/>
                </a:tc>
                <a:tc>
                  <a:txBody>
                    <a:bodyPr/>
                    <a:lstStyle/>
                    <a:p>
                      <a:pPr marL="0" algn="ctr" defTabSz="548610" rtl="0" eaLnBrk="1" fontAlgn="b" latinLnBrk="0" hangingPunct="1">
                        <a:lnSpc>
                          <a:spcPts val="1400"/>
                        </a:lnSpc>
                        <a:spcBef>
                          <a:spcPts val="600"/>
                        </a:spcBef>
                      </a:pPr>
                      <a:r>
                        <a:rPr lang="de-DE" sz="1400" b="0" kern="1200" dirty="0">
                          <a:solidFill>
                            <a:schemeClr val="tx1"/>
                          </a:solidFill>
                          <a:effectLst/>
                          <a:latin typeface="+mn-lt"/>
                          <a:ea typeface="+mn-ea"/>
                          <a:cs typeface="+mn-cs"/>
                        </a:rPr>
                        <a:t>122.871 € </a:t>
                      </a:r>
                    </a:p>
                  </a:txBody>
                  <a:tcPr marL="72000" marR="72000" marT="72000" marB="72000" anchor="b"/>
                </a:tc>
                <a:tc>
                  <a:txBody>
                    <a:bodyPr/>
                    <a:lstStyle/>
                    <a:p>
                      <a:pPr marL="0" algn="ctr" defTabSz="548610" rtl="0" eaLnBrk="1" fontAlgn="b" latinLnBrk="0" hangingPunct="1">
                        <a:lnSpc>
                          <a:spcPts val="1400"/>
                        </a:lnSpc>
                        <a:spcBef>
                          <a:spcPts val="600"/>
                        </a:spcBef>
                      </a:pPr>
                      <a:r>
                        <a:rPr lang="de-DE" sz="1400" b="0" kern="1200" dirty="0">
                          <a:solidFill>
                            <a:schemeClr val="tx1"/>
                          </a:solidFill>
                          <a:effectLst/>
                          <a:latin typeface="+mn-lt"/>
                          <a:ea typeface="+mn-ea"/>
                          <a:cs typeface="+mn-cs"/>
                        </a:rPr>
                        <a:t>2.457.427 € </a:t>
                      </a:r>
                    </a:p>
                  </a:txBody>
                  <a:tcPr marL="72000" marR="72000" marT="72000" marB="72000" anchor="b"/>
                </a:tc>
                <a:extLst>
                  <a:ext uri="{0D108BD9-81ED-4DB2-BD59-A6C34878D82A}">
                    <a16:rowId xmlns:a16="http://schemas.microsoft.com/office/drawing/2014/main" val="1564851263"/>
                  </a:ext>
                </a:extLst>
              </a:tr>
              <a:tr h="319119">
                <a:tc>
                  <a:txBody>
                    <a:bodyPr/>
                    <a:lstStyle/>
                    <a:p>
                      <a:pPr>
                        <a:lnSpc>
                          <a:spcPts val="1400"/>
                        </a:lnSpc>
                        <a:spcBef>
                          <a:spcPts val="600"/>
                        </a:spcBef>
                      </a:pPr>
                      <a:r>
                        <a:rPr lang="en-GB" sz="1400" b="0">
                          <a:solidFill>
                            <a:schemeClr val="bg1"/>
                          </a:solidFill>
                          <a:effectLst/>
                          <a:latin typeface="Arial" panose="020B0604020202020204" pitchFamily="34" charset="0"/>
                          <a:ea typeface="Arial" panose="020B0604020202020204" pitchFamily="34" charset="0"/>
                          <a:cs typeface="Mangal" panose="02040503050203030202" pitchFamily="18" charset="0"/>
                        </a:rPr>
                        <a:t>davon Steimbke</a:t>
                      </a:r>
                      <a:endParaRPr lang="de-DE" sz="1400" b="0" dirty="0">
                        <a:solidFill>
                          <a:schemeClr val="bg1"/>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de-DE" sz="1400" b="0" kern="1200" dirty="0">
                          <a:solidFill>
                            <a:schemeClr val="tx1"/>
                          </a:solidFill>
                          <a:effectLst/>
                          <a:latin typeface="+mn-lt"/>
                          <a:ea typeface="+mn-ea"/>
                          <a:cs typeface="+mn-cs"/>
                        </a:rPr>
                        <a:t>80.502</a:t>
                      </a:r>
                      <a:r>
                        <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rPr>
                        <a:t> € </a:t>
                      </a:r>
                    </a:p>
                  </a:txBody>
                  <a:tcPr marL="72000" marR="72000" marT="72000" marB="72000" anchor="ctr"/>
                </a:tc>
                <a:tc>
                  <a:txBody>
                    <a:bodyPr/>
                    <a:lstStyle/>
                    <a:p>
                      <a:pPr algn="ctr">
                        <a:lnSpc>
                          <a:spcPts val="1400"/>
                        </a:lnSpc>
                        <a:spcBef>
                          <a:spcPts val="600"/>
                        </a:spcBef>
                      </a:pPr>
                      <a:r>
                        <a:rPr lang="de-DE" sz="1400" b="0" kern="1200" dirty="0">
                          <a:solidFill>
                            <a:schemeClr val="tx1"/>
                          </a:solidFill>
                          <a:effectLst/>
                          <a:latin typeface="+mn-lt"/>
                          <a:ea typeface="+mn-ea"/>
                          <a:cs typeface="+mn-cs"/>
                        </a:rPr>
                        <a:t>1.610.038</a:t>
                      </a:r>
                      <a:r>
                        <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rPr>
                        <a:t> € </a:t>
                      </a:r>
                    </a:p>
                  </a:txBody>
                  <a:tcPr marL="72000" marR="72000" marT="72000" marB="72000" anchor="ctr"/>
                </a:tc>
                <a:extLst>
                  <a:ext uri="{0D108BD9-81ED-4DB2-BD59-A6C34878D82A}">
                    <a16:rowId xmlns:a16="http://schemas.microsoft.com/office/drawing/2014/main" val="3941206438"/>
                  </a:ext>
                </a:extLst>
              </a:tr>
              <a:tr h="319119">
                <a:tc>
                  <a:txBody>
                    <a:bodyPr/>
                    <a:lstStyle/>
                    <a:p>
                      <a:pPr>
                        <a:lnSpc>
                          <a:spcPts val="1400"/>
                        </a:lnSpc>
                        <a:spcBef>
                          <a:spcPts val="600"/>
                        </a:spcBef>
                      </a:pPr>
                      <a:r>
                        <a:rPr lang="en-GB" sz="1400" b="0">
                          <a:solidFill>
                            <a:schemeClr val="bg1"/>
                          </a:solidFill>
                          <a:effectLst/>
                          <a:latin typeface="Arial" panose="020B0604020202020204" pitchFamily="34" charset="0"/>
                          <a:ea typeface="Arial" panose="020B0604020202020204" pitchFamily="34" charset="0"/>
                          <a:cs typeface="Mangal" panose="02040503050203030202" pitchFamily="18" charset="0"/>
                        </a:rPr>
                        <a:t>davon Schwarmstedt</a:t>
                      </a:r>
                      <a:endParaRPr lang="de-DE" sz="1400" b="0" dirty="0">
                        <a:solidFill>
                          <a:schemeClr val="bg1"/>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de-DE" sz="1400" b="0" kern="1200" dirty="0">
                          <a:solidFill>
                            <a:schemeClr val="tx1"/>
                          </a:solidFill>
                          <a:effectLst/>
                          <a:latin typeface="+mn-lt"/>
                          <a:ea typeface="+mn-ea"/>
                          <a:cs typeface="+mn-cs"/>
                        </a:rPr>
                        <a:t>38.132</a:t>
                      </a:r>
                      <a:r>
                        <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rPr>
                        <a:t> € </a:t>
                      </a:r>
                    </a:p>
                  </a:txBody>
                  <a:tcPr marL="72000" marR="72000" marT="72000" marB="72000" anchor="ctr"/>
                </a:tc>
                <a:tc>
                  <a:txBody>
                    <a:bodyPr/>
                    <a:lstStyle/>
                    <a:p>
                      <a:pPr algn="ctr">
                        <a:lnSpc>
                          <a:spcPts val="1400"/>
                        </a:lnSpc>
                        <a:spcBef>
                          <a:spcPts val="600"/>
                        </a:spcBef>
                      </a:pPr>
                      <a:r>
                        <a:rPr lang="de-DE" sz="1400" b="0" kern="1200" dirty="0">
                          <a:solidFill>
                            <a:schemeClr val="tx1"/>
                          </a:solidFill>
                          <a:effectLst/>
                          <a:latin typeface="+mn-lt"/>
                          <a:ea typeface="+mn-ea"/>
                          <a:cs typeface="+mn-cs"/>
                        </a:rPr>
                        <a:t>762.650</a:t>
                      </a:r>
                      <a:r>
                        <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rPr>
                        <a:t> € </a:t>
                      </a:r>
                    </a:p>
                  </a:txBody>
                  <a:tcPr marL="72000" marR="72000" marT="72000" marB="72000" anchor="ctr"/>
                </a:tc>
                <a:extLst>
                  <a:ext uri="{0D108BD9-81ED-4DB2-BD59-A6C34878D82A}">
                    <a16:rowId xmlns:a16="http://schemas.microsoft.com/office/drawing/2014/main" val="1358907061"/>
                  </a:ext>
                </a:extLst>
              </a:tr>
            </a:tbl>
          </a:graphicData>
        </a:graphic>
      </p:graphicFrame>
      <p:pic>
        <p:nvPicPr>
          <p:cNvPr id="12" name="Grafik 11">
            <a:extLst>
              <a:ext uri="{FF2B5EF4-FFF2-40B4-BE49-F238E27FC236}">
                <a16:creationId xmlns:a16="http://schemas.microsoft.com/office/drawing/2014/main" id="{ED6A0BA8-ED58-48D9-A35E-A927B08DD14C}"/>
              </a:ext>
            </a:extLst>
          </p:cNvPr>
          <p:cNvPicPr>
            <a:picLocks noChangeAspect="1"/>
          </p:cNvPicPr>
          <p:nvPr/>
        </p:nvPicPr>
        <p:blipFill>
          <a:blip r:embed="rId3"/>
          <a:stretch>
            <a:fillRect/>
          </a:stretch>
        </p:blipFill>
        <p:spPr>
          <a:xfrm>
            <a:off x="6670432" y="1248428"/>
            <a:ext cx="5352059" cy="5032356"/>
          </a:xfrm>
          <a:prstGeom prst="rect">
            <a:avLst/>
          </a:prstGeom>
        </p:spPr>
      </p:pic>
      <p:sp>
        <p:nvSpPr>
          <p:cNvPr id="7" name="Textfeld 7">
            <a:extLst>
              <a:ext uri="{FF2B5EF4-FFF2-40B4-BE49-F238E27FC236}">
                <a16:creationId xmlns:a16="http://schemas.microsoft.com/office/drawing/2014/main" id="{9DD3C429-E413-77DC-0B6A-43328D1A5349}"/>
              </a:ext>
            </a:extLst>
          </p:cNvPr>
          <p:cNvSpPr txBox="1"/>
          <p:nvPr/>
        </p:nvSpPr>
        <p:spPr>
          <a:xfrm rot="1839651">
            <a:off x="3660063" y="3380014"/>
            <a:ext cx="4488110" cy="430887"/>
          </a:xfrm>
          <a:prstGeom prst="rect">
            <a:avLst/>
          </a:prstGeom>
          <a:noFill/>
        </p:spPr>
        <p:txBody>
          <a:bodyPr wrap="square" lIns="0" tIns="0" rIns="0" bIns="0" rtlCol="0">
            <a:spAutoFit/>
          </a:bodyPr>
          <a:lstStyle/>
          <a:p>
            <a:pPr algn="ctr">
              <a:spcBef>
                <a:spcPts val="600"/>
              </a:spcBef>
              <a:buClr>
                <a:schemeClr val="accent1"/>
              </a:buClr>
              <a:buSzPct val="120000"/>
            </a:pPr>
            <a:r>
              <a:rPr lang="de-DE" sz="2800" b="1" dirty="0">
                <a:solidFill>
                  <a:srgbClr val="FF0000"/>
                </a:solidFill>
                <a:latin typeface="Arial" pitchFamily="34" charset="0"/>
                <a:cs typeface="Arial" pitchFamily="34" charset="0"/>
              </a:rPr>
              <a:t>Beispiel</a:t>
            </a:r>
          </a:p>
        </p:txBody>
      </p:sp>
    </p:spTree>
    <p:extLst>
      <p:ext uri="{BB962C8B-B14F-4D97-AF65-F5344CB8AC3E}">
        <p14:creationId xmlns:p14="http://schemas.microsoft.com/office/powerpoint/2010/main" val="194140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E1E935-CB58-476F-85B0-0FEEF50F6A77}"/>
              </a:ext>
            </a:extLst>
          </p:cNvPr>
          <p:cNvSpPr>
            <a:spLocks noGrp="1"/>
          </p:cNvSpPr>
          <p:nvPr>
            <p:ph type="title"/>
          </p:nvPr>
        </p:nvSpPr>
        <p:spPr>
          <a:xfrm>
            <a:off x="829236" y="485776"/>
            <a:ext cx="10535861" cy="907097"/>
          </a:xfrm>
        </p:spPr>
        <p:txBody>
          <a:bodyPr/>
          <a:lstStyle/>
          <a:p>
            <a:r>
              <a:rPr lang="en-GB" dirty="0" err="1"/>
              <a:t>Freiwillige</a:t>
            </a:r>
            <a:r>
              <a:rPr lang="en-GB" dirty="0"/>
              <a:t> </a:t>
            </a:r>
            <a:r>
              <a:rPr lang="en-GB" dirty="0" err="1"/>
              <a:t>Waldentwicklung</a:t>
            </a:r>
            <a:endParaRPr lang="de-DE" dirty="0" err="1"/>
          </a:p>
        </p:txBody>
      </p:sp>
      <p:sp>
        <p:nvSpPr>
          <p:cNvPr id="5" name="Foliennummernplatzhalter 4">
            <a:extLst>
              <a:ext uri="{FF2B5EF4-FFF2-40B4-BE49-F238E27FC236}">
                <a16:creationId xmlns:a16="http://schemas.microsoft.com/office/drawing/2014/main" id="{F701F593-0F5C-40FA-B76B-AF240A0FB110}"/>
              </a:ext>
            </a:extLst>
          </p:cNvPr>
          <p:cNvSpPr>
            <a:spLocks noGrp="1"/>
          </p:cNvSpPr>
          <p:nvPr>
            <p:ph type="sldNum" sz="quarter" idx="16"/>
          </p:nvPr>
        </p:nvSpPr>
        <p:spPr/>
        <p:txBody>
          <a:bodyPr/>
          <a:lstStyle/>
          <a:p>
            <a:fld id="{5B2ACB19-C0E1-7345-B8BA-15A723BE30E5}" type="slidenum">
              <a:rPr lang="en-GB" smtClean="0"/>
              <a:pPr/>
              <a:t>24</a:t>
            </a:fld>
            <a:endParaRPr lang="en-GB"/>
          </a:p>
        </p:txBody>
      </p:sp>
      <p:pic>
        <p:nvPicPr>
          <p:cNvPr id="6" name="Grafik 5">
            <a:extLst>
              <a:ext uri="{FF2B5EF4-FFF2-40B4-BE49-F238E27FC236}">
                <a16:creationId xmlns:a16="http://schemas.microsoft.com/office/drawing/2014/main" id="{AC892439-F66C-463F-BBB3-1F721F86D402}"/>
              </a:ext>
            </a:extLst>
          </p:cNvPr>
          <p:cNvPicPr>
            <a:picLocks noChangeAspect="1"/>
          </p:cNvPicPr>
          <p:nvPr/>
        </p:nvPicPr>
        <p:blipFill rotWithShape="1">
          <a:blip r:embed="rId2"/>
          <a:srcRect t="18564" b="2968"/>
          <a:stretch/>
        </p:blipFill>
        <p:spPr>
          <a:xfrm>
            <a:off x="1693290" y="2422689"/>
            <a:ext cx="8805419" cy="3385656"/>
          </a:xfrm>
          <a:prstGeom prst="rect">
            <a:avLst/>
          </a:prstGeom>
          <a:noFill/>
        </p:spPr>
      </p:pic>
    </p:spTree>
    <p:extLst>
      <p:ext uri="{BB962C8B-B14F-4D97-AF65-F5344CB8AC3E}">
        <p14:creationId xmlns:p14="http://schemas.microsoft.com/office/powerpoint/2010/main" val="426738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5C7472-0122-498F-A4B5-9F1E63460D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0C5C7472-0122-498F-A4B5-9F1E63460D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DD394A-FC17-4EB0-88B8-28BEA14BD35B}"/>
              </a:ext>
            </a:extLst>
          </p:cNvPr>
          <p:cNvSpPr/>
          <p:nvPr>
            <p:custDataLst>
              <p:tags r:id="rId2"/>
            </p:custDataLst>
          </p:nvPr>
        </p:nvSpPr>
        <p:spPr>
          <a:xfrm>
            <a:off x="0" y="0"/>
            <a:ext cx="158750" cy="15875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en-GB" sz="3600" b="1">
              <a:solidFill>
                <a:schemeClr val="accent5"/>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43F5658-C739-4D25-925A-FB50074B643F}"/>
              </a:ext>
            </a:extLst>
          </p:cNvPr>
          <p:cNvSpPr>
            <a:spLocks noGrp="1"/>
          </p:cNvSpPr>
          <p:nvPr>
            <p:ph type="ctrTitle"/>
          </p:nvPr>
        </p:nvSpPr>
        <p:spPr>
          <a:xfrm>
            <a:off x="1524000" y="981604"/>
            <a:ext cx="4411980" cy="2908452"/>
          </a:xfrm>
        </p:spPr>
        <p:txBody>
          <a:bodyPr/>
          <a:lstStyle/>
          <a:p>
            <a:r>
              <a:rPr lang="en-GB" sz="5400" b="0"/>
              <a:t>Zeit für Ihre Fragen </a:t>
            </a:r>
            <a:endParaRPr lang="en-GB" sz="3200" b="0" dirty="0">
              <a:solidFill>
                <a:schemeClr val="accent1"/>
              </a:solidFill>
            </a:endParaRPr>
          </a:p>
        </p:txBody>
      </p:sp>
      <p:pic>
        <p:nvPicPr>
          <p:cNvPr id="9" name="Picture Placeholder 8" descr="A windmill in a field&#10;&#10;Description automatically generated with low confidence">
            <a:extLst>
              <a:ext uri="{FF2B5EF4-FFF2-40B4-BE49-F238E27FC236}">
                <a16:creationId xmlns:a16="http://schemas.microsoft.com/office/drawing/2014/main" id="{E3B73DBB-4450-4729-8F8C-2B8C5872B9D4}"/>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t="7845" b="7845"/>
          <a:stretch>
            <a:fillRect/>
          </a:stretch>
        </p:blipFill>
        <p:spPr/>
      </p:pic>
    </p:spTree>
    <p:extLst>
      <p:ext uri="{BB962C8B-B14F-4D97-AF65-F5344CB8AC3E}">
        <p14:creationId xmlns:p14="http://schemas.microsoft.com/office/powerpoint/2010/main" val="22097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5C7472-0122-498F-A4B5-9F1E63460D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0C5C7472-0122-498F-A4B5-9F1E63460D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DD394A-FC17-4EB0-88B8-28BEA14BD35B}"/>
              </a:ext>
            </a:extLst>
          </p:cNvPr>
          <p:cNvSpPr/>
          <p:nvPr>
            <p:custDataLst>
              <p:tags r:id="rId2"/>
            </p:custDataLst>
          </p:nvPr>
        </p:nvSpPr>
        <p:spPr>
          <a:xfrm>
            <a:off x="0" y="0"/>
            <a:ext cx="158750" cy="15875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en-GB" sz="3600" b="1">
              <a:solidFill>
                <a:schemeClr val="accent5"/>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43F5658-C739-4D25-925A-FB50074B643F}"/>
              </a:ext>
            </a:extLst>
          </p:cNvPr>
          <p:cNvSpPr>
            <a:spLocks noGrp="1"/>
          </p:cNvSpPr>
          <p:nvPr>
            <p:ph type="ctrTitle"/>
          </p:nvPr>
        </p:nvSpPr>
        <p:spPr>
          <a:xfrm>
            <a:off x="1524000" y="981604"/>
            <a:ext cx="4411980" cy="2908452"/>
          </a:xfrm>
        </p:spPr>
        <p:txBody>
          <a:bodyPr/>
          <a:lstStyle/>
          <a:p>
            <a:r>
              <a:rPr lang="en-GB" sz="5400" b="0"/>
              <a:t>Diskussion</a:t>
            </a:r>
            <a:endParaRPr lang="en-GB" sz="3200" b="0" dirty="0">
              <a:solidFill>
                <a:schemeClr val="accent1"/>
              </a:solidFill>
            </a:endParaRPr>
          </a:p>
        </p:txBody>
      </p:sp>
      <p:pic>
        <p:nvPicPr>
          <p:cNvPr id="9" name="Picture Placeholder 8" descr="A windmill in a field&#10;&#10;Description automatically generated with low confidence">
            <a:extLst>
              <a:ext uri="{FF2B5EF4-FFF2-40B4-BE49-F238E27FC236}">
                <a16:creationId xmlns:a16="http://schemas.microsoft.com/office/drawing/2014/main" id="{E3B73DBB-4450-4729-8F8C-2B8C5872B9D4}"/>
              </a:ext>
            </a:extLst>
          </p:cNvPr>
          <p:cNvPicPr>
            <a:picLocks noGrp="1" noChangeAspect="1"/>
          </p:cNvPicPr>
          <p:nvPr>
            <p:ph type="pic" sz="quarter" idx="10"/>
          </p:nvPr>
        </p:nvPicPr>
        <p:blipFill>
          <a:blip r:embed="rId7">
            <a:extLst>
              <a:ext uri="{28A0092B-C50C-407E-A947-70E740481C1C}">
                <a14:useLocalDpi xmlns:a14="http://schemas.microsoft.com/office/drawing/2010/main" val="0"/>
              </a:ext>
            </a:extLst>
          </a:blip>
          <a:srcRect t="7845" b="7845"/>
          <a:stretch>
            <a:fillRect/>
          </a:stretch>
        </p:blipFill>
        <p:spPr/>
      </p:pic>
    </p:spTree>
    <p:extLst>
      <p:ext uri="{BB962C8B-B14F-4D97-AF65-F5344CB8AC3E}">
        <p14:creationId xmlns:p14="http://schemas.microsoft.com/office/powerpoint/2010/main" val="132352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010C2-ECFF-449B-AA7A-F707DB41F7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AC7010C2-ECFF-449B-AA7A-F707DB41F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52DC98B7-8FE1-455E-BE53-5F9F1D494593}"/>
              </a:ext>
            </a:extLst>
          </p:cNvPr>
          <p:cNvSpPr>
            <a:spLocks noGrp="1"/>
          </p:cNvSpPr>
          <p:nvPr>
            <p:ph sz="quarter" idx="13"/>
          </p:nvPr>
        </p:nvSpPr>
        <p:spPr>
          <a:xfrm>
            <a:off x="461411" y="1484312"/>
            <a:ext cx="6826493" cy="4796471"/>
          </a:xfrm>
        </p:spPr>
        <p:txBody>
          <a:bodyPr anchor="t"/>
          <a:lstStyle/>
          <a:p>
            <a:endParaRPr lang="en-GB" b="1" dirty="0">
              <a:solidFill>
                <a:schemeClr val="accent1"/>
              </a:solidFill>
            </a:endParaRPr>
          </a:p>
          <a:p>
            <a:endParaRPr lang="en-GB" b="1" dirty="0">
              <a:solidFill>
                <a:schemeClr val="accent1"/>
              </a:solidFill>
            </a:endParaRPr>
          </a:p>
          <a:p>
            <a:r>
              <a:rPr lang="en-GB" dirty="0">
                <a:solidFill>
                  <a:schemeClr val="accent1"/>
                </a:solidFill>
              </a:rPr>
              <a:t>     19:10 </a:t>
            </a:r>
            <a:r>
              <a:rPr lang="en-GB" dirty="0">
                <a:solidFill>
                  <a:schemeClr val="bg2"/>
                </a:solidFill>
              </a:rPr>
              <a:t>	</a:t>
            </a:r>
            <a:r>
              <a:rPr lang="en-GB" b="1" dirty="0" err="1"/>
              <a:t>Vorstellung</a:t>
            </a:r>
            <a:r>
              <a:rPr lang="en-GB" b="1" dirty="0"/>
              <a:t> Statkraft </a:t>
            </a:r>
            <a:r>
              <a:rPr lang="en-GB" b="1"/>
              <a:t>&amp; </a:t>
            </a:r>
            <a:r>
              <a:rPr lang="en-GB" b="1" dirty="0" err="1"/>
              <a:t>Projekt-Hintergrund</a:t>
            </a:r>
            <a:endParaRPr lang="en-GB" sz="1200" i="1" dirty="0"/>
          </a:p>
          <a:p>
            <a:r>
              <a:rPr lang="en-GB" b="1" dirty="0">
                <a:solidFill>
                  <a:schemeClr val="accent1"/>
                </a:solidFill>
              </a:rPr>
              <a:t>     </a:t>
            </a:r>
            <a:r>
              <a:rPr lang="en-GB" dirty="0">
                <a:solidFill>
                  <a:schemeClr val="accent1"/>
                </a:solidFill>
              </a:rPr>
              <a:t>19:25 	</a:t>
            </a:r>
            <a:r>
              <a:rPr lang="en-GB" b="1" dirty="0" err="1"/>
              <a:t>Planung</a:t>
            </a:r>
            <a:r>
              <a:rPr lang="en-GB" dirty="0">
                <a:solidFill>
                  <a:schemeClr val="accent1"/>
                </a:solidFill>
              </a:rPr>
              <a:t> </a:t>
            </a:r>
            <a:r>
              <a:rPr lang="en-GB" b="1" dirty="0"/>
              <a:t>Windpark Eilte-Ahlden</a:t>
            </a:r>
            <a:endParaRPr lang="en-GB" sz="1200" i="1" dirty="0"/>
          </a:p>
          <a:p>
            <a:r>
              <a:rPr lang="en-GB" dirty="0">
                <a:solidFill>
                  <a:schemeClr val="accent1"/>
                </a:solidFill>
              </a:rPr>
              <a:t>     19:45               </a:t>
            </a:r>
            <a:r>
              <a:rPr lang="en-GB" b="1" dirty="0" err="1"/>
              <a:t>Beteiligungsmodelle</a:t>
            </a:r>
            <a:endParaRPr lang="en-GB" sz="1200" i="1" dirty="0"/>
          </a:p>
          <a:p>
            <a:r>
              <a:rPr lang="en-GB" dirty="0">
                <a:solidFill>
                  <a:schemeClr val="accent1"/>
                </a:solidFill>
              </a:rPr>
              <a:t>     20:00               </a:t>
            </a:r>
            <a:r>
              <a:rPr lang="en-GB" b="1" dirty="0" err="1"/>
              <a:t>Fragen</a:t>
            </a:r>
            <a:r>
              <a:rPr lang="en-GB" b="1" dirty="0"/>
              <a:t> &amp; </a:t>
            </a:r>
            <a:r>
              <a:rPr lang="en-GB" b="1" dirty="0" err="1"/>
              <a:t>Austausch</a:t>
            </a:r>
            <a:r>
              <a:rPr lang="en-GB" b="1"/>
              <a:t> an </a:t>
            </a:r>
            <a:r>
              <a:rPr lang="en-GB" b="1" dirty="0" err="1"/>
              <a:t>Infoständen</a:t>
            </a:r>
            <a:r>
              <a:rPr lang="en-GB" sz="1400">
                <a:solidFill>
                  <a:schemeClr val="accent1"/>
                </a:solidFill>
              </a:rPr>
              <a:t> </a:t>
            </a:r>
            <a:endParaRPr lang="en-GB" sz="1400" dirty="0">
              <a:solidFill>
                <a:schemeClr val="accent1"/>
              </a:solidFill>
            </a:endParaRPr>
          </a:p>
          <a:p>
            <a:r>
              <a:rPr lang="en-GB" dirty="0">
                <a:solidFill>
                  <a:schemeClr val="accent1"/>
                </a:solidFill>
              </a:rPr>
              <a:t>     20:30               </a:t>
            </a:r>
            <a:r>
              <a:rPr lang="en-GB" b="1" dirty="0" err="1"/>
              <a:t>Offene</a:t>
            </a:r>
            <a:r>
              <a:rPr lang="en-GB" b="1"/>
              <a:t> </a:t>
            </a:r>
            <a:r>
              <a:rPr lang="en-GB" b="1" dirty="0" err="1"/>
              <a:t>Diskussion</a:t>
            </a:r>
            <a:r>
              <a:rPr lang="en-GB" b="1" dirty="0"/>
              <a:t>  </a:t>
            </a:r>
          </a:p>
          <a:p>
            <a:r>
              <a:rPr lang="en-GB" dirty="0">
                <a:solidFill>
                  <a:schemeClr val="accent1"/>
                </a:solidFill>
              </a:rPr>
              <a:t>     21:00              </a:t>
            </a:r>
            <a:r>
              <a:rPr lang="en-GB">
                <a:solidFill>
                  <a:schemeClr val="accent1"/>
                </a:solidFill>
              </a:rPr>
              <a:t> </a:t>
            </a:r>
            <a:r>
              <a:rPr lang="en-GB" b="1" dirty="0" err="1"/>
              <a:t>Veranstaltungsende</a:t>
            </a:r>
            <a:endParaRPr lang="en-GB" b="1" dirty="0"/>
          </a:p>
          <a:p>
            <a:endParaRPr lang="en-GB" b="1" dirty="0"/>
          </a:p>
          <a:p>
            <a:r>
              <a:rPr lang="en-GB" sz="800" i="1" dirty="0"/>
              <a:t>		</a:t>
            </a:r>
            <a:r>
              <a:rPr lang="en-GB" sz="1050" dirty="0"/>
              <a:t>		</a:t>
            </a:r>
          </a:p>
        </p:txBody>
      </p:sp>
      <p:sp>
        <p:nvSpPr>
          <p:cNvPr id="5" name="Title 4">
            <a:extLst>
              <a:ext uri="{FF2B5EF4-FFF2-40B4-BE49-F238E27FC236}">
                <a16:creationId xmlns:a16="http://schemas.microsoft.com/office/drawing/2014/main" id="{C74B8549-74AC-4256-87D0-3653C24E59B4}"/>
              </a:ext>
            </a:extLst>
          </p:cNvPr>
          <p:cNvSpPr>
            <a:spLocks noGrp="1"/>
          </p:cNvSpPr>
          <p:nvPr>
            <p:ph type="title"/>
          </p:nvPr>
        </p:nvSpPr>
        <p:spPr/>
        <p:txBody>
          <a:bodyPr/>
          <a:lstStyle/>
          <a:p>
            <a:r>
              <a:rPr lang="en-GB" sz="3000"/>
              <a:t>Agenda </a:t>
            </a:r>
            <a:br>
              <a:rPr lang="en-GB"/>
            </a:br>
            <a:endParaRPr lang="en-GB" b="0"/>
          </a:p>
        </p:txBody>
      </p:sp>
      <p:sp>
        <p:nvSpPr>
          <p:cNvPr id="4" name="Slide Number Placeholder 3">
            <a:extLst>
              <a:ext uri="{FF2B5EF4-FFF2-40B4-BE49-F238E27FC236}">
                <a16:creationId xmlns:a16="http://schemas.microsoft.com/office/drawing/2014/main" id="{47B6AB87-44EF-4D4F-8E09-A0C1D48E1935}"/>
              </a:ext>
            </a:extLst>
          </p:cNvPr>
          <p:cNvSpPr>
            <a:spLocks noGrp="1"/>
          </p:cNvSpPr>
          <p:nvPr>
            <p:ph type="sldNum" sz="quarter" idx="16"/>
          </p:nvPr>
        </p:nvSpPr>
        <p:spPr/>
        <p:txBody>
          <a:bodyPr/>
          <a:lstStyle/>
          <a:p>
            <a:fld id="{5B2ACB19-C0E1-7345-B8BA-15A723BE30E5}" type="slidenum">
              <a:rPr lang="en-GB" smtClean="0"/>
              <a:pPr/>
              <a:t>3</a:t>
            </a:fld>
            <a:endParaRPr lang="en-GB"/>
          </a:p>
        </p:txBody>
      </p:sp>
      <p:pic>
        <p:nvPicPr>
          <p:cNvPr id="10" name="Grafik 9" descr="Ein Bild, das Gras, Himmel, draußen, Feld enthält.&#10;&#10;Automatisch generierte Beschreibung">
            <a:extLst>
              <a:ext uri="{FF2B5EF4-FFF2-40B4-BE49-F238E27FC236}">
                <a16:creationId xmlns:a16="http://schemas.microsoft.com/office/drawing/2014/main" id="{274C7F39-E59B-4D14-8E15-840E4F9153A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9259" r="5980"/>
          <a:stretch/>
        </p:blipFill>
        <p:spPr>
          <a:xfrm>
            <a:off x="7584512" y="1"/>
            <a:ext cx="4603833" cy="6856770"/>
          </a:xfrm>
          <a:prstGeom prst="rect">
            <a:avLst/>
          </a:prstGeom>
        </p:spPr>
      </p:pic>
    </p:spTree>
    <p:extLst>
      <p:ext uri="{BB962C8B-B14F-4D97-AF65-F5344CB8AC3E}">
        <p14:creationId xmlns:p14="http://schemas.microsoft.com/office/powerpoint/2010/main" val="3897787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67EC56-40A9-4F98-87D0-16AF99481F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E267EC56-40A9-4F98-87D0-16AF99481F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8A2887E-3AA4-40ED-B867-2FC55A8AFA2A}"/>
              </a:ext>
            </a:extLst>
          </p:cNvPr>
          <p:cNvPicPr>
            <a:picLocks noGrp="1" noChangeAspect="1"/>
          </p:cNvPicPr>
          <p:nvPr>
            <p:ph type="pic" sz="quarter" idx="13"/>
          </p:nvPr>
        </p:nvPicPr>
        <p:blipFill rotWithShape="1">
          <a:blip r:embed="rId6">
            <a:extLst>
              <a:ext uri="{28A0092B-C50C-407E-A947-70E740481C1C}">
                <a14:useLocalDpi xmlns:a14="http://schemas.microsoft.com/office/drawing/2010/main" val="0"/>
              </a:ext>
            </a:extLst>
          </a:blip>
          <a:srcRect r="12199" b="12199"/>
          <a:stretch/>
        </p:blipFill>
        <p:spPr>
          <a:xfrm>
            <a:off x="-1" y="0"/>
            <a:ext cx="12192001" cy="6857999"/>
          </a:xfrm>
        </p:spPr>
      </p:pic>
      <p:sp>
        <p:nvSpPr>
          <p:cNvPr id="5" name="Slide Number Placeholder 4">
            <a:extLst>
              <a:ext uri="{FF2B5EF4-FFF2-40B4-BE49-F238E27FC236}">
                <a16:creationId xmlns:a16="http://schemas.microsoft.com/office/drawing/2014/main" id="{273A6E88-79FE-40B5-A3FB-85A9C05F661C}"/>
              </a:ext>
            </a:extLst>
          </p:cNvPr>
          <p:cNvSpPr>
            <a:spLocks noGrp="1"/>
          </p:cNvSpPr>
          <p:nvPr>
            <p:ph type="sldNum" sz="quarter" idx="15"/>
          </p:nvPr>
        </p:nvSpPr>
        <p:spPr/>
        <p:txBody>
          <a:bodyPr/>
          <a:lstStyle/>
          <a:p>
            <a:fld id="{5B2ACB19-C0E1-7345-B8BA-15A723BE30E5}" type="slidenum">
              <a:rPr lang="en-GB" smtClean="0"/>
              <a:pPr/>
              <a:t>4</a:t>
            </a:fld>
            <a:endParaRPr lang="en-GB" dirty="0"/>
          </a:p>
        </p:txBody>
      </p:sp>
      <p:sp>
        <p:nvSpPr>
          <p:cNvPr id="6" name="Title 3">
            <a:extLst>
              <a:ext uri="{FF2B5EF4-FFF2-40B4-BE49-F238E27FC236}">
                <a16:creationId xmlns:a16="http://schemas.microsoft.com/office/drawing/2014/main" id="{1EDAE541-B9E2-4830-8EB7-DE2B0EF2E7E2}"/>
              </a:ext>
            </a:extLst>
          </p:cNvPr>
          <p:cNvSpPr txBox="1">
            <a:spLocks/>
          </p:cNvSpPr>
          <p:nvPr/>
        </p:nvSpPr>
        <p:spPr>
          <a:xfrm>
            <a:off x="6632155" y="3905056"/>
            <a:ext cx="5025712" cy="1469798"/>
          </a:xfrm>
          <a:prstGeom prst="rect">
            <a:avLst/>
          </a:prstGeom>
        </p:spPr>
        <p:txBody>
          <a:bodyPr lIns="0" tIns="0" rIns="0" bIns="0" anchor="ctr" anchorCtr="0"/>
          <a:lstStyle>
            <a:lvl1pPr algn="l" defTabSz="548610" rtl="0" eaLnBrk="1" latinLnBrk="0" hangingPunct="1">
              <a:lnSpc>
                <a:spcPct val="100000"/>
              </a:lnSpc>
              <a:spcBef>
                <a:spcPct val="0"/>
              </a:spcBef>
              <a:buNone/>
              <a:defRPr sz="3200" b="1" kern="1200">
                <a:solidFill>
                  <a:schemeClr val="accent5"/>
                </a:solidFill>
                <a:latin typeface="Arial"/>
                <a:ea typeface="+mj-ea"/>
                <a:cs typeface="Arial"/>
              </a:defRPr>
            </a:lvl1pPr>
          </a:lstStyle>
          <a:p>
            <a:pPr algn="r"/>
            <a:r>
              <a:rPr lang="en-GB" sz="4000" b="0" dirty="0">
                <a:solidFill>
                  <a:schemeClr val="bg1"/>
                </a:solidFill>
              </a:rPr>
              <a:t>&gt; 125 Jahre </a:t>
            </a:r>
            <a:r>
              <a:rPr lang="en-GB" sz="4000" b="0" dirty="0" err="1">
                <a:solidFill>
                  <a:schemeClr val="bg1"/>
                </a:solidFill>
              </a:rPr>
              <a:t>erneuerbare</a:t>
            </a:r>
            <a:r>
              <a:rPr lang="en-GB" sz="4000" b="0" dirty="0">
                <a:solidFill>
                  <a:schemeClr val="bg1"/>
                </a:solidFill>
              </a:rPr>
              <a:t> Energie</a:t>
            </a:r>
          </a:p>
        </p:txBody>
      </p:sp>
    </p:spTree>
    <p:extLst>
      <p:ext uri="{BB962C8B-B14F-4D97-AF65-F5344CB8AC3E}">
        <p14:creationId xmlns:p14="http://schemas.microsoft.com/office/powerpoint/2010/main" val="154402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946" name="Object 945" hidden="1">
            <a:extLst>
              <a:ext uri="{FF2B5EF4-FFF2-40B4-BE49-F238E27FC236}">
                <a16:creationId xmlns:a16="http://schemas.microsoft.com/office/drawing/2014/main" id="{E0B1D241-E41F-446E-81EE-122FB10B8D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946" name="Object 945" hidden="1">
                        <a:extLst>
                          <a:ext uri="{FF2B5EF4-FFF2-40B4-BE49-F238E27FC236}">
                            <a16:creationId xmlns:a16="http://schemas.microsoft.com/office/drawing/2014/main" id="{E0B1D241-E41F-446E-81EE-122FB10B8D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AF65304-BF7C-4FD5-B4F7-FEE4EB9D742B}"/>
              </a:ext>
            </a:extLst>
          </p:cNvPr>
          <p:cNvSpPr/>
          <p:nvPr>
            <p:custDataLst>
              <p:tags r:id="rId2"/>
            </p:custDataLst>
          </p:nvPr>
        </p:nvSpPr>
        <p:spPr>
          <a:xfrm>
            <a:off x="0" y="0"/>
            <a:ext cx="158750" cy="15875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3200" b="1" i="0" u="none" strike="noStrike" kern="1200" cap="none" spc="0" normalizeH="0" baseline="0" noProof="0" dirty="0">
              <a:ln>
                <a:noFill/>
              </a:ln>
              <a:solidFill>
                <a:srgbClr val="7A6F69"/>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86931028-9D71-4E31-B838-8399D83C1798}"/>
              </a:ext>
            </a:extLst>
          </p:cNvPr>
          <p:cNvSpPr>
            <a:spLocks noGrp="1"/>
          </p:cNvSpPr>
          <p:nvPr>
            <p:ph type="title"/>
          </p:nvPr>
        </p:nvSpPr>
        <p:spPr/>
        <p:txBody>
          <a:bodyPr/>
          <a:lstStyle/>
          <a:p>
            <a:r>
              <a:rPr lang="en-GB" dirty="0">
                <a:solidFill>
                  <a:schemeClr val="bg1"/>
                </a:solidFill>
              </a:rPr>
              <a:t>Statkraft weltweit</a:t>
            </a:r>
          </a:p>
        </p:txBody>
      </p:sp>
      <p:grpSp>
        <p:nvGrpSpPr>
          <p:cNvPr id="5" name="Group 4">
            <a:extLst>
              <a:ext uri="{FF2B5EF4-FFF2-40B4-BE49-F238E27FC236}">
                <a16:creationId xmlns:a16="http://schemas.microsoft.com/office/drawing/2014/main" id="{A35DB2EA-E463-496A-BFB6-C5FCC234C225}"/>
              </a:ext>
            </a:extLst>
          </p:cNvPr>
          <p:cNvGrpSpPr/>
          <p:nvPr/>
        </p:nvGrpSpPr>
        <p:grpSpPr>
          <a:xfrm>
            <a:off x="3103584" y="1411100"/>
            <a:ext cx="8600561" cy="4777870"/>
            <a:chOff x="1058863" y="1174750"/>
            <a:chExt cx="6932613" cy="3851275"/>
          </a:xfrm>
        </p:grpSpPr>
        <p:sp>
          <p:nvSpPr>
            <p:cNvPr id="6" name="Freeform 219">
              <a:extLst>
                <a:ext uri="{FF2B5EF4-FFF2-40B4-BE49-F238E27FC236}">
                  <a16:creationId xmlns:a16="http://schemas.microsoft.com/office/drawing/2014/main" id="{14A2F777-2095-4AA5-992C-0973B08908DC}"/>
                </a:ext>
              </a:extLst>
            </p:cNvPr>
            <p:cNvSpPr>
              <a:spLocks/>
            </p:cNvSpPr>
            <p:nvPr/>
          </p:nvSpPr>
          <p:spPr bwMode="auto">
            <a:xfrm>
              <a:off x="6811963" y="3740150"/>
              <a:ext cx="128588" cy="158750"/>
            </a:xfrm>
            <a:custGeom>
              <a:avLst/>
              <a:gdLst>
                <a:gd name="T0" fmla="*/ 0 w 160"/>
                <a:gd name="T1" fmla="*/ 142 h 199"/>
                <a:gd name="T2" fmla="*/ 12 w 160"/>
                <a:gd name="T3" fmla="*/ 142 h 199"/>
                <a:gd name="T4" fmla="*/ 12 w 160"/>
                <a:gd name="T5" fmla="*/ 199 h 199"/>
                <a:gd name="T6" fmla="*/ 34 w 160"/>
                <a:gd name="T7" fmla="*/ 199 h 199"/>
                <a:gd name="T8" fmla="*/ 34 w 160"/>
                <a:gd name="T9" fmla="*/ 135 h 199"/>
                <a:gd name="T10" fmla="*/ 43 w 160"/>
                <a:gd name="T11" fmla="*/ 128 h 199"/>
                <a:gd name="T12" fmla="*/ 78 w 160"/>
                <a:gd name="T13" fmla="*/ 164 h 199"/>
                <a:gd name="T14" fmla="*/ 100 w 160"/>
                <a:gd name="T15" fmla="*/ 164 h 199"/>
                <a:gd name="T16" fmla="*/ 82 w 160"/>
                <a:gd name="T17" fmla="*/ 146 h 199"/>
                <a:gd name="T18" fmla="*/ 96 w 160"/>
                <a:gd name="T19" fmla="*/ 133 h 199"/>
                <a:gd name="T20" fmla="*/ 78 w 160"/>
                <a:gd name="T21" fmla="*/ 114 h 199"/>
                <a:gd name="T22" fmla="*/ 78 w 160"/>
                <a:gd name="T23" fmla="*/ 107 h 199"/>
                <a:gd name="T24" fmla="*/ 110 w 160"/>
                <a:gd name="T25" fmla="*/ 75 h 199"/>
                <a:gd name="T26" fmla="*/ 71 w 160"/>
                <a:gd name="T27" fmla="*/ 75 h 199"/>
                <a:gd name="T28" fmla="*/ 50 w 160"/>
                <a:gd name="T29" fmla="*/ 96 h 199"/>
                <a:gd name="T30" fmla="*/ 32 w 160"/>
                <a:gd name="T31" fmla="*/ 78 h 199"/>
                <a:gd name="T32" fmla="*/ 32 w 160"/>
                <a:gd name="T33" fmla="*/ 39 h 199"/>
                <a:gd name="T34" fmla="*/ 50 w 160"/>
                <a:gd name="T35" fmla="*/ 39 h 199"/>
                <a:gd name="T36" fmla="*/ 75 w 160"/>
                <a:gd name="T37" fmla="*/ 39 h 199"/>
                <a:gd name="T38" fmla="*/ 107 w 160"/>
                <a:gd name="T39" fmla="*/ 39 h 199"/>
                <a:gd name="T40" fmla="*/ 137 w 160"/>
                <a:gd name="T41" fmla="*/ 39 h 199"/>
                <a:gd name="T42" fmla="*/ 160 w 160"/>
                <a:gd name="T43" fmla="*/ 16 h 199"/>
                <a:gd name="T44" fmla="*/ 144 w 160"/>
                <a:gd name="T45" fmla="*/ 0 h 199"/>
                <a:gd name="T46" fmla="*/ 123 w 160"/>
                <a:gd name="T47" fmla="*/ 21 h 199"/>
                <a:gd name="T48" fmla="*/ 23 w 160"/>
                <a:gd name="T49" fmla="*/ 21 h 199"/>
                <a:gd name="T50" fmla="*/ 23 w 160"/>
                <a:gd name="T51" fmla="*/ 89 h 199"/>
                <a:gd name="T52" fmla="*/ 0 w 160"/>
                <a:gd name="T53" fmla="*/ 112 h 199"/>
                <a:gd name="T54" fmla="*/ 0 w 160"/>
                <a:gd name="T55" fmla="*/ 14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99">
                  <a:moveTo>
                    <a:pt x="0" y="142"/>
                  </a:moveTo>
                  <a:lnTo>
                    <a:pt x="12" y="142"/>
                  </a:lnTo>
                  <a:lnTo>
                    <a:pt x="12" y="199"/>
                  </a:lnTo>
                  <a:lnTo>
                    <a:pt x="34" y="199"/>
                  </a:lnTo>
                  <a:lnTo>
                    <a:pt x="34" y="135"/>
                  </a:lnTo>
                  <a:lnTo>
                    <a:pt x="43" y="128"/>
                  </a:lnTo>
                  <a:lnTo>
                    <a:pt x="78" y="164"/>
                  </a:lnTo>
                  <a:lnTo>
                    <a:pt x="100" y="164"/>
                  </a:lnTo>
                  <a:lnTo>
                    <a:pt x="82" y="146"/>
                  </a:lnTo>
                  <a:lnTo>
                    <a:pt x="96" y="133"/>
                  </a:lnTo>
                  <a:lnTo>
                    <a:pt x="78" y="114"/>
                  </a:lnTo>
                  <a:lnTo>
                    <a:pt x="78" y="107"/>
                  </a:lnTo>
                  <a:lnTo>
                    <a:pt x="110" y="75"/>
                  </a:lnTo>
                  <a:lnTo>
                    <a:pt x="71" y="75"/>
                  </a:lnTo>
                  <a:lnTo>
                    <a:pt x="50" y="96"/>
                  </a:lnTo>
                  <a:lnTo>
                    <a:pt x="32" y="78"/>
                  </a:lnTo>
                  <a:lnTo>
                    <a:pt x="32" y="39"/>
                  </a:lnTo>
                  <a:lnTo>
                    <a:pt x="50" y="39"/>
                  </a:lnTo>
                  <a:lnTo>
                    <a:pt x="75" y="39"/>
                  </a:lnTo>
                  <a:lnTo>
                    <a:pt x="107" y="39"/>
                  </a:lnTo>
                  <a:lnTo>
                    <a:pt x="137" y="39"/>
                  </a:lnTo>
                  <a:lnTo>
                    <a:pt x="160" y="16"/>
                  </a:lnTo>
                  <a:lnTo>
                    <a:pt x="144" y="0"/>
                  </a:lnTo>
                  <a:lnTo>
                    <a:pt x="123" y="21"/>
                  </a:lnTo>
                  <a:lnTo>
                    <a:pt x="23" y="21"/>
                  </a:lnTo>
                  <a:lnTo>
                    <a:pt x="23" y="89"/>
                  </a:lnTo>
                  <a:lnTo>
                    <a:pt x="0" y="112"/>
                  </a:lnTo>
                  <a:lnTo>
                    <a:pt x="0" y="14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Freeform 220">
              <a:extLst>
                <a:ext uri="{FF2B5EF4-FFF2-40B4-BE49-F238E27FC236}">
                  <a16:creationId xmlns:a16="http://schemas.microsoft.com/office/drawing/2014/main" id="{BE1EE2BB-0CF8-4C92-9230-5F45988D1F6B}"/>
                </a:ext>
              </a:extLst>
            </p:cNvPr>
            <p:cNvSpPr>
              <a:spLocks/>
            </p:cNvSpPr>
            <p:nvPr/>
          </p:nvSpPr>
          <p:spPr bwMode="auto">
            <a:xfrm>
              <a:off x="6824663" y="3244850"/>
              <a:ext cx="49213" cy="73025"/>
            </a:xfrm>
            <a:custGeom>
              <a:avLst/>
              <a:gdLst>
                <a:gd name="T0" fmla="*/ 0 w 60"/>
                <a:gd name="T1" fmla="*/ 53 h 93"/>
                <a:gd name="T2" fmla="*/ 39 w 60"/>
                <a:gd name="T3" fmla="*/ 93 h 93"/>
                <a:gd name="T4" fmla="*/ 39 w 60"/>
                <a:gd name="T5" fmla="*/ 68 h 93"/>
                <a:gd name="T6" fmla="*/ 60 w 60"/>
                <a:gd name="T7" fmla="*/ 46 h 93"/>
                <a:gd name="T8" fmla="*/ 60 w 60"/>
                <a:gd name="T9" fmla="*/ 11 h 93"/>
                <a:gd name="T10" fmla="*/ 50 w 60"/>
                <a:gd name="T11" fmla="*/ 0 h 93"/>
                <a:gd name="T12" fmla="*/ 0 w 60"/>
                <a:gd name="T13" fmla="*/ 53 h 93"/>
              </a:gdLst>
              <a:ahLst/>
              <a:cxnLst>
                <a:cxn ang="0">
                  <a:pos x="T0" y="T1"/>
                </a:cxn>
                <a:cxn ang="0">
                  <a:pos x="T2" y="T3"/>
                </a:cxn>
                <a:cxn ang="0">
                  <a:pos x="T4" y="T5"/>
                </a:cxn>
                <a:cxn ang="0">
                  <a:pos x="T6" y="T7"/>
                </a:cxn>
                <a:cxn ang="0">
                  <a:pos x="T8" y="T9"/>
                </a:cxn>
                <a:cxn ang="0">
                  <a:pos x="T10" y="T11"/>
                </a:cxn>
                <a:cxn ang="0">
                  <a:pos x="T12" y="T13"/>
                </a:cxn>
              </a:cxnLst>
              <a:rect l="0" t="0" r="r" b="b"/>
              <a:pathLst>
                <a:path w="60" h="93">
                  <a:moveTo>
                    <a:pt x="0" y="53"/>
                  </a:moveTo>
                  <a:lnTo>
                    <a:pt x="39" y="93"/>
                  </a:lnTo>
                  <a:lnTo>
                    <a:pt x="39" y="68"/>
                  </a:lnTo>
                  <a:lnTo>
                    <a:pt x="60" y="46"/>
                  </a:lnTo>
                  <a:lnTo>
                    <a:pt x="60" y="11"/>
                  </a:lnTo>
                  <a:lnTo>
                    <a:pt x="50" y="0"/>
                  </a:lnTo>
                  <a:lnTo>
                    <a:pt x="0" y="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221">
              <a:extLst>
                <a:ext uri="{FF2B5EF4-FFF2-40B4-BE49-F238E27FC236}">
                  <a16:creationId xmlns:a16="http://schemas.microsoft.com/office/drawing/2014/main" id="{2569DB0E-5330-4FB4-B62D-A54E0FEBDD26}"/>
                </a:ext>
              </a:extLst>
            </p:cNvPr>
            <p:cNvSpPr>
              <a:spLocks/>
            </p:cNvSpPr>
            <p:nvPr/>
          </p:nvSpPr>
          <p:spPr bwMode="auto">
            <a:xfrm>
              <a:off x="7283451" y="2449513"/>
              <a:ext cx="63500" cy="263525"/>
            </a:xfrm>
            <a:custGeom>
              <a:avLst/>
              <a:gdLst>
                <a:gd name="T0" fmla="*/ 25 w 80"/>
                <a:gd name="T1" fmla="*/ 0 h 332"/>
                <a:gd name="T2" fmla="*/ 25 w 80"/>
                <a:gd name="T3" fmla="*/ 32 h 332"/>
                <a:gd name="T4" fmla="*/ 7 w 80"/>
                <a:gd name="T5" fmla="*/ 32 h 332"/>
                <a:gd name="T6" fmla="*/ 0 w 80"/>
                <a:gd name="T7" fmla="*/ 32 h 332"/>
                <a:gd name="T8" fmla="*/ 0 w 80"/>
                <a:gd name="T9" fmla="*/ 111 h 332"/>
                <a:gd name="T10" fmla="*/ 9 w 80"/>
                <a:gd name="T11" fmla="*/ 119 h 332"/>
                <a:gd name="T12" fmla="*/ 9 w 80"/>
                <a:gd name="T13" fmla="*/ 248 h 332"/>
                <a:gd name="T14" fmla="*/ 3 w 80"/>
                <a:gd name="T15" fmla="*/ 253 h 332"/>
                <a:gd name="T16" fmla="*/ 3 w 80"/>
                <a:gd name="T17" fmla="*/ 332 h 332"/>
                <a:gd name="T18" fmla="*/ 21 w 80"/>
                <a:gd name="T19" fmla="*/ 332 h 332"/>
                <a:gd name="T20" fmla="*/ 21 w 80"/>
                <a:gd name="T21" fmla="*/ 312 h 332"/>
                <a:gd name="T22" fmla="*/ 37 w 80"/>
                <a:gd name="T23" fmla="*/ 312 h 332"/>
                <a:gd name="T24" fmla="*/ 37 w 80"/>
                <a:gd name="T25" fmla="*/ 328 h 332"/>
                <a:gd name="T26" fmla="*/ 51 w 80"/>
                <a:gd name="T27" fmla="*/ 328 h 332"/>
                <a:gd name="T28" fmla="*/ 51 w 80"/>
                <a:gd name="T29" fmla="*/ 300 h 332"/>
                <a:gd name="T30" fmla="*/ 21 w 80"/>
                <a:gd name="T31" fmla="*/ 269 h 332"/>
                <a:gd name="T32" fmla="*/ 35 w 80"/>
                <a:gd name="T33" fmla="*/ 255 h 332"/>
                <a:gd name="T34" fmla="*/ 35 w 80"/>
                <a:gd name="T35" fmla="*/ 203 h 332"/>
                <a:gd name="T36" fmla="*/ 51 w 80"/>
                <a:gd name="T37" fmla="*/ 203 h 332"/>
                <a:gd name="T38" fmla="*/ 69 w 80"/>
                <a:gd name="T39" fmla="*/ 221 h 332"/>
                <a:gd name="T40" fmla="*/ 80 w 80"/>
                <a:gd name="T41" fmla="*/ 210 h 332"/>
                <a:gd name="T42" fmla="*/ 50 w 80"/>
                <a:gd name="T43" fmla="*/ 178 h 332"/>
                <a:gd name="T44" fmla="*/ 50 w 80"/>
                <a:gd name="T45" fmla="*/ 123 h 332"/>
                <a:gd name="T46" fmla="*/ 32 w 80"/>
                <a:gd name="T47" fmla="*/ 105 h 332"/>
                <a:gd name="T48" fmla="*/ 32 w 80"/>
                <a:gd name="T49" fmla="*/ 0 h 332"/>
                <a:gd name="T50" fmla="*/ 25 w 80"/>
                <a:gd name="T5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332">
                  <a:moveTo>
                    <a:pt x="25" y="0"/>
                  </a:moveTo>
                  <a:lnTo>
                    <a:pt x="25" y="32"/>
                  </a:lnTo>
                  <a:lnTo>
                    <a:pt x="7" y="32"/>
                  </a:lnTo>
                  <a:lnTo>
                    <a:pt x="0" y="32"/>
                  </a:lnTo>
                  <a:lnTo>
                    <a:pt x="0" y="111"/>
                  </a:lnTo>
                  <a:lnTo>
                    <a:pt x="9" y="119"/>
                  </a:lnTo>
                  <a:lnTo>
                    <a:pt x="9" y="248"/>
                  </a:lnTo>
                  <a:lnTo>
                    <a:pt x="3" y="253"/>
                  </a:lnTo>
                  <a:lnTo>
                    <a:pt x="3" y="332"/>
                  </a:lnTo>
                  <a:lnTo>
                    <a:pt x="21" y="332"/>
                  </a:lnTo>
                  <a:lnTo>
                    <a:pt x="21" y="312"/>
                  </a:lnTo>
                  <a:lnTo>
                    <a:pt x="37" y="312"/>
                  </a:lnTo>
                  <a:lnTo>
                    <a:pt x="37" y="328"/>
                  </a:lnTo>
                  <a:lnTo>
                    <a:pt x="51" y="328"/>
                  </a:lnTo>
                  <a:lnTo>
                    <a:pt x="51" y="300"/>
                  </a:lnTo>
                  <a:lnTo>
                    <a:pt x="21" y="269"/>
                  </a:lnTo>
                  <a:lnTo>
                    <a:pt x="35" y="255"/>
                  </a:lnTo>
                  <a:lnTo>
                    <a:pt x="35" y="203"/>
                  </a:lnTo>
                  <a:lnTo>
                    <a:pt x="51" y="203"/>
                  </a:lnTo>
                  <a:lnTo>
                    <a:pt x="69" y="221"/>
                  </a:lnTo>
                  <a:lnTo>
                    <a:pt x="80" y="210"/>
                  </a:lnTo>
                  <a:lnTo>
                    <a:pt x="50" y="178"/>
                  </a:lnTo>
                  <a:lnTo>
                    <a:pt x="50" y="123"/>
                  </a:lnTo>
                  <a:lnTo>
                    <a:pt x="32" y="105"/>
                  </a:lnTo>
                  <a:lnTo>
                    <a:pt x="32" y="0"/>
                  </a:lnTo>
                  <a:lnTo>
                    <a:pt x="25"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Freeform 222">
              <a:extLst>
                <a:ext uri="{FF2B5EF4-FFF2-40B4-BE49-F238E27FC236}">
                  <a16:creationId xmlns:a16="http://schemas.microsoft.com/office/drawing/2014/main" id="{BD402736-247A-436E-A76F-AC5A27BBC46E}"/>
                </a:ext>
              </a:extLst>
            </p:cNvPr>
            <p:cNvSpPr>
              <a:spLocks/>
            </p:cNvSpPr>
            <p:nvPr/>
          </p:nvSpPr>
          <p:spPr bwMode="auto">
            <a:xfrm>
              <a:off x="6873876" y="3581400"/>
              <a:ext cx="85725" cy="79375"/>
            </a:xfrm>
            <a:custGeom>
              <a:avLst/>
              <a:gdLst>
                <a:gd name="T0" fmla="*/ 109 w 109"/>
                <a:gd name="T1" fmla="*/ 86 h 100"/>
                <a:gd name="T2" fmla="*/ 109 w 109"/>
                <a:gd name="T3" fmla="*/ 20 h 100"/>
                <a:gd name="T4" fmla="*/ 91 w 109"/>
                <a:gd name="T5" fmla="*/ 0 h 100"/>
                <a:gd name="T6" fmla="*/ 50 w 109"/>
                <a:gd name="T7" fmla="*/ 41 h 100"/>
                <a:gd name="T8" fmla="*/ 50 w 109"/>
                <a:gd name="T9" fmla="*/ 25 h 100"/>
                <a:gd name="T10" fmla="*/ 33 w 109"/>
                <a:gd name="T11" fmla="*/ 25 h 100"/>
                <a:gd name="T12" fmla="*/ 0 w 109"/>
                <a:gd name="T13" fmla="*/ 55 h 100"/>
                <a:gd name="T14" fmla="*/ 0 w 109"/>
                <a:gd name="T15" fmla="*/ 73 h 100"/>
                <a:gd name="T16" fmla="*/ 22 w 109"/>
                <a:gd name="T17" fmla="*/ 52 h 100"/>
                <a:gd name="T18" fmla="*/ 43 w 109"/>
                <a:gd name="T19" fmla="*/ 52 h 100"/>
                <a:gd name="T20" fmla="*/ 54 w 109"/>
                <a:gd name="T21" fmla="*/ 62 h 100"/>
                <a:gd name="T22" fmla="*/ 54 w 109"/>
                <a:gd name="T23" fmla="*/ 77 h 100"/>
                <a:gd name="T24" fmla="*/ 75 w 109"/>
                <a:gd name="T25" fmla="*/ 100 h 100"/>
                <a:gd name="T26" fmla="*/ 95 w 109"/>
                <a:gd name="T27" fmla="*/ 100 h 100"/>
                <a:gd name="T28" fmla="*/ 95 w 109"/>
                <a:gd name="T29" fmla="*/ 100 h 100"/>
                <a:gd name="T30" fmla="*/ 99 w 109"/>
                <a:gd name="T31" fmla="*/ 100 h 100"/>
                <a:gd name="T32" fmla="*/ 99 w 109"/>
                <a:gd name="T33" fmla="*/ 98 h 100"/>
                <a:gd name="T34" fmla="*/ 99 w 109"/>
                <a:gd name="T35" fmla="*/ 95 h 100"/>
                <a:gd name="T36" fmla="*/ 95 w 109"/>
                <a:gd name="T37" fmla="*/ 87 h 100"/>
                <a:gd name="T38" fmla="*/ 95 w 109"/>
                <a:gd name="T39" fmla="*/ 71 h 100"/>
                <a:gd name="T40" fmla="*/ 109 w 109"/>
                <a:gd name="T41"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 h="100">
                  <a:moveTo>
                    <a:pt x="109" y="86"/>
                  </a:moveTo>
                  <a:lnTo>
                    <a:pt x="109" y="20"/>
                  </a:lnTo>
                  <a:lnTo>
                    <a:pt x="91" y="0"/>
                  </a:lnTo>
                  <a:lnTo>
                    <a:pt x="50" y="41"/>
                  </a:lnTo>
                  <a:lnTo>
                    <a:pt x="50" y="25"/>
                  </a:lnTo>
                  <a:lnTo>
                    <a:pt x="33" y="25"/>
                  </a:lnTo>
                  <a:lnTo>
                    <a:pt x="0" y="55"/>
                  </a:lnTo>
                  <a:lnTo>
                    <a:pt x="0" y="73"/>
                  </a:lnTo>
                  <a:lnTo>
                    <a:pt x="22" y="52"/>
                  </a:lnTo>
                  <a:lnTo>
                    <a:pt x="43" y="52"/>
                  </a:lnTo>
                  <a:lnTo>
                    <a:pt x="54" y="62"/>
                  </a:lnTo>
                  <a:lnTo>
                    <a:pt x="54" y="77"/>
                  </a:lnTo>
                  <a:lnTo>
                    <a:pt x="75" y="100"/>
                  </a:lnTo>
                  <a:lnTo>
                    <a:pt x="95" y="100"/>
                  </a:lnTo>
                  <a:lnTo>
                    <a:pt x="95" y="100"/>
                  </a:lnTo>
                  <a:lnTo>
                    <a:pt x="99" y="100"/>
                  </a:lnTo>
                  <a:lnTo>
                    <a:pt x="99" y="98"/>
                  </a:lnTo>
                  <a:lnTo>
                    <a:pt x="99" y="95"/>
                  </a:lnTo>
                  <a:lnTo>
                    <a:pt x="95" y="87"/>
                  </a:lnTo>
                  <a:lnTo>
                    <a:pt x="95" y="71"/>
                  </a:lnTo>
                  <a:lnTo>
                    <a:pt x="109" y="8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Freeform 223">
              <a:extLst>
                <a:ext uri="{FF2B5EF4-FFF2-40B4-BE49-F238E27FC236}">
                  <a16:creationId xmlns:a16="http://schemas.microsoft.com/office/drawing/2014/main" id="{80E8148A-7245-4DC9-8B22-A249F417EEDF}"/>
                </a:ext>
              </a:extLst>
            </p:cNvPr>
            <p:cNvSpPr>
              <a:spLocks/>
            </p:cNvSpPr>
            <p:nvPr/>
          </p:nvSpPr>
          <p:spPr bwMode="auto">
            <a:xfrm>
              <a:off x="6835776" y="3400425"/>
              <a:ext cx="117475" cy="187325"/>
            </a:xfrm>
            <a:custGeom>
              <a:avLst/>
              <a:gdLst>
                <a:gd name="T0" fmla="*/ 27 w 148"/>
                <a:gd name="T1" fmla="*/ 123 h 235"/>
                <a:gd name="T2" fmla="*/ 16 w 148"/>
                <a:gd name="T3" fmla="*/ 151 h 235"/>
                <a:gd name="T4" fmla="*/ 40 w 148"/>
                <a:gd name="T5" fmla="*/ 130 h 235"/>
                <a:gd name="T6" fmla="*/ 70 w 148"/>
                <a:gd name="T7" fmla="*/ 139 h 235"/>
                <a:gd name="T8" fmla="*/ 104 w 148"/>
                <a:gd name="T9" fmla="*/ 159 h 235"/>
                <a:gd name="T10" fmla="*/ 68 w 148"/>
                <a:gd name="T11" fmla="*/ 173 h 235"/>
                <a:gd name="T12" fmla="*/ 56 w 148"/>
                <a:gd name="T13" fmla="*/ 169 h 235"/>
                <a:gd name="T14" fmla="*/ 43 w 148"/>
                <a:gd name="T15" fmla="*/ 212 h 235"/>
                <a:gd name="T16" fmla="*/ 79 w 148"/>
                <a:gd name="T17" fmla="*/ 192 h 235"/>
                <a:gd name="T18" fmla="*/ 61 w 148"/>
                <a:gd name="T19" fmla="*/ 221 h 235"/>
                <a:gd name="T20" fmla="*/ 79 w 148"/>
                <a:gd name="T21" fmla="*/ 235 h 235"/>
                <a:gd name="T22" fmla="*/ 98 w 148"/>
                <a:gd name="T23" fmla="*/ 208 h 235"/>
                <a:gd name="T24" fmla="*/ 109 w 148"/>
                <a:gd name="T25" fmla="*/ 219 h 235"/>
                <a:gd name="T26" fmla="*/ 104 w 148"/>
                <a:gd name="T27" fmla="*/ 223 h 235"/>
                <a:gd name="T28" fmla="*/ 102 w 148"/>
                <a:gd name="T29" fmla="*/ 226 h 235"/>
                <a:gd name="T30" fmla="*/ 104 w 148"/>
                <a:gd name="T31" fmla="*/ 228 h 235"/>
                <a:gd name="T32" fmla="*/ 114 w 148"/>
                <a:gd name="T33" fmla="*/ 226 h 235"/>
                <a:gd name="T34" fmla="*/ 123 w 148"/>
                <a:gd name="T35" fmla="*/ 217 h 235"/>
                <a:gd name="T36" fmla="*/ 125 w 148"/>
                <a:gd name="T37" fmla="*/ 214 h 235"/>
                <a:gd name="T38" fmla="*/ 123 w 148"/>
                <a:gd name="T39" fmla="*/ 203 h 235"/>
                <a:gd name="T40" fmla="*/ 129 w 148"/>
                <a:gd name="T41" fmla="*/ 178 h 235"/>
                <a:gd name="T42" fmla="*/ 147 w 148"/>
                <a:gd name="T43" fmla="*/ 196 h 235"/>
                <a:gd name="T44" fmla="*/ 148 w 148"/>
                <a:gd name="T45" fmla="*/ 171 h 235"/>
                <a:gd name="T46" fmla="*/ 147 w 148"/>
                <a:gd name="T47" fmla="*/ 167 h 235"/>
                <a:gd name="T48" fmla="*/ 141 w 148"/>
                <a:gd name="T49" fmla="*/ 166 h 235"/>
                <a:gd name="T50" fmla="*/ 134 w 148"/>
                <a:gd name="T51" fmla="*/ 155 h 235"/>
                <a:gd name="T52" fmla="*/ 106 w 148"/>
                <a:gd name="T53" fmla="*/ 142 h 235"/>
                <a:gd name="T54" fmla="*/ 89 w 148"/>
                <a:gd name="T55" fmla="*/ 128 h 235"/>
                <a:gd name="T56" fmla="*/ 97 w 148"/>
                <a:gd name="T57" fmla="*/ 125 h 235"/>
                <a:gd name="T58" fmla="*/ 97 w 148"/>
                <a:gd name="T59" fmla="*/ 121 h 235"/>
                <a:gd name="T60" fmla="*/ 91 w 148"/>
                <a:gd name="T61" fmla="*/ 114 h 235"/>
                <a:gd name="T62" fmla="*/ 48 w 148"/>
                <a:gd name="T63" fmla="*/ 112 h 235"/>
                <a:gd name="T64" fmla="*/ 34 w 148"/>
                <a:gd name="T65" fmla="*/ 69 h 235"/>
                <a:gd name="T66" fmla="*/ 56 w 148"/>
                <a:gd name="T67" fmla="*/ 20 h 235"/>
                <a:gd name="T68" fmla="*/ 0 w 148"/>
                <a:gd name="T69" fmla="*/ 36 h 235"/>
                <a:gd name="T70" fmla="*/ 11 w 148"/>
                <a:gd name="T7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 h="235">
                  <a:moveTo>
                    <a:pt x="11" y="107"/>
                  </a:moveTo>
                  <a:lnTo>
                    <a:pt x="27" y="123"/>
                  </a:lnTo>
                  <a:lnTo>
                    <a:pt x="16" y="134"/>
                  </a:lnTo>
                  <a:lnTo>
                    <a:pt x="16" y="151"/>
                  </a:lnTo>
                  <a:lnTo>
                    <a:pt x="40" y="151"/>
                  </a:lnTo>
                  <a:lnTo>
                    <a:pt x="40" y="130"/>
                  </a:lnTo>
                  <a:lnTo>
                    <a:pt x="50" y="119"/>
                  </a:lnTo>
                  <a:lnTo>
                    <a:pt x="70" y="139"/>
                  </a:lnTo>
                  <a:lnTo>
                    <a:pt x="70" y="125"/>
                  </a:lnTo>
                  <a:lnTo>
                    <a:pt x="104" y="159"/>
                  </a:lnTo>
                  <a:lnTo>
                    <a:pt x="81" y="159"/>
                  </a:lnTo>
                  <a:lnTo>
                    <a:pt x="68" y="173"/>
                  </a:lnTo>
                  <a:lnTo>
                    <a:pt x="68" y="182"/>
                  </a:lnTo>
                  <a:lnTo>
                    <a:pt x="56" y="169"/>
                  </a:lnTo>
                  <a:lnTo>
                    <a:pt x="43" y="183"/>
                  </a:lnTo>
                  <a:lnTo>
                    <a:pt x="43" y="212"/>
                  </a:lnTo>
                  <a:lnTo>
                    <a:pt x="59" y="212"/>
                  </a:lnTo>
                  <a:lnTo>
                    <a:pt x="79" y="192"/>
                  </a:lnTo>
                  <a:lnTo>
                    <a:pt x="79" y="205"/>
                  </a:lnTo>
                  <a:lnTo>
                    <a:pt x="61" y="221"/>
                  </a:lnTo>
                  <a:lnTo>
                    <a:pt x="61" y="235"/>
                  </a:lnTo>
                  <a:lnTo>
                    <a:pt x="79" y="235"/>
                  </a:lnTo>
                  <a:lnTo>
                    <a:pt x="79" y="226"/>
                  </a:lnTo>
                  <a:lnTo>
                    <a:pt x="98" y="208"/>
                  </a:lnTo>
                  <a:lnTo>
                    <a:pt x="109" y="219"/>
                  </a:lnTo>
                  <a:lnTo>
                    <a:pt x="109" y="219"/>
                  </a:lnTo>
                  <a:lnTo>
                    <a:pt x="106" y="221"/>
                  </a:lnTo>
                  <a:lnTo>
                    <a:pt x="104" y="223"/>
                  </a:lnTo>
                  <a:lnTo>
                    <a:pt x="102" y="226"/>
                  </a:lnTo>
                  <a:lnTo>
                    <a:pt x="102" y="226"/>
                  </a:lnTo>
                  <a:lnTo>
                    <a:pt x="102" y="226"/>
                  </a:lnTo>
                  <a:lnTo>
                    <a:pt x="104" y="228"/>
                  </a:lnTo>
                  <a:lnTo>
                    <a:pt x="109" y="228"/>
                  </a:lnTo>
                  <a:lnTo>
                    <a:pt x="114" y="226"/>
                  </a:lnTo>
                  <a:lnTo>
                    <a:pt x="114" y="226"/>
                  </a:lnTo>
                  <a:lnTo>
                    <a:pt x="123" y="217"/>
                  </a:lnTo>
                  <a:lnTo>
                    <a:pt x="123" y="217"/>
                  </a:lnTo>
                  <a:lnTo>
                    <a:pt x="125" y="214"/>
                  </a:lnTo>
                  <a:lnTo>
                    <a:pt x="125" y="208"/>
                  </a:lnTo>
                  <a:lnTo>
                    <a:pt x="123" y="203"/>
                  </a:lnTo>
                  <a:lnTo>
                    <a:pt x="123" y="182"/>
                  </a:lnTo>
                  <a:lnTo>
                    <a:pt x="129" y="178"/>
                  </a:lnTo>
                  <a:lnTo>
                    <a:pt x="147" y="196"/>
                  </a:lnTo>
                  <a:lnTo>
                    <a:pt x="147" y="196"/>
                  </a:lnTo>
                  <a:lnTo>
                    <a:pt x="148" y="182"/>
                  </a:lnTo>
                  <a:lnTo>
                    <a:pt x="148" y="171"/>
                  </a:lnTo>
                  <a:lnTo>
                    <a:pt x="148" y="169"/>
                  </a:lnTo>
                  <a:lnTo>
                    <a:pt x="147" y="167"/>
                  </a:lnTo>
                  <a:lnTo>
                    <a:pt x="147" y="167"/>
                  </a:lnTo>
                  <a:lnTo>
                    <a:pt x="141" y="166"/>
                  </a:lnTo>
                  <a:lnTo>
                    <a:pt x="138" y="160"/>
                  </a:lnTo>
                  <a:lnTo>
                    <a:pt x="134" y="155"/>
                  </a:lnTo>
                  <a:lnTo>
                    <a:pt x="122" y="142"/>
                  </a:lnTo>
                  <a:lnTo>
                    <a:pt x="106" y="142"/>
                  </a:lnTo>
                  <a:lnTo>
                    <a:pt x="89" y="128"/>
                  </a:lnTo>
                  <a:lnTo>
                    <a:pt x="89" y="128"/>
                  </a:lnTo>
                  <a:lnTo>
                    <a:pt x="93" y="126"/>
                  </a:lnTo>
                  <a:lnTo>
                    <a:pt x="97" y="125"/>
                  </a:lnTo>
                  <a:lnTo>
                    <a:pt x="97" y="121"/>
                  </a:lnTo>
                  <a:lnTo>
                    <a:pt x="97" y="121"/>
                  </a:lnTo>
                  <a:lnTo>
                    <a:pt x="95" y="118"/>
                  </a:lnTo>
                  <a:lnTo>
                    <a:pt x="91" y="114"/>
                  </a:lnTo>
                  <a:lnTo>
                    <a:pt x="88" y="112"/>
                  </a:lnTo>
                  <a:lnTo>
                    <a:pt x="48" y="112"/>
                  </a:lnTo>
                  <a:lnTo>
                    <a:pt x="34" y="96"/>
                  </a:lnTo>
                  <a:lnTo>
                    <a:pt x="34" y="69"/>
                  </a:lnTo>
                  <a:lnTo>
                    <a:pt x="56" y="46"/>
                  </a:lnTo>
                  <a:lnTo>
                    <a:pt x="56" y="20"/>
                  </a:lnTo>
                  <a:lnTo>
                    <a:pt x="36" y="0"/>
                  </a:lnTo>
                  <a:lnTo>
                    <a:pt x="0" y="36"/>
                  </a:lnTo>
                  <a:lnTo>
                    <a:pt x="0" y="98"/>
                  </a:lnTo>
                  <a:lnTo>
                    <a:pt x="11" y="10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Freeform 224">
              <a:extLst>
                <a:ext uri="{FF2B5EF4-FFF2-40B4-BE49-F238E27FC236}">
                  <a16:creationId xmlns:a16="http://schemas.microsoft.com/office/drawing/2014/main" id="{C269D3C3-8AA8-45E6-A1D8-CB3F146F9330}"/>
                </a:ext>
              </a:extLst>
            </p:cNvPr>
            <p:cNvSpPr>
              <a:spLocks/>
            </p:cNvSpPr>
            <p:nvPr/>
          </p:nvSpPr>
          <p:spPr bwMode="auto">
            <a:xfrm>
              <a:off x="4152901" y="2438400"/>
              <a:ext cx="84138" cy="100013"/>
            </a:xfrm>
            <a:custGeom>
              <a:avLst/>
              <a:gdLst>
                <a:gd name="T0" fmla="*/ 41 w 105"/>
                <a:gd name="T1" fmla="*/ 116 h 126"/>
                <a:gd name="T2" fmla="*/ 53 w 105"/>
                <a:gd name="T3" fmla="*/ 116 h 126"/>
                <a:gd name="T4" fmla="*/ 66 w 105"/>
                <a:gd name="T5" fmla="*/ 103 h 126"/>
                <a:gd name="T6" fmla="*/ 98 w 105"/>
                <a:gd name="T7" fmla="*/ 103 h 126"/>
                <a:gd name="T8" fmla="*/ 98 w 105"/>
                <a:gd name="T9" fmla="*/ 76 h 126"/>
                <a:gd name="T10" fmla="*/ 105 w 105"/>
                <a:gd name="T11" fmla="*/ 71 h 126"/>
                <a:gd name="T12" fmla="*/ 105 w 105"/>
                <a:gd name="T13" fmla="*/ 41 h 126"/>
                <a:gd name="T14" fmla="*/ 95 w 105"/>
                <a:gd name="T15" fmla="*/ 28 h 126"/>
                <a:gd name="T16" fmla="*/ 98 w 105"/>
                <a:gd name="T17" fmla="*/ 25 h 126"/>
                <a:gd name="T18" fmla="*/ 89 w 105"/>
                <a:gd name="T19" fmla="*/ 25 h 126"/>
                <a:gd name="T20" fmla="*/ 84 w 105"/>
                <a:gd name="T21" fmla="*/ 19 h 126"/>
                <a:gd name="T22" fmla="*/ 73 w 105"/>
                <a:gd name="T23" fmla="*/ 9 h 126"/>
                <a:gd name="T24" fmla="*/ 64 w 105"/>
                <a:gd name="T25" fmla="*/ 0 h 126"/>
                <a:gd name="T26" fmla="*/ 45 w 105"/>
                <a:gd name="T27" fmla="*/ 0 h 126"/>
                <a:gd name="T28" fmla="*/ 46 w 105"/>
                <a:gd name="T29" fmla="*/ 2 h 126"/>
                <a:gd name="T30" fmla="*/ 34 w 105"/>
                <a:gd name="T31" fmla="*/ 14 h 126"/>
                <a:gd name="T32" fmla="*/ 9 w 105"/>
                <a:gd name="T33" fmla="*/ 14 h 126"/>
                <a:gd name="T34" fmla="*/ 0 w 105"/>
                <a:gd name="T35" fmla="*/ 25 h 126"/>
                <a:gd name="T36" fmla="*/ 11 w 105"/>
                <a:gd name="T37" fmla="*/ 34 h 126"/>
                <a:gd name="T38" fmla="*/ 0 w 105"/>
                <a:gd name="T39" fmla="*/ 43 h 126"/>
                <a:gd name="T40" fmla="*/ 0 w 105"/>
                <a:gd name="T41" fmla="*/ 57 h 126"/>
                <a:gd name="T42" fmla="*/ 27 w 105"/>
                <a:gd name="T43" fmla="*/ 57 h 126"/>
                <a:gd name="T44" fmla="*/ 27 w 105"/>
                <a:gd name="T45" fmla="*/ 64 h 126"/>
                <a:gd name="T46" fmla="*/ 7 w 105"/>
                <a:gd name="T47" fmla="*/ 84 h 126"/>
                <a:gd name="T48" fmla="*/ 7 w 105"/>
                <a:gd name="T49" fmla="*/ 94 h 126"/>
                <a:gd name="T50" fmla="*/ 0 w 105"/>
                <a:gd name="T51" fmla="*/ 103 h 126"/>
                <a:gd name="T52" fmla="*/ 0 w 105"/>
                <a:gd name="T53" fmla="*/ 126 h 126"/>
                <a:gd name="T54" fmla="*/ 30 w 105"/>
                <a:gd name="T55" fmla="*/ 126 h 126"/>
                <a:gd name="T56" fmla="*/ 41 w 105"/>
                <a:gd name="T57" fmla="*/ 11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5" h="126">
                  <a:moveTo>
                    <a:pt x="41" y="116"/>
                  </a:moveTo>
                  <a:lnTo>
                    <a:pt x="53" y="116"/>
                  </a:lnTo>
                  <a:lnTo>
                    <a:pt x="66" y="103"/>
                  </a:lnTo>
                  <a:lnTo>
                    <a:pt x="98" y="103"/>
                  </a:lnTo>
                  <a:lnTo>
                    <a:pt x="98" y="76"/>
                  </a:lnTo>
                  <a:lnTo>
                    <a:pt x="105" y="71"/>
                  </a:lnTo>
                  <a:lnTo>
                    <a:pt x="105" y="41"/>
                  </a:lnTo>
                  <a:lnTo>
                    <a:pt x="95" y="28"/>
                  </a:lnTo>
                  <a:lnTo>
                    <a:pt x="98" y="25"/>
                  </a:lnTo>
                  <a:lnTo>
                    <a:pt x="89" y="25"/>
                  </a:lnTo>
                  <a:lnTo>
                    <a:pt x="84" y="19"/>
                  </a:lnTo>
                  <a:lnTo>
                    <a:pt x="73" y="9"/>
                  </a:lnTo>
                  <a:lnTo>
                    <a:pt x="64" y="0"/>
                  </a:lnTo>
                  <a:lnTo>
                    <a:pt x="45" y="0"/>
                  </a:lnTo>
                  <a:lnTo>
                    <a:pt x="46" y="2"/>
                  </a:lnTo>
                  <a:lnTo>
                    <a:pt x="34" y="14"/>
                  </a:lnTo>
                  <a:lnTo>
                    <a:pt x="9" y="14"/>
                  </a:lnTo>
                  <a:lnTo>
                    <a:pt x="0" y="25"/>
                  </a:lnTo>
                  <a:lnTo>
                    <a:pt x="11" y="34"/>
                  </a:lnTo>
                  <a:lnTo>
                    <a:pt x="0" y="43"/>
                  </a:lnTo>
                  <a:lnTo>
                    <a:pt x="0" y="57"/>
                  </a:lnTo>
                  <a:lnTo>
                    <a:pt x="27" y="57"/>
                  </a:lnTo>
                  <a:lnTo>
                    <a:pt x="27" y="64"/>
                  </a:lnTo>
                  <a:lnTo>
                    <a:pt x="7" y="84"/>
                  </a:lnTo>
                  <a:lnTo>
                    <a:pt x="7" y="94"/>
                  </a:lnTo>
                  <a:lnTo>
                    <a:pt x="0" y="103"/>
                  </a:lnTo>
                  <a:lnTo>
                    <a:pt x="0" y="126"/>
                  </a:lnTo>
                  <a:lnTo>
                    <a:pt x="30" y="126"/>
                  </a:lnTo>
                  <a:lnTo>
                    <a:pt x="41" y="116"/>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D59456AD-24B9-4F81-87A8-293D87966401}"/>
                </a:ext>
              </a:extLst>
            </p:cNvPr>
            <p:cNvGrpSpPr/>
            <p:nvPr/>
          </p:nvGrpSpPr>
          <p:grpSpPr>
            <a:xfrm>
              <a:off x="4179888" y="2287588"/>
              <a:ext cx="211138" cy="306388"/>
              <a:chOff x="4179888" y="2287588"/>
              <a:chExt cx="211138" cy="306388"/>
            </a:xfrm>
            <a:solidFill>
              <a:schemeClr val="accent1"/>
            </a:solidFill>
          </p:grpSpPr>
          <p:sp>
            <p:nvSpPr>
              <p:cNvPr id="212" name="Freeform 225">
                <a:extLst>
                  <a:ext uri="{FF2B5EF4-FFF2-40B4-BE49-F238E27FC236}">
                    <a16:creationId xmlns:a16="http://schemas.microsoft.com/office/drawing/2014/main" id="{DC5257B4-9DF7-4EFB-B244-E9EF61ACF4B8}"/>
                  </a:ext>
                </a:extLst>
              </p:cNvPr>
              <p:cNvSpPr>
                <a:spLocks/>
              </p:cNvSpPr>
              <p:nvPr/>
            </p:nvSpPr>
            <p:spPr bwMode="auto">
              <a:xfrm>
                <a:off x="4179888" y="2409825"/>
                <a:ext cx="65088" cy="47625"/>
              </a:xfrm>
              <a:custGeom>
                <a:avLst/>
                <a:gdLst>
                  <a:gd name="T0" fmla="*/ 39 w 82"/>
                  <a:gd name="T1" fmla="*/ 45 h 61"/>
                  <a:gd name="T2" fmla="*/ 50 w 82"/>
                  <a:gd name="T3" fmla="*/ 55 h 61"/>
                  <a:gd name="T4" fmla="*/ 55 w 82"/>
                  <a:gd name="T5" fmla="*/ 61 h 61"/>
                  <a:gd name="T6" fmla="*/ 64 w 82"/>
                  <a:gd name="T7" fmla="*/ 61 h 61"/>
                  <a:gd name="T8" fmla="*/ 73 w 82"/>
                  <a:gd name="T9" fmla="*/ 52 h 61"/>
                  <a:gd name="T10" fmla="*/ 82 w 82"/>
                  <a:gd name="T11" fmla="*/ 43 h 61"/>
                  <a:gd name="T12" fmla="*/ 73 w 82"/>
                  <a:gd name="T13" fmla="*/ 34 h 61"/>
                  <a:gd name="T14" fmla="*/ 73 w 82"/>
                  <a:gd name="T15" fmla="*/ 27 h 61"/>
                  <a:gd name="T16" fmla="*/ 57 w 82"/>
                  <a:gd name="T17" fmla="*/ 9 h 61"/>
                  <a:gd name="T18" fmla="*/ 43 w 82"/>
                  <a:gd name="T19" fmla="*/ 9 h 61"/>
                  <a:gd name="T20" fmla="*/ 34 w 82"/>
                  <a:gd name="T21" fmla="*/ 0 h 61"/>
                  <a:gd name="T22" fmla="*/ 28 w 82"/>
                  <a:gd name="T23" fmla="*/ 9 h 61"/>
                  <a:gd name="T24" fmla="*/ 23 w 82"/>
                  <a:gd name="T25" fmla="*/ 4 h 61"/>
                  <a:gd name="T26" fmla="*/ 0 w 82"/>
                  <a:gd name="T27" fmla="*/ 25 h 61"/>
                  <a:gd name="T28" fmla="*/ 11 w 82"/>
                  <a:gd name="T29" fmla="*/ 36 h 61"/>
                  <a:gd name="T30" fmla="*/ 30 w 82"/>
                  <a:gd name="T31" fmla="*/ 36 h 61"/>
                  <a:gd name="T32" fmla="*/ 39 w 82"/>
                  <a:gd name="T33" fmla="*/ 4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61">
                    <a:moveTo>
                      <a:pt x="39" y="45"/>
                    </a:moveTo>
                    <a:lnTo>
                      <a:pt x="50" y="55"/>
                    </a:lnTo>
                    <a:lnTo>
                      <a:pt x="55" y="61"/>
                    </a:lnTo>
                    <a:lnTo>
                      <a:pt x="64" y="61"/>
                    </a:lnTo>
                    <a:lnTo>
                      <a:pt x="73" y="52"/>
                    </a:lnTo>
                    <a:lnTo>
                      <a:pt x="82" y="43"/>
                    </a:lnTo>
                    <a:lnTo>
                      <a:pt x="73" y="34"/>
                    </a:lnTo>
                    <a:lnTo>
                      <a:pt x="73" y="27"/>
                    </a:lnTo>
                    <a:lnTo>
                      <a:pt x="57" y="9"/>
                    </a:lnTo>
                    <a:lnTo>
                      <a:pt x="43" y="9"/>
                    </a:lnTo>
                    <a:lnTo>
                      <a:pt x="34" y="0"/>
                    </a:lnTo>
                    <a:lnTo>
                      <a:pt x="28" y="9"/>
                    </a:lnTo>
                    <a:lnTo>
                      <a:pt x="23" y="4"/>
                    </a:lnTo>
                    <a:lnTo>
                      <a:pt x="0" y="25"/>
                    </a:lnTo>
                    <a:lnTo>
                      <a:pt x="11" y="36"/>
                    </a:lnTo>
                    <a:lnTo>
                      <a:pt x="30" y="36"/>
                    </a:lnTo>
                    <a:lnTo>
                      <a:pt x="39" y="45"/>
                    </a:lnTo>
                    <a:close/>
                  </a:path>
                </a:pathLst>
              </a:custGeom>
              <a:grp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3" name="Freeform 226">
                <a:extLst>
                  <a:ext uri="{FF2B5EF4-FFF2-40B4-BE49-F238E27FC236}">
                    <a16:creationId xmlns:a16="http://schemas.microsoft.com/office/drawing/2014/main" id="{41EC8951-28B5-49FD-959D-031C7FE996E5}"/>
                  </a:ext>
                </a:extLst>
              </p:cNvPr>
              <p:cNvSpPr>
                <a:spLocks/>
              </p:cNvSpPr>
              <p:nvPr/>
            </p:nvSpPr>
            <p:spPr bwMode="auto">
              <a:xfrm>
                <a:off x="4254501" y="2476500"/>
                <a:ext cx="50800" cy="71438"/>
              </a:xfrm>
              <a:custGeom>
                <a:avLst/>
                <a:gdLst>
                  <a:gd name="T0" fmla="*/ 52 w 65"/>
                  <a:gd name="T1" fmla="*/ 27 h 89"/>
                  <a:gd name="T2" fmla="*/ 52 w 65"/>
                  <a:gd name="T3" fmla="*/ 0 h 89"/>
                  <a:gd name="T4" fmla="*/ 29 w 65"/>
                  <a:gd name="T5" fmla="*/ 0 h 89"/>
                  <a:gd name="T6" fmla="*/ 13 w 65"/>
                  <a:gd name="T7" fmla="*/ 18 h 89"/>
                  <a:gd name="T8" fmla="*/ 18 w 65"/>
                  <a:gd name="T9" fmla="*/ 23 h 89"/>
                  <a:gd name="T10" fmla="*/ 18 w 65"/>
                  <a:gd name="T11" fmla="*/ 43 h 89"/>
                  <a:gd name="T12" fmla="*/ 0 w 65"/>
                  <a:gd name="T13" fmla="*/ 61 h 89"/>
                  <a:gd name="T14" fmla="*/ 0 w 65"/>
                  <a:gd name="T15" fmla="*/ 71 h 89"/>
                  <a:gd name="T16" fmla="*/ 11 w 65"/>
                  <a:gd name="T17" fmla="*/ 71 h 89"/>
                  <a:gd name="T18" fmla="*/ 16 w 65"/>
                  <a:gd name="T19" fmla="*/ 75 h 89"/>
                  <a:gd name="T20" fmla="*/ 32 w 65"/>
                  <a:gd name="T21" fmla="*/ 75 h 89"/>
                  <a:gd name="T22" fmla="*/ 47 w 65"/>
                  <a:gd name="T23" fmla="*/ 89 h 89"/>
                  <a:gd name="T24" fmla="*/ 63 w 65"/>
                  <a:gd name="T25" fmla="*/ 73 h 89"/>
                  <a:gd name="T26" fmla="*/ 65 w 65"/>
                  <a:gd name="T27" fmla="*/ 75 h 89"/>
                  <a:gd name="T28" fmla="*/ 65 w 65"/>
                  <a:gd name="T29" fmla="*/ 39 h 89"/>
                  <a:gd name="T30" fmla="*/ 52 w 65"/>
                  <a:gd name="T31" fmla="*/ 2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89">
                    <a:moveTo>
                      <a:pt x="52" y="27"/>
                    </a:moveTo>
                    <a:lnTo>
                      <a:pt x="52" y="0"/>
                    </a:lnTo>
                    <a:lnTo>
                      <a:pt x="29" y="0"/>
                    </a:lnTo>
                    <a:lnTo>
                      <a:pt x="13" y="18"/>
                    </a:lnTo>
                    <a:lnTo>
                      <a:pt x="18" y="23"/>
                    </a:lnTo>
                    <a:lnTo>
                      <a:pt x="18" y="43"/>
                    </a:lnTo>
                    <a:lnTo>
                      <a:pt x="0" y="61"/>
                    </a:lnTo>
                    <a:lnTo>
                      <a:pt x="0" y="71"/>
                    </a:lnTo>
                    <a:lnTo>
                      <a:pt x="11" y="71"/>
                    </a:lnTo>
                    <a:lnTo>
                      <a:pt x="16" y="75"/>
                    </a:lnTo>
                    <a:lnTo>
                      <a:pt x="32" y="75"/>
                    </a:lnTo>
                    <a:lnTo>
                      <a:pt x="47" y="89"/>
                    </a:lnTo>
                    <a:lnTo>
                      <a:pt x="63" y="73"/>
                    </a:lnTo>
                    <a:lnTo>
                      <a:pt x="65" y="75"/>
                    </a:lnTo>
                    <a:lnTo>
                      <a:pt x="65" y="39"/>
                    </a:lnTo>
                    <a:lnTo>
                      <a:pt x="52" y="27"/>
                    </a:lnTo>
                    <a:close/>
                  </a:path>
                </a:pathLst>
              </a:custGeom>
              <a:grp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4" name="Freeform 227">
                <a:extLst>
                  <a:ext uri="{FF2B5EF4-FFF2-40B4-BE49-F238E27FC236}">
                    <a16:creationId xmlns:a16="http://schemas.microsoft.com/office/drawing/2014/main" id="{337E98CB-744E-486C-9E54-E72DEA70A98A}"/>
                  </a:ext>
                </a:extLst>
              </p:cNvPr>
              <p:cNvSpPr>
                <a:spLocks/>
              </p:cNvSpPr>
              <p:nvPr/>
            </p:nvSpPr>
            <p:spPr bwMode="auto">
              <a:xfrm>
                <a:off x="4240213" y="2401888"/>
                <a:ext cx="150813" cy="192088"/>
              </a:xfrm>
              <a:custGeom>
                <a:avLst/>
                <a:gdLst>
                  <a:gd name="T0" fmla="*/ 67 w 189"/>
                  <a:gd name="T1" fmla="*/ 34 h 243"/>
                  <a:gd name="T2" fmla="*/ 48 w 189"/>
                  <a:gd name="T3" fmla="*/ 54 h 243"/>
                  <a:gd name="T4" fmla="*/ 64 w 189"/>
                  <a:gd name="T5" fmla="*/ 70 h 243"/>
                  <a:gd name="T6" fmla="*/ 69 w 189"/>
                  <a:gd name="T7" fmla="*/ 70 h 243"/>
                  <a:gd name="T8" fmla="*/ 69 w 189"/>
                  <a:gd name="T9" fmla="*/ 90 h 243"/>
                  <a:gd name="T10" fmla="*/ 69 w 189"/>
                  <a:gd name="T11" fmla="*/ 95 h 243"/>
                  <a:gd name="T12" fmla="*/ 69 w 189"/>
                  <a:gd name="T13" fmla="*/ 122 h 243"/>
                  <a:gd name="T14" fmla="*/ 82 w 189"/>
                  <a:gd name="T15" fmla="*/ 134 h 243"/>
                  <a:gd name="T16" fmla="*/ 82 w 189"/>
                  <a:gd name="T17" fmla="*/ 170 h 243"/>
                  <a:gd name="T18" fmla="*/ 87 w 189"/>
                  <a:gd name="T19" fmla="*/ 175 h 243"/>
                  <a:gd name="T20" fmla="*/ 67 w 189"/>
                  <a:gd name="T21" fmla="*/ 193 h 243"/>
                  <a:gd name="T22" fmla="*/ 35 w 189"/>
                  <a:gd name="T23" fmla="*/ 193 h 243"/>
                  <a:gd name="T24" fmla="*/ 0 w 189"/>
                  <a:gd name="T25" fmla="*/ 230 h 243"/>
                  <a:gd name="T26" fmla="*/ 12 w 189"/>
                  <a:gd name="T27" fmla="*/ 243 h 243"/>
                  <a:gd name="T28" fmla="*/ 26 w 189"/>
                  <a:gd name="T29" fmla="*/ 229 h 243"/>
                  <a:gd name="T30" fmla="*/ 55 w 189"/>
                  <a:gd name="T31" fmla="*/ 229 h 243"/>
                  <a:gd name="T32" fmla="*/ 55 w 189"/>
                  <a:gd name="T33" fmla="*/ 214 h 243"/>
                  <a:gd name="T34" fmla="*/ 103 w 189"/>
                  <a:gd name="T35" fmla="*/ 214 h 243"/>
                  <a:gd name="T36" fmla="*/ 110 w 189"/>
                  <a:gd name="T37" fmla="*/ 207 h 243"/>
                  <a:gd name="T38" fmla="*/ 156 w 189"/>
                  <a:gd name="T39" fmla="*/ 207 h 243"/>
                  <a:gd name="T40" fmla="*/ 167 w 189"/>
                  <a:gd name="T41" fmla="*/ 197 h 243"/>
                  <a:gd name="T42" fmla="*/ 187 w 189"/>
                  <a:gd name="T43" fmla="*/ 197 h 243"/>
                  <a:gd name="T44" fmla="*/ 187 w 189"/>
                  <a:gd name="T45" fmla="*/ 182 h 243"/>
                  <a:gd name="T46" fmla="*/ 171 w 189"/>
                  <a:gd name="T47" fmla="*/ 182 h 243"/>
                  <a:gd name="T48" fmla="*/ 171 w 189"/>
                  <a:gd name="T49" fmla="*/ 172 h 243"/>
                  <a:gd name="T50" fmla="*/ 189 w 189"/>
                  <a:gd name="T51" fmla="*/ 154 h 243"/>
                  <a:gd name="T52" fmla="*/ 189 w 189"/>
                  <a:gd name="T53" fmla="*/ 131 h 243"/>
                  <a:gd name="T54" fmla="*/ 176 w 189"/>
                  <a:gd name="T55" fmla="*/ 120 h 243"/>
                  <a:gd name="T56" fmla="*/ 155 w 189"/>
                  <a:gd name="T57" fmla="*/ 120 h 243"/>
                  <a:gd name="T58" fmla="*/ 155 w 189"/>
                  <a:gd name="T59" fmla="*/ 102 h 243"/>
                  <a:gd name="T60" fmla="*/ 146 w 189"/>
                  <a:gd name="T61" fmla="*/ 93 h 243"/>
                  <a:gd name="T62" fmla="*/ 162 w 189"/>
                  <a:gd name="T63" fmla="*/ 75 h 243"/>
                  <a:gd name="T64" fmla="*/ 132 w 189"/>
                  <a:gd name="T65" fmla="*/ 45 h 243"/>
                  <a:gd name="T66" fmla="*/ 107 w 189"/>
                  <a:gd name="T67" fmla="*/ 45 h 243"/>
                  <a:gd name="T68" fmla="*/ 107 w 189"/>
                  <a:gd name="T69" fmla="*/ 6 h 243"/>
                  <a:gd name="T70" fmla="*/ 101 w 189"/>
                  <a:gd name="T71" fmla="*/ 0 h 243"/>
                  <a:gd name="T72" fmla="*/ 67 w 189"/>
                  <a:gd name="T73" fmla="*/ 34 h 243"/>
                  <a:gd name="T74" fmla="*/ 67 w 189"/>
                  <a:gd name="T75" fmla="*/ 3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9" h="243">
                    <a:moveTo>
                      <a:pt x="67" y="34"/>
                    </a:moveTo>
                    <a:lnTo>
                      <a:pt x="48" y="54"/>
                    </a:lnTo>
                    <a:lnTo>
                      <a:pt x="64" y="70"/>
                    </a:lnTo>
                    <a:lnTo>
                      <a:pt x="69" y="70"/>
                    </a:lnTo>
                    <a:lnTo>
                      <a:pt x="69" y="90"/>
                    </a:lnTo>
                    <a:lnTo>
                      <a:pt x="69" y="95"/>
                    </a:lnTo>
                    <a:lnTo>
                      <a:pt x="69" y="122"/>
                    </a:lnTo>
                    <a:lnTo>
                      <a:pt x="82" y="134"/>
                    </a:lnTo>
                    <a:lnTo>
                      <a:pt x="82" y="170"/>
                    </a:lnTo>
                    <a:lnTo>
                      <a:pt x="87" y="175"/>
                    </a:lnTo>
                    <a:lnTo>
                      <a:pt x="67" y="193"/>
                    </a:lnTo>
                    <a:lnTo>
                      <a:pt x="35" y="193"/>
                    </a:lnTo>
                    <a:lnTo>
                      <a:pt x="0" y="230"/>
                    </a:lnTo>
                    <a:lnTo>
                      <a:pt x="12" y="243"/>
                    </a:lnTo>
                    <a:lnTo>
                      <a:pt x="26" y="229"/>
                    </a:lnTo>
                    <a:lnTo>
                      <a:pt x="55" y="229"/>
                    </a:lnTo>
                    <a:lnTo>
                      <a:pt x="55" y="214"/>
                    </a:lnTo>
                    <a:lnTo>
                      <a:pt x="103" y="214"/>
                    </a:lnTo>
                    <a:lnTo>
                      <a:pt x="110" y="207"/>
                    </a:lnTo>
                    <a:lnTo>
                      <a:pt x="156" y="207"/>
                    </a:lnTo>
                    <a:lnTo>
                      <a:pt x="167" y="197"/>
                    </a:lnTo>
                    <a:lnTo>
                      <a:pt x="187" y="197"/>
                    </a:lnTo>
                    <a:lnTo>
                      <a:pt x="187" y="182"/>
                    </a:lnTo>
                    <a:lnTo>
                      <a:pt x="171" y="182"/>
                    </a:lnTo>
                    <a:lnTo>
                      <a:pt x="171" y="172"/>
                    </a:lnTo>
                    <a:lnTo>
                      <a:pt x="189" y="154"/>
                    </a:lnTo>
                    <a:lnTo>
                      <a:pt x="189" y="131"/>
                    </a:lnTo>
                    <a:lnTo>
                      <a:pt x="176" y="120"/>
                    </a:lnTo>
                    <a:lnTo>
                      <a:pt x="155" y="120"/>
                    </a:lnTo>
                    <a:lnTo>
                      <a:pt x="155" y="102"/>
                    </a:lnTo>
                    <a:lnTo>
                      <a:pt x="146" y="93"/>
                    </a:lnTo>
                    <a:lnTo>
                      <a:pt x="162" y="75"/>
                    </a:lnTo>
                    <a:lnTo>
                      <a:pt x="132" y="45"/>
                    </a:lnTo>
                    <a:lnTo>
                      <a:pt x="107" y="45"/>
                    </a:lnTo>
                    <a:lnTo>
                      <a:pt x="107" y="6"/>
                    </a:lnTo>
                    <a:lnTo>
                      <a:pt x="101" y="0"/>
                    </a:lnTo>
                    <a:lnTo>
                      <a:pt x="67" y="34"/>
                    </a:lnTo>
                    <a:lnTo>
                      <a:pt x="67" y="34"/>
                    </a:lnTo>
                    <a:close/>
                  </a:path>
                </a:pathLst>
              </a:custGeom>
              <a:grp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5" name="Freeform 228">
                <a:extLst>
                  <a:ext uri="{FF2B5EF4-FFF2-40B4-BE49-F238E27FC236}">
                    <a16:creationId xmlns:a16="http://schemas.microsoft.com/office/drawing/2014/main" id="{C171F42F-9416-44AC-8322-A1E42505B296}"/>
                  </a:ext>
                </a:extLst>
              </p:cNvPr>
              <p:cNvSpPr>
                <a:spLocks/>
              </p:cNvSpPr>
              <p:nvPr/>
            </p:nvSpPr>
            <p:spPr bwMode="auto">
              <a:xfrm>
                <a:off x="4229101" y="2287588"/>
                <a:ext cx="92075" cy="147638"/>
              </a:xfrm>
              <a:custGeom>
                <a:avLst/>
                <a:gdLst>
                  <a:gd name="T0" fmla="*/ 0 w 116"/>
                  <a:gd name="T1" fmla="*/ 68 h 185"/>
                  <a:gd name="T2" fmla="*/ 13 w 116"/>
                  <a:gd name="T3" fmla="*/ 82 h 185"/>
                  <a:gd name="T4" fmla="*/ 4 w 116"/>
                  <a:gd name="T5" fmla="*/ 93 h 185"/>
                  <a:gd name="T6" fmla="*/ 11 w 116"/>
                  <a:gd name="T7" fmla="*/ 100 h 185"/>
                  <a:gd name="T8" fmla="*/ 23 w 116"/>
                  <a:gd name="T9" fmla="*/ 100 h 185"/>
                  <a:gd name="T10" fmla="*/ 13 w 116"/>
                  <a:gd name="T11" fmla="*/ 110 h 185"/>
                  <a:gd name="T12" fmla="*/ 13 w 116"/>
                  <a:gd name="T13" fmla="*/ 153 h 185"/>
                  <a:gd name="T14" fmla="*/ 20 w 116"/>
                  <a:gd name="T15" fmla="*/ 148 h 185"/>
                  <a:gd name="T16" fmla="*/ 20 w 116"/>
                  <a:gd name="T17" fmla="*/ 135 h 185"/>
                  <a:gd name="T18" fmla="*/ 31 w 116"/>
                  <a:gd name="T19" fmla="*/ 123 h 185"/>
                  <a:gd name="T20" fmla="*/ 36 w 116"/>
                  <a:gd name="T21" fmla="*/ 128 h 185"/>
                  <a:gd name="T22" fmla="*/ 36 w 116"/>
                  <a:gd name="T23" fmla="*/ 173 h 185"/>
                  <a:gd name="T24" fmla="*/ 48 w 116"/>
                  <a:gd name="T25" fmla="*/ 185 h 185"/>
                  <a:gd name="T26" fmla="*/ 48 w 116"/>
                  <a:gd name="T27" fmla="*/ 176 h 185"/>
                  <a:gd name="T28" fmla="*/ 82 w 116"/>
                  <a:gd name="T29" fmla="*/ 176 h 185"/>
                  <a:gd name="T30" fmla="*/ 116 w 116"/>
                  <a:gd name="T31" fmla="*/ 142 h 185"/>
                  <a:gd name="T32" fmla="*/ 98 w 116"/>
                  <a:gd name="T33" fmla="*/ 125 h 185"/>
                  <a:gd name="T34" fmla="*/ 81 w 116"/>
                  <a:gd name="T35" fmla="*/ 125 h 185"/>
                  <a:gd name="T36" fmla="*/ 81 w 116"/>
                  <a:gd name="T37" fmla="*/ 98 h 185"/>
                  <a:gd name="T38" fmla="*/ 113 w 116"/>
                  <a:gd name="T39" fmla="*/ 66 h 185"/>
                  <a:gd name="T40" fmla="*/ 113 w 116"/>
                  <a:gd name="T41" fmla="*/ 48 h 185"/>
                  <a:gd name="T42" fmla="*/ 54 w 116"/>
                  <a:gd name="T43" fmla="*/ 48 h 185"/>
                  <a:gd name="T44" fmla="*/ 54 w 116"/>
                  <a:gd name="T45" fmla="*/ 34 h 185"/>
                  <a:gd name="T46" fmla="*/ 77 w 116"/>
                  <a:gd name="T47" fmla="*/ 11 h 185"/>
                  <a:gd name="T48" fmla="*/ 77 w 116"/>
                  <a:gd name="T49" fmla="*/ 0 h 185"/>
                  <a:gd name="T50" fmla="*/ 36 w 116"/>
                  <a:gd name="T51" fmla="*/ 0 h 185"/>
                  <a:gd name="T52" fmla="*/ 32 w 116"/>
                  <a:gd name="T53" fmla="*/ 11 h 185"/>
                  <a:gd name="T54" fmla="*/ 27 w 116"/>
                  <a:gd name="T55" fmla="*/ 18 h 185"/>
                  <a:gd name="T56" fmla="*/ 27 w 116"/>
                  <a:gd name="T57" fmla="*/ 34 h 185"/>
                  <a:gd name="T58" fmla="*/ 16 w 116"/>
                  <a:gd name="T59" fmla="*/ 43 h 185"/>
                  <a:gd name="T60" fmla="*/ 16 w 116"/>
                  <a:gd name="T61" fmla="*/ 60 h 185"/>
                  <a:gd name="T62" fmla="*/ 11 w 116"/>
                  <a:gd name="T63" fmla="*/ 64 h 185"/>
                  <a:gd name="T64" fmla="*/ 0 w 116"/>
                  <a:gd name="T65" fmla="*/ 53 h 185"/>
                  <a:gd name="T66" fmla="*/ 0 w 116"/>
                  <a:gd name="T67" fmla="*/ 6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85">
                    <a:moveTo>
                      <a:pt x="0" y="68"/>
                    </a:moveTo>
                    <a:lnTo>
                      <a:pt x="13" y="82"/>
                    </a:lnTo>
                    <a:lnTo>
                      <a:pt x="4" y="93"/>
                    </a:lnTo>
                    <a:lnTo>
                      <a:pt x="11" y="100"/>
                    </a:lnTo>
                    <a:lnTo>
                      <a:pt x="23" y="100"/>
                    </a:lnTo>
                    <a:lnTo>
                      <a:pt x="13" y="110"/>
                    </a:lnTo>
                    <a:lnTo>
                      <a:pt x="13" y="153"/>
                    </a:lnTo>
                    <a:lnTo>
                      <a:pt x="20" y="148"/>
                    </a:lnTo>
                    <a:lnTo>
                      <a:pt x="20" y="135"/>
                    </a:lnTo>
                    <a:lnTo>
                      <a:pt x="31" y="123"/>
                    </a:lnTo>
                    <a:lnTo>
                      <a:pt x="36" y="128"/>
                    </a:lnTo>
                    <a:lnTo>
                      <a:pt x="36" y="173"/>
                    </a:lnTo>
                    <a:lnTo>
                      <a:pt x="48" y="185"/>
                    </a:lnTo>
                    <a:lnTo>
                      <a:pt x="48" y="176"/>
                    </a:lnTo>
                    <a:lnTo>
                      <a:pt x="82" y="176"/>
                    </a:lnTo>
                    <a:lnTo>
                      <a:pt x="116" y="142"/>
                    </a:lnTo>
                    <a:lnTo>
                      <a:pt x="98" y="125"/>
                    </a:lnTo>
                    <a:lnTo>
                      <a:pt x="81" y="125"/>
                    </a:lnTo>
                    <a:lnTo>
                      <a:pt x="81" y="98"/>
                    </a:lnTo>
                    <a:lnTo>
                      <a:pt x="113" y="66"/>
                    </a:lnTo>
                    <a:lnTo>
                      <a:pt x="113" y="48"/>
                    </a:lnTo>
                    <a:lnTo>
                      <a:pt x="54" y="48"/>
                    </a:lnTo>
                    <a:lnTo>
                      <a:pt x="54" y="34"/>
                    </a:lnTo>
                    <a:lnTo>
                      <a:pt x="77" y="11"/>
                    </a:lnTo>
                    <a:lnTo>
                      <a:pt x="77" y="0"/>
                    </a:lnTo>
                    <a:lnTo>
                      <a:pt x="36" y="0"/>
                    </a:lnTo>
                    <a:lnTo>
                      <a:pt x="32" y="11"/>
                    </a:lnTo>
                    <a:lnTo>
                      <a:pt x="27" y="18"/>
                    </a:lnTo>
                    <a:lnTo>
                      <a:pt x="27" y="34"/>
                    </a:lnTo>
                    <a:lnTo>
                      <a:pt x="16" y="43"/>
                    </a:lnTo>
                    <a:lnTo>
                      <a:pt x="16" y="60"/>
                    </a:lnTo>
                    <a:lnTo>
                      <a:pt x="11" y="64"/>
                    </a:lnTo>
                    <a:lnTo>
                      <a:pt x="0" y="53"/>
                    </a:lnTo>
                    <a:lnTo>
                      <a:pt x="0" y="68"/>
                    </a:lnTo>
                    <a:close/>
                  </a:path>
                </a:pathLst>
              </a:custGeom>
              <a:grp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6" name="Freeform 229">
                <a:extLst>
                  <a:ext uri="{FF2B5EF4-FFF2-40B4-BE49-F238E27FC236}">
                    <a16:creationId xmlns:a16="http://schemas.microsoft.com/office/drawing/2014/main" id="{AB2016EA-6084-43BC-85F1-52E5C3E0B19B}"/>
                  </a:ext>
                </a:extLst>
              </p:cNvPr>
              <p:cNvSpPr>
                <a:spLocks/>
              </p:cNvSpPr>
              <p:nvPr/>
            </p:nvSpPr>
            <p:spPr bwMode="auto">
              <a:xfrm>
                <a:off x="4213226" y="2289175"/>
                <a:ext cx="15875" cy="26988"/>
              </a:xfrm>
              <a:custGeom>
                <a:avLst/>
                <a:gdLst>
                  <a:gd name="T0" fmla="*/ 9 w 19"/>
                  <a:gd name="T1" fmla="*/ 14 h 33"/>
                  <a:gd name="T2" fmla="*/ 19 w 19"/>
                  <a:gd name="T3" fmla="*/ 14 h 33"/>
                  <a:gd name="T4" fmla="*/ 19 w 19"/>
                  <a:gd name="T5" fmla="*/ 0 h 33"/>
                  <a:gd name="T6" fmla="*/ 3 w 19"/>
                  <a:gd name="T7" fmla="*/ 0 h 33"/>
                  <a:gd name="T8" fmla="*/ 3 w 19"/>
                  <a:gd name="T9" fmla="*/ 14 h 33"/>
                  <a:gd name="T10" fmla="*/ 0 w 19"/>
                  <a:gd name="T11" fmla="*/ 17 h 33"/>
                  <a:gd name="T12" fmla="*/ 0 w 19"/>
                  <a:gd name="T13" fmla="*/ 33 h 33"/>
                  <a:gd name="T14" fmla="*/ 9 w 19"/>
                  <a:gd name="T15" fmla="*/ 23 h 33"/>
                  <a:gd name="T16" fmla="*/ 9 w 19"/>
                  <a:gd name="T1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3">
                    <a:moveTo>
                      <a:pt x="9" y="14"/>
                    </a:moveTo>
                    <a:lnTo>
                      <a:pt x="19" y="14"/>
                    </a:lnTo>
                    <a:lnTo>
                      <a:pt x="19" y="0"/>
                    </a:lnTo>
                    <a:lnTo>
                      <a:pt x="3" y="0"/>
                    </a:lnTo>
                    <a:lnTo>
                      <a:pt x="3" y="14"/>
                    </a:lnTo>
                    <a:lnTo>
                      <a:pt x="0" y="17"/>
                    </a:lnTo>
                    <a:lnTo>
                      <a:pt x="0" y="33"/>
                    </a:lnTo>
                    <a:lnTo>
                      <a:pt x="9" y="23"/>
                    </a:lnTo>
                    <a:lnTo>
                      <a:pt x="9" y="14"/>
                    </a:lnTo>
                    <a:close/>
                  </a:path>
                </a:pathLst>
              </a:custGeom>
              <a:grp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 name="Freeform 230">
              <a:extLst>
                <a:ext uri="{FF2B5EF4-FFF2-40B4-BE49-F238E27FC236}">
                  <a16:creationId xmlns:a16="http://schemas.microsoft.com/office/drawing/2014/main" id="{3324D2DF-15EA-432A-89BA-945804DAB864}"/>
                </a:ext>
              </a:extLst>
            </p:cNvPr>
            <p:cNvSpPr>
              <a:spLocks/>
            </p:cNvSpPr>
            <p:nvPr/>
          </p:nvSpPr>
          <p:spPr bwMode="auto">
            <a:xfrm>
              <a:off x="5988051" y="3581400"/>
              <a:ext cx="53975" cy="85725"/>
            </a:xfrm>
            <a:custGeom>
              <a:avLst/>
              <a:gdLst>
                <a:gd name="T0" fmla="*/ 0 w 68"/>
                <a:gd name="T1" fmla="*/ 68 h 107"/>
                <a:gd name="T2" fmla="*/ 39 w 68"/>
                <a:gd name="T3" fmla="*/ 107 h 107"/>
                <a:gd name="T4" fmla="*/ 68 w 68"/>
                <a:gd name="T5" fmla="*/ 78 h 107"/>
                <a:gd name="T6" fmla="*/ 68 w 68"/>
                <a:gd name="T7" fmla="*/ 36 h 107"/>
                <a:gd name="T8" fmla="*/ 32 w 68"/>
                <a:gd name="T9" fmla="*/ 0 h 107"/>
                <a:gd name="T10" fmla="*/ 0 w 68"/>
                <a:gd name="T11" fmla="*/ 68 h 107"/>
              </a:gdLst>
              <a:ahLst/>
              <a:cxnLst>
                <a:cxn ang="0">
                  <a:pos x="T0" y="T1"/>
                </a:cxn>
                <a:cxn ang="0">
                  <a:pos x="T2" y="T3"/>
                </a:cxn>
                <a:cxn ang="0">
                  <a:pos x="T4" y="T5"/>
                </a:cxn>
                <a:cxn ang="0">
                  <a:pos x="T6" y="T7"/>
                </a:cxn>
                <a:cxn ang="0">
                  <a:pos x="T8" y="T9"/>
                </a:cxn>
                <a:cxn ang="0">
                  <a:pos x="T10" y="T11"/>
                </a:cxn>
              </a:cxnLst>
              <a:rect l="0" t="0" r="r" b="b"/>
              <a:pathLst>
                <a:path w="68" h="107">
                  <a:moveTo>
                    <a:pt x="0" y="68"/>
                  </a:moveTo>
                  <a:lnTo>
                    <a:pt x="39" y="107"/>
                  </a:lnTo>
                  <a:lnTo>
                    <a:pt x="68" y="78"/>
                  </a:lnTo>
                  <a:lnTo>
                    <a:pt x="68" y="36"/>
                  </a:lnTo>
                  <a:lnTo>
                    <a:pt x="32" y="0"/>
                  </a:lnTo>
                  <a:lnTo>
                    <a:pt x="0" y="6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Freeform 231">
              <a:extLst>
                <a:ext uri="{FF2B5EF4-FFF2-40B4-BE49-F238E27FC236}">
                  <a16:creationId xmlns:a16="http://schemas.microsoft.com/office/drawing/2014/main" id="{3BCF1AA7-0A21-4FD4-A415-7ED84FA447CA}"/>
                </a:ext>
              </a:extLst>
            </p:cNvPr>
            <p:cNvSpPr>
              <a:spLocks/>
            </p:cNvSpPr>
            <p:nvPr/>
          </p:nvSpPr>
          <p:spPr bwMode="auto">
            <a:xfrm>
              <a:off x="4525963" y="2849563"/>
              <a:ext cx="28575" cy="63500"/>
            </a:xfrm>
            <a:custGeom>
              <a:avLst/>
              <a:gdLst>
                <a:gd name="T0" fmla="*/ 0 w 37"/>
                <a:gd name="T1" fmla="*/ 61 h 81"/>
                <a:gd name="T2" fmla="*/ 21 w 37"/>
                <a:gd name="T3" fmla="*/ 81 h 81"/>
                <a:gd name="T4" fmla="*/ 37 w 37"/>
                <a:gd name="T5" fmla="*/ 65 h 81"/>
                <a:gd name="T6" fmla="*/ 37 w 37"/>
                <a:gd name="T7" fmla="*/ 17 h 81"/>
                <a:gd name="T8" fmla="*/ 21 w 37"/>
                <a:gd name="T9" fmla="*/ 0 h 81"/>
                <a:gd name="T10" fmla="*/ 0 w 37"/>
                <a:gd name="T11" fmla="*/ 11 h 81"/>
                <a:gd name="T12" fmla="*/ 0 w 37"/>
                <a:gd name="T13" fmla="*/ 61 h 81"/>
              </a:gdLst>
              <a:ahLst/>
              <a:cxnLst>
                <a:cxn ang="0">
                  <a:pos x="T0" y="T1"/>
                </a:cxn>
                <a:cxn ang="0">
                  <a:pos x="T2" y="T3"/>
                </a:cxn>
                <a:cxn ang="0">
                  <a:pos x="T4" y="T5"/>
                </a:cxn>
                <a:cxn ang="0">
                  <a:pos x="T6" y="T7"/>
                </a:cxn>
                <a:cxn ang="0">
                  <a:pos x="T8" y="T9"/>
                </a:cxn>
                <a:cxn ang="0">
                  <a:pos x="T10" y="T11"/>
                </a:cxn>
                <a:cxn ang="0">
                  <a:pos x="T12" y="T13"/>
                </a:cxn>
              </a:cxnLst>
              <a:rect l="0" t="0" r="r" b="b"/>
              <a:pathLst>
                <a:path w="37" h="81">
                  <a:moveTo>
                    <a:pt x="0" y="61"/>
                  </a:moveTo>
                  <a:lnTo>
                    <a:pt x="21" y="81"/>
                  </a:lnTo>
                  <a:lnTo>
                    <a:pt x="37" y="65"/>
                  </a:lnTo>
                  <a:lnTo>
                    <a:pt x="37" y="17"/>
                  </a:lnTo>
                  <a:lnTo>
                    <a:pt x="21" y="0"/>
                  </a:lnTo>
                  <a:lnTo>
                    <a:pt x="0" y="11"/>
                  </a:lnTo>
                  <a:lnTo>
                    <a:pt x="0" y="6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Freeform 232">
              <a:extLst>
                <a:ext uri="{FF2B5EF4-FFF2-40B4-BE49-F238E27FC236}">
                  <a16:creationId xmlns:a16="http://schemas.microsoft.com/office/drawing/2014/main" id="{0C7E46BF-0877-4089-AE96-0415B134F33E}"/>
                </a:ext>
              </a:extLst>
            </p:cNvPr>
            <p:cNvSpPr>
              <a:spLocks/>
            </p:cNvSpPr>
            <p:nvPr/>
          </p:nvSpPr>
          <p:spPr bwMode="auto">
            <a:xfrm>
              <a:off x="4613276" y="2924175"/>
              <a:ext cx="63500" cy="41275"/>
            </a:xfrm>
            <a:custGeom>
              <a:avLst/>
              <a:gdLst>
                <a:gd name="T0" fmla="*/ 51 w 80"/>
                <a:gd name="T1" fmla="*/ 52 h 52"/>
                <a:gd name="T2" fmla="*/ 67 w 80"/>
                <a:gd name="T3" fmla="*/ 52 h 52"/>
                <a:gd name="T4" fmla="*/ 67 w 80"/>
                <a:gd name="T5" fmla="*/ 27 h 52"/>
                <a:gd name="T6" fmla="*/ 80 w 80"/>
                <a:gd name="T7" fmla="*/ 14 h 52"/>
                <a:gd name="T8" fmla="*/ 32 w 80"/>
                <a:gd name="T9" fmla="*/ 14 h 52"/>
                <a:gd name="T10" fmla="*/ 12 w 80"/>
                <a:gd name="T11" fmla="*/ 0 h 52"/>
                <a:gd name="T12" fmla="*/ 0 w 80"/>
                <a:gd name="T13" fmla="*/ 12 h 52"/>
                <a:gd name="T14" fmla="*/ 19 w 80"/>
                <a:gd name="T15" fmla="*/ 34 h 52"/>
                <a:gd name="T16" fmla="*/ 33 w 80"/>
                <a:gd name="T17" fmla="*/ 34 h 52"/>
                <a:gd name="T18" fmla="*/ 51 w 80"/>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2">
                  <a:moveTo>
                    <a:pt x="51" y="52"/>
                  </a:moveTo>
                  <a:lnTo>
                    <a:pt x="67" y="52"/>
                  </a:lnTo>
                  <a:lnTo>
                    <a:pt x="67" y="27"/>
                  </a:lnTo>
                  <a:lnTo>
                    <a:pt x="80" y="14"/>
                  </a:lnTo>
                  <a:lnTo>
                    <a:pt x="32" y="14"/>
                  </a:lnTo>
                  <a:lnTo>
                    <a:pt x="12" y="0"/>
                  </a:lnTo>
                  <a:lnTo>
                    <a:pt x="0" y="12"/>
                  </a:lnTo>
                  <a:lnTo>
                    <a:pt x="19" y="34"/>
                  </a:lnTo>
                  <a:lnTo>
                    <a:pt x="33" y="34"/>
                  </a:lnTo>
                  <a:lnTo>
                    <a:pt x="51" y="5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233">
              <a:extLst>
                <a:ext uri="{FF2B5EF4-FFF2-40B4-BE49-F238E27FC236}">
                  <a16:creationId xmlns:a16="http://schemas.microsoft.com/office/drawing/2014/main" id="{7D45EFF3-4F95-49DB-BBAD-1AD0567B9D8B}"/>
                </a:ext>
              </a:extLst>
            </p:cNvPr>
            <p:cNvSpPr>
              <a:spLocks/>
            </p:cNvSpPr>
            <p:nvPr/>
          </p:nvSpPr>
          <p:spPr bwMode="auto">
            <a:xfrm>
              <a:off x="4535488" y="2801938"/>
              <a:ext cx="15875" cy="36513"/>
            </a:xfrm>
            <a:custGeom>
              <a:avLst/>
              <a:gdLst>
                <a:gd name="T0" fmla="*/ 20 w 20"/>
                <a:gd name="T1" fmla="*/ 7 h 46"/>
                <a:gd name="T2" fmla="*/ 15 w 20"/>
                <a:gd name="T3" fmla="*/ 0 h 46"/>
                <a:gd name="T4" fmla="*/ 0 w 20"/>
                <a:gd name="T5" fmla="*/ 14 h 46"/>
                <a:gd name="T6" fmla="*/ 8 w 20"/>
                <a:gd name="T7" fmla="*/ 46 h 46"/>
                <a:gd name="T8" fmla="*/ 20 w 20"/>
                <a:gd name="T9" fmla="*/ 34 h 46"/>
                <a:gd name="T10" fmla="*/ 20 w 20"/>
                <a:gd name="T11" fmla="*/ 7 h 46"/>
              </a:gdLst>
              <a:ahLst/>
              <a:cxnLst>
                <a:cxn ang="0">
                  <a:pos x="T0" y="T1"/>
                </a:cxn>
                <a:cxn ang="0">
                  <a:pos x="T2" y="T3"/>
                </a:cxn>
                <a:cxn ang="0">
                  <a:pos x="T4" y="T5"/>
                </a:cxn>
                <a:cxn ang="0">
                  <a:pos x="T6" y="T7"/>
                </a:cxn>
                <a:cxn ang="0">
                  <a:pos x="T8" y="T9"/>
                </a:cxn>
                <a:cxn ang="0">
                  <a:pos x="T10" y="T11"/>
                </a:cxn>
              </a:cxnLst>
              <a:rect l="0" t="0" r="r" b="b"/>
              <a:pathLst>
                <a:path w="20" h="46">
                  <a:moveTo>
                    <a:pt x="20" y="7"/>
                  </a:moveTo>
                  <a:lnTo>
                    <a:pt x="15" y="0"/>
                  </a:lnTo>
                  <a:lnTo>
                    <a:pt x="0" y="14"/>
                  </a:lnTo>
                  <a:lnTo>
                    <a:pt x="8" y="46"/>
                  </a:lnTo>
                  <a:lnTo>
                    <a:pt x="20" y="34"/>
                  </a:lnTo>
                  <a:lnTo>
                    <a:pt x="20" y="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234">
              <a:extLst>
                <a:ext uri="{FF2B5EF4-FFF2-40B4-BE49-F238E27FC236}">
                  <a16:creationId xmlns:a16="http://schemas.microsoft.com/office/drawing/2014/main" id="{B203B680-447E-4B5D-8E53-BE31F6328361}"/>
                </a:ext>
              </a:extLst>
            </p:cNvPr>
            <p:cNvSpPr>
              <a:spLocks/>
            </p:cNvSpPr>
            <p:nvPr/>
          </p:nvSpPr>
          <p:spPr bwMode="auto">
            <a:xfrm>
              <a:off x="4786313" y="2924175"/>
              <a:ext cx="49213" cy="55563"/>
            </a:xfrm>
            <a:custGeom>
              <a:avLst/>
              <a:gdLst>
                <a:gd name="T0" fmla="*/ 25 w 61"/>
                <a:gd name="T1" fmla="*/ 0 h 71"/>
                <a:gd name="T2" fmla="*/ 7 w 61"/>
                <a:gd name="T3" fmla="*/ 18 h 71"/>
                <a:gd name="T4" fmla="*/ 0 w 61"/>
                <a:gd name="T5" fmla="*/ 27 h 71"/>
                <a:gd name="T6" fmla="*/ 14 w 61"/>
                <a:gd name="T7" fmla="*/ 41 h 71"/>
                <a:gd name="T8" fmla="*/ 14 w 61"/>
                <a:gd name="T9" fmla="*/ 57 h 71"/>
                <a:gd name="T10" fmla="*/ 28 w 61"/>
                <a:gd name="T11" fmla="*/ 71 h 71"/>
                <a:gd name="T12" fmla="*/ 37 w 61"/>
                <a:gd name="T13" fmla="*/ 61 h 71"/>
                <a:gd name="T14" fmla="*/ 50 w 61"/>
                <a:gd name="T15" fmla="*/ 71 h 71"/>
                <a:gd name="T16" fmla="*/ 61 w 61"/>
                <a:gd name="T17" fmla="*/ 61 h 71"/>
                <a:gd name="T18" fmla="*/ 48 w 61"/>
                <a:gd name="T19" fmla="*/ 48 h 71"/>
                <a:gd name="T20" fmla="*/ 61 w 61"/>
                <a:gd name="T21" fmla="*/ 36 h 71"/>
                <a:gd name="T22" fmla="*/ 25 w 61"/>
                <a:gd name="T2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71">
                  <a:moveTo>
                    <a:pt x="25" y="0"/>
                  </a:moveTo>
                  <a:lnTo>
                    <a:pt x="7" y="18"/>
                  </a:lnTo>
                  <a:lnTo>
                    <a:pt x="0" y="27"/>
                  </a:lnTo>
                  <a:lnTo>
                    <a:pt x="14" y="41"/>
                  </a:lnTo>
                  <a:lnTo>
                    <a:pt x="14" y="57"/>
                  </a:lnTo>
                  <a:lnTo>
                    <a:pt x="28" y="71"/>
                  </a:lnTo>
                  <a:lnTo>
                    <a:pt x="37" y="61"/>
                  </a:lnTo>
                  <a:lnTo>
                    <a:pt x="50" y="71"/>
                  </a:lnTo>
                  <a:lnTo>
                    <a:pt x="61" y="61"/>
                  </a:lnTo>
                  <a:lnTo>
                    <a:pt x="48" y="48"/>
                  </a:lnTo>
                  <a:lnTo>
                    <a:pt x="61" y="36"/>
                  </a:lnTo>
                  <a:lnTo>
                    <a:pt x="25"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235">
              <a:extLst>
                <a:ext uri="{FF2B5EF4-FFF2-40B4-BE49-F238E27FC236}">
                  <a16:creationId xmlns:a16="http://schemas.microsoft.com/office/drawing/2014/main" id="{15B1BBF6-68B3-4E00-8E8B-0C81C06F7A8F}"/>
                </a:ext>
              </a:extLst>
            </p:cNvPr>
            <p:cNvSpPr>
              <a:spLocks/>
            </p:cNvSpPr>
            <p:nvPr/>
          </p:nvSpPr>
          <p:spPr bwMode="auto">
            <a:xfrm>
              <a:off x="5029201" y="3003550"/>
              <a:ext cx="41275" cy="17463"/>
            </a:xfrm>
            <a:custGeom>
              <a:avLst/>
              <a:gdLst>
                <a:gd name="T0" fmla="*/ 52 w 52"/>
                <a:gd name="T1" fmla="*/ 0 h 23"/>
                <a:gd name="T2" fmla="*/ 5 w 52"/>
                <a:gd name="T3" fmla="*/ 0 h 23"/>
                <a:gd name="T4" fmla="*/ 0 w 52"/>
                <a:gd name="T5" fmla="*/ 12 h 23"/>
                <a:gd name="T6" fmla="*/ 11 w 52"/>
                <a:gd name="T7" fmla="*/ 23 h 23"/>
                <a:gd name="T8" fmla="*/ 28 w 52"/>
                <a:gd name="T9" fmla="*/ 23 h 23"/>
                <a:gd name="T10" fmla="*/ 52 w 52"/>
                <a:gd name="T11" fmla="*/ 0 h 23"/>
              </a:gdLst>
              <a:ahLst/>
              <a:cxnLst>
                <a:cxn ang="0">
                  <a:pos x="T0" y="T1"/>
                </a:cxn>
                <a:cxn ang="0">
                  <a:pos x="T2" y="T3"/>
                </a:cxn>
                <a:cxn ang="0">
                  <a:pos x="T4" y="T5"/>
                </a:cxn>
                <a:cxn ang="0">
                  <a:pos x="T6" y="T7"/>
                </a:cxn>
                <a:cxn ang="0">
                  <a:pos x="T8" y="T9"/>
                </a:cxn>
                <a:cxn ang="0">
                  <a:pos x="T10" y="T11"/>
                </a:cxn>
              </a:cxnLst>
              <a:rect l="0" t="0" r="r" b="b"/>
              <a:pathLst>
                <a:path w="52" h="23">
                  <a:moveTo>
                    <a:pt x="52" y="0"/>
                  </a:moveTo>
                  <a:lnTo>
                    <a:pt x="5" y="0"/>
                  </a:lnTo>
                  <a:lnTo>
                    <a:pt x="0" y="12"/>
                  </a:lnTo>
                  <a:lnTo>
                    <a:pt x="11" y="23"/>
                  </a:lnTo>
                  <a:lnTo>
                    <a:pt x="28" y="23"/>
                  </a:lnTo>
                  <a:lnTo>
                    <a:pt x="52"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236">
              <a:extLst>
                <a:ext uri="{FF2B5EF4-FFF2-40B4-BE49-F238E27FC236}">
                  <a16:creationId xmlns:a16="http://schemas.microsoft.com/office/drawing/2014/main" id="{DF91282C-8066-4997-B5E9-2F5ED2A84B5E}"/>
                </a:ext>
              </a:extLst>
            </p:cNvPr>
            <p:cNvSpPr>
              <a:spLocks/>
            </p:cNvSpPr>
            <p:nvPr/>
          </p:nvSpPr>
          <p:spPr bwMode="auto">
            <a:xfrm>
              <a:off x="4414838" y="2468563"/>
              <a:ext cx="92075" cy="98425"/>
            </a:xfrm>
            <a:custGeom>
              <a:avLst/>
              <a:gdLst>
                <a:gd name="T0" fmla="*/ 27 w 116"/>
                <a:gd name="T1" fmla="*/ 105 h 123"/>
                <a:gd name="T2" fmla="*/ 59 w 116"/>
                <a:gd name="T3" fmla="*/ 105 h 123"/>
                <a:gd name="T4" fmla="*/ 59 w 116"/>
                <a:gd name="T5" fmla="*/ 123 h 123"/>
                <a:gd name="T6" fmla="*/ 73 w 116"/>
                <a:gd name="T7" fmla="*/ 123 h 123"/>
                <a:gd name="T8" fmla="*/ 73 w 116"/>
                <a:gd name="T9" fmla="*/ 105 h 123"/>
                <a:gd name="T10" fmla="*/ 91 w 116"/>
                <a:gd name="T11" fmla="*/ 105 h 123"/>
                <a:gd name="T12" fmla="*/ 91 w 116"/>
                <a:gd name="T13" fmla="*/ 84 h 123"/>
                <a:gd name="T14" fmla="*/ 102 w 116"/>
                <a:gd name="T15" fmla="*/ 75 h 123"/>
                <a:gd name="T16" fmla="*/ 102 w 116"/>
                <a:gd name="T17" fmla="*/ 53 h 123"/>
                <a:gd name="T18" fmla="*/ 116 w 116"/>
                <a:gd name="T19" fmla="*/ 39 h 123"/>
                <a:gd name="T20" fmla="*/ 116 w 116"/>
                <a:gd name="T21" fmla="*/ 0 h 123"/>
                <a:gd name="T22" fmla="*/ 110 w 116"/>
                <a:gd name="T23" fmla="*/ 0 h 123"/>
                <a:gd name="T24" fmla="*/ 100 w 116"/>
                <a:gd name="T25" fmla="*/ 9 h 123"/>
                <a:gd name="T26" fmla="*/ 64 w 116"/>
                <a:gd name="T27" fmla="*/ 9 h 123"/>
                <a:gd name="T28" fmla="*/ 64 w 116"/>
                <a:gd name="T29" fmla="*/ 55 h 123"/>
                <a:gd name="T30" fmla="*/ 53 w 116"/>
                <a:gd name="T31" fmla="*/ 55 h 123"/>
                <a:gd name="T32" fmla="*/ 53 w 116"/>
                <a:gd name="T33" fmla="*/ 34 h 123"/>
                <a:gd name="T34" fmla="*/ 39 w 116"/>
                <a:gd name="T35" fmla="*/ 34 h 123"/>
                <a:gd name="T36" fmla="*/ 39 w 116"/>
                <a:gd name="T37" fmla="*/ 64 h 123"/>
                <a:gd name="T38" fmla="*/ 0 w 116"/>
                <a:gd name="T39" fmla="*/ 105 h 123"/>
                <a:gd name="T40" fmla="*/ 14 w 116"/>
                <a:gd name="T41" fmla="*/ 105 h 123"/>
                <a:gd name="T42" fmla="*/ 27 w 116"/>
                <a:gd name="T43" fmla="*/ 10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6" h="123">
                  <a:moveTo>
                    <a:pt x="27" y="105"/>
                  </a:moveTo>
                  <a:lnTo>
                    <a:pt x="59" y="105"/>
                  </a:lnTo>
                  <a:lnTo>
                    <a:pt x="59" y="123"/>
                  </a:lnTo>
                  <a:lnTo>
                    <a:pt x="73" y="123"/>
                  </a:lnTo>
                  <a:lnTo>
                    <a:pt x="73" y="105"/>
                  </a:lnTo>
                  <a:lnTo>
                    <a:pt x="91" y="105"/>
                  </a:lnTo>
                  <a:lnTo>
                    <a:pt x="91" y="84"/>
                  </a:lnTo>
                  <a:lnTo>
                    <a:pt x="102" y="75"/>
                  </a:lnTo>
                  <a:lnTo>
                    <a:pt x="102" y="53"/>
                  </a:lnTo>
                  <a:lnTo>
                    <a:pt x="116" y="39"/>
                  </a:lnTo>
                  <a:lnTo>
                    <a:pt x="116" y="0"/>
                  </a:lnTo>
                  <a:lnTo>
                    <a:pt x="110" y="0"/>
                  </a:lnTo>
                  <a:lnTo>
                    <a:pt x="100" y="9"/>
                  </a:lnTo>
                  <a:lnTo>
                    <a:pt x="64" y="9"/>
                  </a:lnTo>
                  <a:lnTo>
                    <a:pt x="64" y="55"/>
                  </a:lnTo>
                  <a:lnTo>
                    <a:pt x="53" y="55"/>
                  </a:lnTo>
                  <a:lnTo>
                    <a:pt x="53" y="34"/>
                  </a:lnTo>
                  <a:lnTo>
                    <a:pt x="39" y="34"/>
                  </a:lnTo>
                  <a:lnTo>
                    <a:pt x="39" y="64"/>
                  </a:lnTo>
                  <a:lnTo>
                    <a:pt x="0" y="105"/>
                  </a:lnTo>
                  <a:lnTo>
                    <a:pt x="14" y="105"/>
                  </a:lnTo>
                  <a:lnTo>
                    <a:pt x="27" y="105"/>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237">
              <a:extLst>
                <a:ext uri="{FF2B5EF4-FFF2-40B4-BE49-F238E27FC236}">
                  <a16:creationId xmlns:a16="http://schemas.microsoft.com/office/drawing/2014/main" id="{54A3D19B-750A-4D1E-B0ED-8797598047AC}"/>
                </a:ext>
              </a:extLst>
            </p:cNvPr>
            <p:cNvSpPr>
              <a:spLocks/>
            </p:cNvSpPr>
            <p:nvPr/>
          </p:nvSpPr>
          <p:spPr bwMode="auto">
            <a:xfrm>
              <a:off x="4459288" y="1666875"/>
              <a:ext cx="538163" cy="636588"/>
            </a:xfrm>
            <a:custGeom>
              <a:avLst/>
              <a:gdLst>
                <a:gd name="T0" fmla="*/ 177 w 678"/>
                <a:gd name="T1" fmla="*/ 694 h 802"/>
                <a:gd name="T2" fmla="*/ 200 w 678"/>
                <a:gd name="T3" fmla="*/ 642 h 802"/>
                <a:gd name="T4" fmla="*/ 185 w 678"/>
                <a:gd name="T5" fmla="*/ 605 h 802"/>
                <a:gd name="T6" fmla="*/ 185 w 678"/>
                <a:gd name="T7" fmla="*/ 523 h 802"/>
                <a:gd name="T8" fmla="*/ 232 w 678"/>
                <a:gd name="T9" fmla="*/ 476 h 802"/>
                <a:gd name="T10" fmla="*/ 219 w 678"/>
                <a:gd name="T11" fmla="*/ 439 h 802"/>
                <a:gd name="T12" fmla="*/ 244 w 678"/>
                <a:gd name="T13" fmla="*/ 360 h 802"/>
                <a:gd name="T14" fmla="*/ 260 w 678"/>
                <a:gd name="T15" fmla="*/ 318 h 802"/>
                <a:gd name="T16" fmla="*/ 325 w 678"/>
                <a:gd name="T17" fmla="*/ 253 h 802"/>
                <a:gd name="T18" fmla="*/ 344 w 678"/>
                <a:gd name="T19" fmla="*/ 214 h 802"/>
                <a:gd name="T20" fmla="*/ 371 w 678"/>
                <a:gd name="T21" fmla="*/ 196 h 802"/>
                <a:gd name="T22" fmla="*/ 414 w 678"/>
                <a:gd name="T23" fmla="*/ 173 h 802"/>
                <a:gd name="T24" fmla="*/ 469 w 678"/>
                <a:gd name="T25" fmla="*/ 186 h 802"/>
                <a:gd name="T26" fmla="*/ 519 w 678"/>
                <a:gd name="T27" fmla="*/ 164 h 802"/>
                <a:gd name="T28" fmla="*/ 540 w 678"/>
                <a:gd name="T29" fmla="*/ 120 h 802"/>
                <a:gd name="T30" fmla="*/ 617 w 678"/>
                <a:gd name="T31" fmla="*/ 120 h 802"/>
                <a:gd name="T32" fmla="*/ 665 w 678"/>
                <a:gd name="T33" fmla="*/ 107 h 802"/>
                <a:gd name="T34" fmla="*/ 678 w 678"/>
                <a:gd name="T35" fmla="*/ 66 h 802"/>
                <a:gd name="T36" fmla="*/ 587 w 678"/>
                <a:gd name="T37" fmla="*/ 0 h 802"/>
                <a:gd name="T38" fmla="*/ 567 w 678"/>
                <a:gd name="T39" fmla="*/ 59 h 802"/>
                <a:gd name="T40" fmla="*/ 514 w 678"/>
                <a:gd name="T41" fmla="*/ 79 h 802"/>
                <a:gd name="T42" fmla="*/ 531 w 678"/>
                <a:gd name="T43" fmla="*/ 47 h 802"/>
                <a:gd name="T44" fmla="*/ 517 w 678"/>
                <a:gd name="T45" fmla="*/ 18 h 802"/>
                <a:gd name="T46" fmla="*/ 499 w 678"/>
                <a:gd name="T47" fmla="*/ 54 h 802"/>
                <a:gd name="T48" fmla="*/ 442 w 678"/>
                <a:gd name="T49" fmla="*/ 66 h 802"/>
                <a:gd name="T50" fmla="*/ 430 w 678"/>
                <a:gd name="T51" fmla="*/ 97 h 802"/>
                <a:gd name="T52" fmla="*/ 399 w 678"/>
                <a:gd name="T53" fmla="*/ 100 h 802"/>
                <a:gd name="T54" fmla="*/ 374 w 678"/>
                <a:gd name="T55" fmla="*/ 104 h 802"/>
                <a:gd name="T56" fmla="*/ 346 w 678"/>
                <a:gd name="T57" fmla="*/ 123 h 802"/>
                <a:gd name="T58" fmla="*/ 321 w 678"/>
                <a:gd name="T59" fmla="*/ 161 h 802"/>
                <a:gd name="T60" fmla="*/ 303 w 678"/>
                <a:gd name="T61" fmla="*/ 200 h 802"/>
                <a:gd name="T62" fmla="*/ 312 w 678"/>
                <a:gd name="T63" fmla="*/ 207 h 802"/>
                <a:gd name="T64" fmla="*/ 275 w 678"/>
                <a:gd name="T65" fmla="*/ 234 h 802"/>
                <a:gd name="T66" fmla="*/ 262 w 678"/>
                <a:gd name="T67" fmla="*/ 262 h 802"/>
                <a:gd name="T68" fmla="*/ 237 w 678"/>
                <a:gd name="T69" fmla="*/ 307 h 802"/>
                <a:gd name="T70" fmla="*/ 218 w 678"/>
                <a:gd name="T71" fmla="*/ 341 h 802"/>
                <a:gd name="T72" fmla="*/ 205 w 678"/>
                <a:gd name="T73" fmla="*/ 369 h 802"/>
                <a:gd name="T74" fmla="*/ 201 w 678"/>
                <a:gd name="T75" fmla="*/ 405 h 802"/>
                <a:gd name="T76" fmla="*/ 171 w 678"/>
                <a:gd name="T77" fmla="*/ 462 h 802"/>
                <a:gd name="T78" fmla="*/ 132 w 678"/>
                <a:gd name="T79" fmla="*/ 485 h 802"/>
                <a:gd name="T80" fmla="*/ 152 w 678"/>
                <a:gd name="T81" fmla="*/ 485 h 802"/>
                <a:gd name="T82" fmla="*/ 125 w 678"/>
                <a:gd name="T83" fmla="*/ 523 h 802"/>
                <a:gd name="T84" fmla="*/ 93 w 678"/>
                <a:gd name="T85" fmla="*/ 526 h 802"/>
                <a:gd name="T86" fmla="*/ 48 w 678"/>
                <a:gd name="T87" fmla="*/ 551 h 802"/>
                <a:gd name="T88" fmla="*/ 45 w 678"/>
                <a:gd name="T89" fmla="*/ 578 h 802"/>
                <a:gd name="T90" fmla="*/ 0 w 678"/>
                <a:gd name="T91" fmla="*/ 601 h 802"/>
                <a:gd name="T92" fmla="*/ 46 w 678"/>
                <a:gd name="T93" fmla="*/ 647 h 802"/>
                <a:gd name="T94" fmla="*/ 11 w 678"/>
                <a:gd name="T95" fmla="*/ 660 h 802"/>
                <a:gd name="T96" fmla="*/ 2 w 678"/>
                <a:gd name="T97" fmla="*/ 694 h 802"/>
                <a:gd name="T98" fmla="*/ 39 w 678"/>
                <a:gd name="T99" fmla="*/ 681 h 802"/>
                <a:gd name="T100" fmla="*/ 20 w 678"/>
                <a:gd name="T101" fmla="*/ 722 h 802"/>
                <a:gd name="T102" fmla="*/ 2 w 678"/>
                <a:gd name="T103" fmla="*/ 740 h 802"/>
                <a:gd name="T104" fmla="*/ 29 w 678"/>
                <a:gd name="T105" fmla="*/ 753 h 802"/>
                <a:gd name="T106" fmla="*/ 43 w 678"/>
                <a:gd name="T107" fmla="*/ 802 h 802"/>
                <a:gd name="T108" fmla="*/ 114 w 678"/>
                <a:gd name="T109" fmla="*/ 777 h 802"/>
                <a:gd name="T110" fmla="*/ 127 w 678"/>
                <a:gd name="T111" fmla="*/ 754 h 802"/>
                <a:gd name="T112" fmla="*/ 132 w 678"/>
                <a:gd name="T113" fmla="*/ 733 h 802"/>
                <a:gd name="T114" fmla="*/ 150 w 678"/>
                <a:gd name="T115" fmla="*/ 722 h 802"/>
                <a:gd name="T116" fmla="*/ 164 w 678"/>
                <a:gd name="T117" fmla="*/ 71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802">
                  <a:moveTo>
                    <a:pt x="177" y="713"/>
                  </a:moveTo>
                  <a:lnTo>
                    <a:pt x="177" y="694"/>
                  </a:lnTo>
                  <a:lnTo>
                    <a:pt x="177" y="665"/>
                  </a:lnTo>
                  <a:lnTo>
                    <a:pt x="200" y="642"/>
                  </a:lnTo>
                  <a:lnTo>
                    <a:pt x="200" y="619"/>
                  </a:lnTo>
                  <a:lnTo>
                    <a:pt x="185" y="605"/>
                  </a:lnTo>
                  <a:lnTo>
                    <a:pt x="185" y="549"/>
                  </a:lnTo>
                  <a:lnTo>
                    <a:pt x="185" y="523"/>
                  </a:lnTo>
                  <a:lnTo>
                    <a:pt x="218" y="492"/>
                  </a:lnTo>
                  <a:lnTo>
                    <a:pt x="232" y="476"/>
                  </a:lnTo>
                  <a:lnTo>
                    <a:pt x="232" y="450"/>
                  </a:lnTo>
                  <a:lnTo>
                    <a:pt x="219" y="439"/>
                  </a:lnTo>
                  <a:lnTo>
                    <a:pt x="244" y="414"/>
                  </a:lnTo>
                  <a:lnTo>
                    <a:pt x="244" y="360"/>
                  </a:lnTo>
                  <a:lnTo>
                    <a:pt x="260" y="344"/>
                  </a:lnTo>
                  <a:lnTo>
                    <a:pt x="260" y="318"/>
                  </a:lnTo>
                  <a:lnTo>
                    <a:pt x="298" y="280"/>
                  </a:lnTo>
                  <a:lnTo>
                    <a:pt x="325" y="253"/>
                  </a:lnTo>
                  <a:lnTo>
                    <a:pt x="325" y="234"/>
                  </a:lnTo>
                  <a:lnTo>
                    <a:pt x="344" y="214"/>
                  </a:lnTo>
                  <a:lnTo>
                    <a:pt x="344" y="196"/>
                  </a:lnTo>
                  <a:lnTo>
                    <a:pt x="371" y="196"/>
                  </a:lnTo>
                  <a:lnTo>
                    <a:pt x="392" y="173"/>
                  </a:lnTo>
                  <a:lnTo>
                    <a:pt x="414" y="173"/>
                  </a:lnTo>
                  <a:lnTo>
                    <a:pt x="435" y="152"/>
                  </a:lnTo>
                  <a:lnTo>
                    <a:pt x="469" y="186"/>
                  </a:lnTo>
                  <a:lnTo>
                    <a:pt x="492" y="164"/>
                  </a:lnTo>
                  <a:lnTo>
                    <a:pt x="519" y="164"/>
                  </a:lnTo>
                  <a:lnTo>
                    <a:pt x="540" y="145"/>
                  </a:lnTo>
                  <a:lnTo>
                    <a:pt x="540" y="120"/>
                  </a:lnTo>
                  <a:lnTo>
                    <a:pt x="585" y="120"/>
                  </a:lnTo>
                  <a:lnTo>
                    <a:pt x="617" y="120"/>
                  </a:lnTo>
                  <a:lnTo>
                    <a:pt x="617" y="155"/>
                  </a:lnTo>
                  <a:lnTo>
                    <a:pt x="665" y="107"/>
                  </a:lnTo>
                  <a:lnTo>
                    <a:pt x="626" y="66"/>
                  </a:lnTo>
                  <a:lnTo>
                    <a:pt x="678" y="66"/>
                  </a:lnTo>
                  <a:lnTo>
                    <a:pt x="624" y="13"/>
                  </a:lnTo>
                  <a:lnTo>
                    <a:pt x="587" y="0"/>
                  </a:lnTo>
                  <a:lnTo>
                    <a:pt x="580" y="15"/>
                  </a:lnTo>
                  <a:lnTo>
                    <a:pt x="567" y="59"/>
                  </a:lnTo>
                  <a:lnTo>
                    <a:pt x="567" y="25"/>
                  </a:lnTo>
                  <a:lnTo>
                    <a:pt x="514" y="79"/>
                  </a:lnTo>
                  <a:lnTo>
                    <a:pt x="506" y="72"/>
                  </a:lnTo>
                  <a:lnTo>
                    <a:pt x="531" y="47"/>
                  </a:lnTo>
                  <a:lnTo>
                    <a:pt x="531" y="31"/>
                  </a:lnTo>
                  <a:lnTo>
                    <a:pt x="517" y="18"/>
                  </a:lnTo>
                  <a:lnTo>
                    <a:pt x="499" y="36"/>
                  </a:lnTo>
                  <a:lnTo>
                    <a:pt x="499" y="54"/>
                  </a:lnTo>
                  <a:lnTo>
                    <a:pt x="464" y="88"/>
                  </a:lnTo>
                  <a:lnTo>
                    <a:pt x="442" y="66"/>
                  </a:lnTo>
                  <a:lnTo>
                    <a:pt x="442" y="109"/>
                  </a:lnTo>
                  <a:lnTo>
                    <a:pt x="430" y="97"/>
                  </a:lnTo>
                  <a:lnTo>
                    <a:pt x="399" y="125"/>
                  </a:lnTo>
                  <a:lnTo>
                    <a:pt x="399" y="100"/>
                  </a:lnTo>
                  <a:lnTo>
                    <a:pt x="374" y="125"/>
                  </a:lnTo>
                  <a:lnTo>
                    <a:pt x="374" y="104"/>
                  </a:lnTo>
                  <a:lnTo>
                    <a:pt x="357" y="123"/>
                  </a:lnTo>
                  <a:lnTo>
                    <a:pt x="346" y="123"/>
                  </a:lnTo>
                  <a:lnTo>
                    <a:pt x="346" y="136"/>
                  </a:lnTo>
                  <a:lnTo>
                    <a:pt x="321" y="161"/>
                  </a:lnTo>
                  <a:lnTo>
                    <a:pt x="321" y="180"/>
                  </a:lnTo>
                  <a:lnTo>
                    <a:pt x="303" y="200"/>
                  </a:lnTo>
                  <a:lnTo>
                    <a:pt x="319" y="200"/>
                  </a:lnTo>
                  <a:lnTo>
                    <a:pt x="312" y="207"/>
                  </a:lnTo>
                  <a:lnTo>
                    <a:pt x="300" y="207"/>
                  </a:lnTo>
                  <a:lnTo>
                    <a:pt x="275" y="234"/>
                  </a:lnTo>
                  <a:lnTo>
                    <a:pt x="275" y="262"/>
                  </a:lnTo>
                  <a:lnTo>
                    <a:pt x="262" y="262"/>
                  </a:lnTo>
                  <a:lnTo>
                    <a:pt x="237" y="287"/>
                  </a:lnTo>
                  <a:lnTo>
                    <a:pt x="237" y="307"/>
                  </a:lnTo>
                  <a:lnTo>
                    <a:pt x="218" y="327"/>
                  </a:lnTo>
                  <a:lnTo>
                    <a:pt x="218" y="341"/>
                  </a:lnTo>
                  <a:lnTo>
                    <a:pt x="198" y="362"/>
                  </a:lnTo>
                  <a:lnTo>
                    <a:pt x="205" y="369"/>
                  </a:lnTo>
                  <a:lnTo>
                    <a:pt x="185" y="389"/>
                  </a:lnTo>
                  <a:lnTo>
                    <a:pt x="201" y="405"/>
                  </a:lnTo>
                  <a:lnTo>
                    <a:pt x="171" y="435"/>
                  </a:lnTo>
                  <a:lnTo>
                    <a:pt x="171" y="462"/>
                  </a:lnTo>
                  <a:lnTo>
                    <a:pt x="155" y="462"/>
                  </a:lnTo>
                  <a:lnTo>
                    <a:pt x="132" y="485"/>
                  </a:lnTo>
                  <a:lnTo>
                    <a:pt x="132" y="503"/>
                  </a:lnTo>
                  <a:lnTo>
                    <a:pt x="152" y="485"/>
                  </a:lnTo>
                  <a:lnTo>
                    <a:pt x="157" y="491"/>
                  </a:lnTo>
                  <a:lnTo>
                    <a:pt x="125" y="523"/>
                  </a:lnTo>
                  <a:lnTo>
                    <a:pt x="112" y="508"/>
                  </a:lnTo>
                  <a:lnTo>
                    <a:pt x="93" y="526"/>
                  </a:lnTo>
                  <a:lnTo>
                    <a:pt x="71" y="526"/>
                  </a:lnTo>
                  <a:lnTo>
                    <a:pt x="48" y="551"/>
                  </a:lnTo>
                  <a:lnTo>
                    <a:pt x="61" y="564"/>
                  </a:lnTo>
                  <a:lnTo>
                    <a:pt x="45" y="578"/>
                  </a:lnTo>
                  <a:lnTo>
                    <a:pt x="23" y="578"/>
                  </a:lnTo>
                  <a:lnTo>
                    <a:pt x="0" y="601"/>
                  </a:lnTo>
                  <a:lnTo>
                    <a:pt x="0" y="647"/>
                  </a:lnTo>
                  <a:lnTo>
                    <a:pt x="46" y="647"/>
                  </a:lnTo>
                  <a:lnTo>
                    <a:pt x="46" y="660"/>
                  </a:lnTo>
                  <a:lnTo>
                    <a:pt x="11" y="660"/>
                  </a:lnTo>
                  <a:lnTo>
                    <a:pt x="11" y="685"/>
                  </a:lnTo>
                  <a:lnTo>
                    <a:pt x="2" y="694"/>
                  </a:lnTo>
                  <a:lnTo>
                    <a:pt x="14" y="706"/>
                  </a:lnTo>
                  <a:lnTo>
                    <a:pt x="39" y="681"/>
                  </a:lnTo>
                  <a:lnTo>
                    <a:pt x="50" y="694"/>
                  </a:lnTo>
                  <a:lnTo>
                    <a:pt x="20" y="722"/>
                  </a:lnTo>
                  <a:lnTo>
                    <a:pt x="2" y="722"/>
                  </a:lnTo>
                  <a:lnTo>
                    <a:pt x="2" y="740"/>
                  </a:lnTo>
                  <a:lnTo>
                    <a:pt x="29" y="740"/>
                  </a:lnTo>
                  <a:lnTo>
                    <a:pt x="29" y="753"/>
                  </a:lnTo>
                  <a:lnTo>
                    <a:pt x="11" y="770"/>
                  </a:lnTo>
                  <a:lnTo>
                    <a:pt x="43" y="802"/>
                  </a:lnTo>
                  <a:lnTo>
                    <a:pt x="89" y="802"/>
                  </a:lnTo>
                  <a:lnTo>
                    <a:pt x="114" y="777"/>
                  </a:lnTo>
                  <a:lnTo>
                    <a:pt x="114" y="754"/>
                  </a:lnTo>
                  <a:lnTo>
                    <a:pt x="127" y="754"/>
                  </a:lnTo>
                  <a:lnTo>
                    <a:pt x="141" y="740"/>
                  </a:lnTo>
                  <a:lnTo>
                    <a:pt x="132" y="733"/>
                  </a:lnTo>
                  <a:lnTo>
                    <a:pt x="143" y="722"/>
                  </a:lnTo>
                  <a:lnTo>
                    <a:pt x="150" y="722"/>
                  </a:lnTo>
                  <a:lnTo>
                    <a:pt x="150" y="728"/>
                  </a:lnTo>
                  <a:lnTo>
                    <a:pt x="164" y="713"/>
                  </a:lnTo>
                  <a:lnTo>
                    <a:pt x="177" y="713"/>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Freeform 238">
              <a:extLst>
                <a:ext uri="{FF2B5EF4-FFF2-40B4-BE49-F238E27FC236}">
                  <a16:creationId xmlns:a16="http://schemas.microsoft.com/office/drawing/2014/main" id="{A06E3671-8B42-4E2F-8E09-9114853F7CB3}"/>
                </a:ext>
              </a:extLst>
            </p:cNvPr>
            <p:cNvSpPr>
              <a:spLocks/>
            </p:cNvSpPr>
            <p:nvPr/>
          </p:nvSpPr>
          <p:spPr bwMode="auto">
            <a:xfrm>
              <a:off x="4578351" y="1804988"/>
              <a:ext cx="273050" cy="603250"/>
            </a:xfrm>
            <a:custGeom>
              <a:avLst/>
              <a:gdLst>
                <a:gd name="T0" fmla="*/ 330 w 342"/>
                <a:gd name="T1" fmla="*/ 152 h 761"/>
                <a:gd name="T2" fmla="*/ 330 w 342"/>
                <a:gd name="T3" fmla="*/ 91 h 761"/>
                <a:gd name="T4" fmla="*/ 330 w 342"/>
                <a:gd name="T5" fmla="*/ 52 h 761"/>
                <a:gd name="T6" fmla="*/ 315 w 342"/>
                <a:gd name="T7" fmla="*/ 52 h 761"/>
                <a:gd name="T8" fmla="*/ 285 w 342"/>
                <a:gd name="T9" fmla="*/ 22 h 761"/>
                <a:gd name="T10" fmla="*/ 264 w 342"/>
                <a:gd name="T11" fmla="*/ 0 h 761"/>
                <a:gd name="T12" fmla="*/ 242 w 342"/>
                <a:gd name="T13" fmla="*/ 0 h 761"/>
                <a:gd name="T14" fmla="*/ 221 w 342"/>
                <a:gd name="T15" fmla="*/ 23 h 761"/>
                <a:gd name="T16" fmla="*/ 194 w 342"/>
                <a:gd name="T17" fmla="*/ 23 h 761"/>
                <a:gd name="T18" fmla="*/ 194 w 342"/>
                <a:gd name="T19" fmla="*/ 41 h 761"/>
                <a:gd name="T20" fmla="*/ 175 w 342"/>
                <a:gd name="T21" fmla="*/ 61 h 761"/>
                <a:gd name="T22" fmla="*/ 175 w 342"/>
                <a:gd name="T23" fmla="*/ 80 h 761"/>
                <a:gd name="T24" fmla="*/ 148 w 342"/>
                <a:gd name="T25" fmla="*/ 107 h 761"/>
                <a:gd name="T26" fmla="*/ 110 w 342"/>
                <a:gd name="T27" fmla="*/ 145 h 761"/>
                <a:gd name="T28" fmla="*/ 110 w 342"/>
                <a:gd name="T29" fmla="*/ 171 h 761"/>
                <a:gd name="T30" fmla="*/ 94 w 342"/>
                <a:gd name="T31" fmla="*/ 187 h 761"/>
                <a:gd name="T32" fmla="*/ 94 w 342"/>
                <a:gd name="T33" fmla="*/ 241 h 761"/>
                <a:gd name="T34" fmla="*/ 69 w 342"/>
                <a:gd name="T35" fmla="*/ 266 h 761"/>
                <a:gd name="T36" fmla="*/ 82 w 342"/>
                <a:gd name="T37" fmla="*/ 277 h 761"/>
                <a:gd name="T38" fmla="*/ 82 w 342"/>
                <a:gd name="T39" fmla="*/ 303 h 761"/>
                <a:gd name="T40" fmla="*/ 68 w 342"/>
                <a:gd name="T41" fmla="*/ 319 h 761"/>
                <a:gd name="T42" fmla="*/ 35 w 342"/>
                <a:gd name="T43" fmla="*/ 350 h 761"/>
                <a:gd name="T44" fmla="*/ 35 w 342"/>
                <a:gd name="T45" fmla="*/ 376 h 761"/>
                <a:gd name="T46" fmla="*/ 35 w 342"/>
                <a:gd name="T47" fmla="*/ 432 h 761"/>
                <a:gd name="T48" fmla="*/ 50 w 342"/>
                <a:gd name="T49" fmla="*/ 446 h 761"/>
                <a:gd name="T50" fmla="*/ 50 w 342"/>
                <a:gd name="T51" fmla="*/ 469 h 761"/>
                <a:gd name="T52" fmla="*/ 27 w 342"/>
                <a:gd name="T53" fmla="*/ 492 h 761"/>
                <a:gd name="T54" fmla="*/ 27 w 342"/>
                <a:gd name="T55" fmla="*/ 521 h 761"/>
                <a:gd name="T56" fmla="*/ 27 w 342"/>
                <a:gd name="T57" fmla="*/ 540 h 761"/>
                <a:gd name="T58" fmla="*/ 14 w 342"/>
                <a:gd name="T59" fmla="*/ 540 h 761"/>
                <a:gd name="T60" fmla="*/ 0 w 342"/>
                <a:gd name="T61" fmla="*/ 555 h 761"/>
                <a:gd name="T62" fmla="*/ 0 w 342"/>
                <a:gd name="T63" fmla="*/ 608 h 761"/>
                <a:gd name="T64" fmla="*/ 23 w 342"/>
                <a:gd name="T65" fmla="*/ 631 h 761"/>
                <a:gd name="T66" fmla="*/ 23 w 342"/>
                <a:gd name="T67" fmla="*/ 669 h 761"/>
                <a:gd name="T68" fmla="*/ 51 w 342"/>
                <a:gd name="T69" fmla="*/ 697 h 761"/>
                <a:gd name="T70" fmla="*/ 51 w 342"/>
                <a:gd name="T71" fmla="*/ 761 h 761"/>
                <a:gd name="T72" fmla="*/ 76 w 342"/>
                <a:gd name="T73" fmla="*/ 761 h 761"/>
                <a:gd name="T74" fmla="*/ 76 w 342"/>
                <a:gd name="T75" fmla="*/ 742 h 761"/>
                <a:gd name="T76" fmla="*/ 96 w 342"/>
                <a:gd name="T77" fmla="*/ 722 h 761"/>
                <a:gd name="T78" fmla="*/ 126 w 342"/>
                <a:gd name="T79" fmla="*/ 722 h 761"/>
                <a:gd name="T80" fmla="*/ 142 w 342"/>
                <a:gd name="T81" fmla="*/ 704 h 761"/>
                <a:gd name="T82" fmla="*/ 142 w 342"/>
                <a:gd name="T83" fmla="*/ 619 h 761"/>
                <a:gd name="T84" fmla="*/ 189 w 342"/>
                <a:gd name="T85" fmla="*/ 572 h 761"/>
                <a:gd name="T86" fmla="*/ 148 w 342"/>
                <a:gd name="T87" fmla="*/ 572 h 761"/>
                <a:gd name="T88" fmla="*/ 148 w 342"/>
                <a:gd name="T89" fmla="*/ 556 h 761"/>
                <a:gd name="T90" fmla="*/ 183 w 342"/>
                <a:gd name="T91" fmla="*/ 556 h 761"/>
                <a:gd name="T92" fmla="*/ 198 w 342"/>
                <a:gd name="T93" fmla="*/ 542 h 761"/>
                <a:gd name="T94" fmla="*/ 171 w 342"/>
                <a:gd name="T95" fmla="*/ 515 h 761"/>
                <a:gd name="T96" fmla="*/ 162 w 342"/>
                <a:gd name="T97" fmla="*/ 524 h 761"/>
                <a:gd name="T98" fmla="*/ 144 w 342"/>
                <a:gd name="T99" fmla="*/ 524 h 761"/>
                <a:gd name="T100" fmla="*/ 164 w 342"/>
                <a:gd name="T101" fmla="*/ 505 h 761"/>
                <a:gd name="T102" fmla="*/ 164 w 342"/>
                <a:gd name="T103" fmla="*/ 424 h 761"/>
                <a:gd name="T104" fmla="*/ 182 w 342"/>
                <a:gd name="T105" fmla="*/ 407 h 761"/>
                <a:gd name="T106" fmla="*/ 182 w 342"/>
                <a:gd name="T107" fmla="*/ 385 h 761"/>
                <a:gd name="T108" fmla="*/ 274 w 342"/>
                <a:gd name="T109" fmla="*/ 291 h 761"/>
                <a:gd name="T110" fmla="*/ 258 w 342"/>
                <a:gd name="T111" fmla="*/ 277 h 761"/>
                <a:gd name="T112" fmla="*/ 282 w 342"/>
                <a:gd name="T113" fmla="*/ 252 h 761"/>
                <a:gd name="T114" fmla="*/ 267 w 342"/>
                <a:gd name="T115" fmla="*/ 236 h 761"/>
                <a:gd name="T116" fmla="*/ 303 w 342"/>
                <a:gd name="T117" fmla="*/ 200 h 761"/>
                <a:gd name="T118" fmla="*/ 342 w 342"/>
                <a:gd name="T119" fmla="*/ 200 h 761"/>
                <a:gd name="T120" fmla="*/ 342 w 342"/>
                <a:gd name="T121" fmla="*/ 164 h 761"/>
                <a:gd name="T122" fmla="*/ 330 w 342"/>
                <a:gd name="T123" fmla="*/ 152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 h="761">
                  <a:moveTo>
                    <a:pt x="330" y="152"/>
                  </a:moveTo>
                  <a:lnTo>
                    <a:pt x="330" y="91"/>
                  </a:lnTo>
                  <a:lnTo>
                    <a:pt x="330" y="52"/>
                  </a:lnTo>
                  <a:lnTo>
                    <a:pt x="315" y="52"/>
                  </a:lnTo>
                  <a:lnTo>
                    <a:pt x="285" y="22"/>
                  </a:lnTo>
                  <a:lnTo>
                    <a:pt x="264" y="0"/>
                  </a:lnTo>
                  <a:lnTo>
                    <a:pt x="242" y="0"/>
                  </a:lnTo>
                  <a:lnTo>
                    <a:pt x="221" y="23"/>
                  </a:lnTo>
                  <a:lnTo>
                    <a:pt x="194" y="23"/>
                  </a:lnTo>
                  <a:lnTo>
                    <a:pt x="194" y="41"/>
                  </a:lnTo>
                  <a:lnTo>
                    <a:pt x="175" y="61"/>
                  </a:lnTo>
                  <a:lnTo>
                    <a:pt x="175" y="80"/>
                  </a:lnTo>
                  <a:lnTo>
                    <a:pt x="148" y="107"/>
                  </a:lnTo>
                  <a:lnTo>
                    <a:pt x="110" y="145"/>
                  </a:lnTo>
                  <a:lnTo>
                    <a:pt x="110" y="171"/>
                  </a:lnTo>
                  <a:lnTo>
                    <a:pt x="94" y="187"/>
                  </a:lnTo>
                  <a:lnTo>
                    <a:pt x="94" y="241"/>
                  </a:lnTo>
                  <a:lnTo>
                    <a:pt x="69" y="266"/>
                  </a:lnTo>
                  <a:lnTo>
                    <a:pt x="82" y="277"/>
                  </a:lnTo>
                  <a:lnTo>
                    <a:pt x="82" y="303"/>
                  </a:lnTo>
                  <a:lnTo>
                    <a:pt x="68" y="319"/>
                  </a:lnTo>
                  <a:lnTo>
                    <a:pt x="35" y="350"/>
                  </a:lnTo>
                  <a:lnTo>
                    <a:pt x="35" y="376"/>
                  </a:lnTo>
                  <a:lnTo>
                    <a:pt x="35" y="432"/>
                  </a:lnTo>
                  <a:lnTo>
                    <a:pt x="50" y="446"/>
                  </a:lnTo>
                  <a:lnTo>
                    <a:pt x="50" y="469"/>
                  </a:lnTo>
                  <a:lnTo>
                    <a:pt x="27" y="492"/>
                  </a:lnTo>
                  <a:lnTo>
                    <a:pt x="27" y="521"/>
                  </a:lnTo>
                  <a:lnTo>
                    <a:pt x="27" y="540"/>
                  </a:lnTo>
                  <a:lnTo>
                    <a:pt x="14" y="540"/>
                  </a:lnTo>
                  <a:lnTo>
                    <a:pt x="0" y="555"/>
                  </a:lnTo>
                  <a:lnTo>
                    <a:pt x="0" y="608"/>
                  </a:lnTo>
                  <a:lnTo>
                    <a:pt x="23" y="631"/>
                  </a:lnTo>
                  <a:lnTo>
                    <a:pt x="23" y="669"/>
                  </a:lnTo>
                  <a:lnTo>
                    <a:pt x="51" y="697"/>
                  </a:lnTo>
                  <a:lnTo>
                    <a:pt x="51" y="761"/>
                  </a:lnTo>
                  <a:lnTo>
                    <a:pt x="76" y="761"/>
                  </a:lnTo>
                  <a:lnTo>
                    <a:pt x="76" y="742"/>
                  </a:lnTo>
                  <a:lnTo>
                    <a:pt x="96" y="722"/>
                  </a:lnTo>
                  <a:lnTo>
                    <a:pt x="126" y="722"/>
                  </a:lnTo>
                  <a:lnTo>
                    <a:pt x="142" y="704"/>
                  </a:lnTo>
                  <a:lnTo>
                    <a:pt x="142" y="619"/>
                  </a:lnTo>
                  <a:lnTo>
                    <a:pt x="189" y="572"/>
                  </a:lnTo>
                  <a:lnTo>
                    <a:pt x="148" y="572"/>
                  </a:lnTo>
                  <a:lnTo>
                    <a:pt x="148" y="556"/>
                  </a:lnTo>
                  <a:lnTo>
                    <a:pt x="183" y="556"/>
                  </a:lnTo>
                  <a:lnTo>
                    <a:pt x="198" y="542"/>
                  </a:lnTo>
                  <a:lnTo>
                    <a:pt x="171" y="515"/>
                  </a:lnTo>
                  <a:lnTo>
                    <a:pt x="162" y="524"/>
                  </a:lnTo>
                  <a:lnTo>
                    <a:pt x="144" y="524"/>
                  </a:lnTo>
                  <a:lnTo>
                    <a:pt x="164" y="505"/>
                  </a:lnTo>
                  <a:lnTo>
                    <a:pt x="164" y="424"/>
                  </a:lnTo>
                  <a:lnTo>
                    <a:pt x="182" y="407"/>
                  </a:lnTo>
                  <a:lnTo>
                    <a:pt x="182" y="385"/>
                  </a:lnTo>
                  <a:lnTo>
                    <a:pt x="274" y="291"/>
                  </a:lnTo>
                  <a:lnTo>
                    <a:pt x="258" y="277"/>
                  </a:lnTo>
                  <a:lnTo>
                    <a:pt x="282" y="252"/>
                  </a:lnTo>
                  <a:lnTo>
                    <a:pt x="267" y="236"/>
                  </a:lnTo>
                  <a:lnTo>
                    <a:pt x="303" y="200"/>
                  </a:lnTo>
                  <a:lnTo>
                    <a:pt x="342" y="200"/>
                  </a:lnTo>
                  <a:lnTo>
                    <a:pt x="342" y="164"/>
                  </a:lnTo>
                  <a:lnTo>
                    <a:pt x="330" y="152"/>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239">
              <a:extLst>
                <a:ext uri="{FF2B5EF4-FFF2-40B4-BE49-F238E27FC236}">
                  <a16:creationId xmlns:a16="http://schemas.microsoft.com/office/drawing/2014/main" id="{34CDF637-B046-4F43-88D1-6EB2193346A8}"/>
                </a:ext>
              </a:extLst>
            </p:cNvPr>
            <p:cNvSpPr>
              <a:spLocks/>
            </p:cNvSpPr>
            <p:nvPr/>
          </p:nvSpPr>
          <p:spPr bwMode="auto">
            <a:xfrm>
              <a:off x="4468813" y="2593975"/>
              <a:ext cx="23813" cy="22225"/>
            </a:xfrm>
            <a:custGeom>
              <a:avLst/>
              <a:gdLst>
                <a:gd name="T0" fmla="*/ 0 w 30"/>
                <a:gd name="T1" fmla="*/ 3 h 28"/>
                <a:gd name="T2" fmla="*/ 0 w 30"/>
                <a:gd name="T3" fmla="*/ 18 h 28"/>
                <a:gd name="T4" fmla="*/ 10 w 30"/>
                <a:gd name="T5" fmla="*/ 28 h 28"/>
                <a:gd name="T6" fmla="*/ 30 w 30"/>
                <a:gd name="T7" fmla="*/ 28 h 28"/>
                <a:gd name="T8" fmla="*/ 30 w 30"/>
                <a:gd name="T9" fmla="*/ 0 h 28"/>
                <a:gd name="T10" fmla="*/ 18 w 30"/>
                <a:gd name="T11" fmla="*/ 0 h 28"/>
                <a:gd name="T12" fmla="*/ 18 w 30"/>
                <a:gd name="T13" fmla="*/ 3 h 28"/>
                <a:gd name="T14" fmla="*/ 0 w 30"/>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8">
                  <a:moveTo>
                    <a:pt x="0" y="3"/>
                  </a:moveTo>
                  <a:lnTo>
                    <a:pt x="0" y="18"/>
                  </a:lnTo>
                  <a:lnTo>
                    <a:pt x="10" y="28"/>
                  </a:lnTo>
                  <a:lnTo>
                    <a:pt x="30" y="28"/>
                  </a:lnTo>
                  <a:lnTo>
                    <a:pt x="30" y="0"/>
                  </a:lnTo>
                  <a:lnTo>
                    <a:pt x="18" y="0"/>
                  </a:lnTo>
                  <a:lnTo>
                    <a:pt x="18" y="3"/>
                  </a:lnTo>
                  <a:lnTo>
                    <a:pt x="0" y="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240">
              <a:extLst>
                <a:ext uri="{FF2B5EF4-FFF2-40B4-BE49-F238E27FC236}">
                  <a16:creationId xmlns:a16="http://schemas.microsoft.com/office/drawing/2014/main" id="{44543ABE-4D1B-43AA-BE34-EA63698D8994}"/>
                </a:ext>
              </a:extLst>
            </p:cNvPr>
            <p:cNvSpPr>
              <a:spLocks/>
            </p:cNvSpPr>
            <p:nvPr/>
          </p:nvSpPr>
          <p:spPr bwMode="auto">
            <a:xfrm>
              <a:off x="4270376" y="2565400"/>
              <a:ext cx="241300" cy="255588"/>
            </a:xfrm>
            <a:custGeom>
              <a:avLst/>
              <a:gdLst>
                <a:gd name="T0" fmla="*/ 275 w 305"/>
                <a:gd name="T1" fmla="*/ 289 h 323"/>
                <a:gd name="T2" fmla="*/ 301 w 305"/>
                <a:gd name="T3" fmla="*/ 262 h 323"/>
                <a:gd name="T4" fmla="*/ 276 w 305"/>
                <a:gd name="T5" fmla="*/ 236 h 323"/>
                <a:gd name="T6" fmla="*/ 285 w 305"/>
                <a:gd name="T7" fmla="*/ 227 h 323"/>
                <a:gd name="T8" fmla="*/ 285 w 305"/>
                <a:gd name="T9" fmla="*/ 211 h 323"/>
                <a:gd name="T10" fmla="*/ 285 w 305"/>
                <a:gd name="T11" fmla="*/ 202 h 323"/>
                <a:gd name="T12" fmla="*/ 285 w 305"/>
                <a:gd name="T13" fmla="*/ 186 h 323"/>
                <a:gd name="T14" fmla="*/ 269 w 305"/>
                <a:gd name="T15" fmla="*/ 186 h 323"/>
                <a:gd name="T16" fmla="*/ 269 w 305"/>
                <a:gd name="T17" fmla="*/ 164 h 323"/>
                <a:gd name="T18" fmla="*/ 291 w 305"/>
                <a:gd name="T19" fmla="*/ 145 h 323"/>
                <a:gd name="T20" fmla="*/ 291 w 305"/>
                <a:gd name="T21" fmla="*/ 129 h 323"/>
                <a:gd name="T22" fmla="*/ 305 w 305"/>
                <a:gd name="T23" fmla="*/ 113 h 323"/>
                <a:gd name="T24" fmla="*/ 305 w 305"/>
                <a:gd name="T25" fmla="*/ 84 h 323"/>
                <a:gd name="T26" fmla="*/ 285 w 305"/>
                <a:gd name="T27" fmla="*/ 64 h 323"/>
                <a:gd name="T28" fmla="*/ 280 w 305"/>
                <a:gd name="T29" fmla="*/ 64 h 323"/>
                <a:gd name="T30" fmla="*/ 260 w 305"/>
                <a:gd name="T31" fmla="*/ 64 h 323"/>
                <a:gd name="T32" fmla="*/ 250 w 305"/>
                <a:gd name="T33" fmla="*/ 54 h 323"/>
                <a:gd name="T34" fmla="*/ 214 w 305"/>
                <a:gd name="T35" fmla="*/ 18 h 323"/>
                <a:gd name="T36" fmla="*/ 194 w 305"/>
                <a:gd name="T37" fmla="*/ 18 h 323"/>
                <a:gd name="T38" fmla="*/ 194 w 305"/>
                <a:gd name="T39" fmla="*/ 0 h 323"/>
                <a:gd name="T40" fmla="*/ 164 w 305"/>
                <a:gd name="T41" fmla="*/ 0 h 323"/>
                <a:gd name="T42" fmla="*/ 157 w 305"/>
                <a:gd name="T43" fmla="*/ 7 h 323"/>
                <a:gd name="T44" fmla="*/ 157 w 305"/>
                <a:gd name="T45" fmla="*/ 29 h 323"/>
                <a:gd name="T46" fmla="*/ 130 w 305"/>
                <a:gd name="T47" fmla="*/ 55 h 323"/>
                <a:gd name="T48" fmla="*/ 66 w 305"/>
                <a:gd name="T49" fmla="*/ 55 h 323"/>
                <a:gd name="T50" fmla="*/ 66 w 305"/>
                <a:gd name="T51" fmla="*/ 80 h 323"/>
                <a:gd name="T52" fmla="*/ 48 w 305"/>
                <a:gd name="T53" fmla="*/ 96 h 323"/>
                <a:gd name="T54" fmla="*/ 29 w 305"/>
                <a:gd name="T55" fmla="*/ 75 h 323"/>
                <a:gd name="T56" fmla="*/ 0 w 305"/>
                <a:gd name="T57" fmla="*/ 104 h 323"/>
                <a:gd name="T58" fmla="*/ 0 w 305"/>
                <a:gd name="T59" fmla="*/ 121 h 323"/>
                <a:gd name="T60" fmla="*/ 23 w 305"/>
                <a:gd name="T61" fmla="*/ 145 h 323"/>
                <a:gd name="T62" fmla="*/ 45 w 305"/>
                <a:gd name="T63" fmla="*/ 145 h 323"/>
                <a:gd name="T64" fmla="*/ 77 w 305"/>
                <a:gd name="T65" fmla="*/ 177 h 323"/>
                <a:gd name="T66" fmla="*/ 77 w 305"/>
                <a:gd name="T67" fmla="*/ 275 h 323"/>
                <a:gd name="T68" fmla="*/ 71 w 305"/>
                <a:gd name="T69" fmla="*/ 282 h 323"/>
                <a:gd name="T70" fmla="*/ 59 w 305"/>
                <a:gd name="T71" fmla="*/ 282 h 323"/>
                <a:gd name="T72" fmla="*/ 82 w 305"/>
                <a:gd name="T73" fmla="*/ 305 h 323"/>
                <a:gd name="T74" fmla="*/ 105 w 305"/>
                <a:gd name="T75" fmla="*/ 305 h 323"/>
                <a:gd name="T76" fmla="*/ 123 w 305"/>
                <a:gd name="T77" fmla="*/ 323 h 323"/>
                <a:gd name="T78" fmla="*/ 191 w 305"/>
                <a:gd name="T79" fmla="*/ 323 h 323"/>
                <a:gd name="T80" fmla="*/ 191 w 305"/>
                <a:gd name="T81" fmla="*/ 289 h 323"/>
                <a:gd name="T82" fmla="*/ 210 w 305"/>
                <a:gd name="T83" fmla="*/ 269 h 323"/>
                <a:gd name="T84" fmla="*/ 232 w 305"/>
                <a:gd name="T85" fmla="*/ 289 h 323"/>
                <a:gd name="T86" fmla="*/ 275 w 305"/>
                <a:gd name="T87" fmla="*/ 2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5" h="323">
                  <a:moveTo>
                    <a:pt x="275" y="289"/>
                  </a:moveTo>
                  <a:lnTo>
                    <a:pt x="301" y="262"/>
                  </a:lnTo>
                  <a:lnTo>
                    <a:pt x="276" y="236"/>
                  </a:lnTo>
                  <a:lnTo>
                    <a:pt x="285" y="227"/>
                  </a:lnTo>
                  <a:lnTo>
                    <a:pt x="285" y="211"/>
                  </a:lnTo>
                  <a:lnTo>
                    <a:pt x="285" y="202"/>
                  </a:lnTo>
                  <a:lnTo>
                    <a:pt x="285" y="186"/>
                  </a:lnTo>
                  <a:lnTo>
                    <a:pt x="269" y="186"/>
                  </a:lnTo>
                  <a:lnTo>
                    <a:pt x="269" y="164"/>
                  </a:lnTo>
                  <a:lnTo>
                    <a:pt x="291" y="145"/>
                  </a:lnTo>
                  <a:lnTo>
                    <a:pt x="291" y="129"/>
                  </a:lnTo>
                  <a:lnTo>
                    <a:pt x="305" y="113"/>
                  </a:lnTo>
                  <a:lnTo>
                    <a:pt x="305" y="84"/>
                  </a:lnTo>
                  <a:lnTo>
                    <a:pt x="285" y="64"/>
                  </a:lnTo>
                  <a:lnTo>
                    <a:pt x="280" y="64"/>
                  </a:lnTo>
                  <a:lnTo>
                    <a:pt x="260" y="64"/>
                  </a:lnTo>
                  <a:lnTo>
                    <a:pt x="250" y="54"/>
                  </a:lnTo>
                  <a:lnTo>
                    <a:pt x="214" y="18"/>
                  </a:lnTo>
                  <a:lnTo>
                    <a:pt x="194" y="18"/>
                  </a:lnTo>
                  <a:lnTo>
                    <a:pt x="194" y="0"/>
                  </a:lnTo>
                  <a:lnTo>
                    <a:pt x="164" y="0"/>
                  </a:lnTo>
                  <a:lnTo>
                    <a:pt x="157" y="7"/>
                  </a:lnTo>
                  <a:lnTo>
                    <a:pt x="157" y="29"/>
                  </a:lnTo>
                  <a:lnTo>
                    <a:pt x="130" y="55"/>
                  </a:lnTo>
                  <a:lnTo>
                    <a:pt x="66" y="55"/>
                  </a:lnTo>
                  <a:lnTo>
                    <a:pt x="66" y="80"/>
                  </a:lnTo>
                  <a:lnTo>
                    <a:pt x="48" y="96"/>
                  </a:lnTo>
                  <a:lnTo>
                    <a:pt x="29" y="75"/>
                  </a:lnTo>
                  <a:lnTo>
                    <a:pt x="0" y="104"/>
                  </a:lnTo>
                  <a:lnTo>
                    <a:pt x="0" y="121"/>
                  </a:lnTo>
                  <a:lnTo>
                    <a:pt x="23" y="145"/>
                  </a:lnTo>
                  <a:lnTo>
                    <a:pt x="45" y="145"/>
                  </a:lnTo>
                  <a:lnTo>
                    <a:pt x="77" y="177"/>
                  </a:lnTo>
                  <a:lnTo>
                    <a:pt x="77" y="275"/>
                  </a:lnTo>
                  <a:lnTo>
                    <a:pt x="71" y="282"/>
                  </a:lnTo>
                  <a:lnTo>
                    <a:pt x="59" y="282"/>
                  </a:lnTo>
                  <a:lnTo>
                    <a:pt x="82" y="305"/>
                  </a:lnTo>
                  <a:lnTo>
                    <a:pt x="105" y="305"/>
                  </a:lnTo>
                  <a:lnTo>
                    <a:pt x="123" y="323"/>
                  </a:lnTo>
                  <a:lnTo>
                    <a:pt x="191" y="323"/>
                  </a:lnTo>
                  <a:lnTo>
                    <a:pt x="191" y="289"/>
                  </a:lnTo>
                  <a:lnTo>
                    <a:pt x="210" y="269"/>
                  </a:lnTo>
                  <a:lnTo>
                    <a:pt x="232" y="289"/>
                  </a:lnTo>
                  <a:lnTo>
                    <a:pt x="275" y="289"/>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241">
              <a:extLst>
                <a:ext uri="{FF2B5EF4-FFF2-40B4-BE49-F238E27FC236}">
                  <a16:creationId xmlns:a16="http://schemas.microsoft.com/office/drawing/2014/main" id="{2794BD78-85C2-4524-A7EE-575F6345F080}"/>
                </a:ext>
              </a:extLst>
            </p:cNvPr>
            <p:cNvSpPr>
              <a:spLocks/>
            </p:cNvSpPr>
            <p:nvPr/>
          </p:nvSpPr>
          <p:spPr bwMode="auto">
            <a:xfrm>
              <a:off x="4173538" y="2779713"/>
              <a:ext cx="247650" cy="196850"/>
            </a:xfrm>
            <a:custGeom>
              <a:avLst/>
              <a:gdLst>
                <a:gd name="T0" fmla="*/ 226 w 312"/>
                <a:gd name="T1" fmla="*/ 36 h 250"/>
                <a:gd name="T2" fmla="*/ 203 w 312"/>
                <a:gd name="T3" fmla="*/ 36 h 250"/>
                <a:gd name="T4" fmla="*/ 180 w 312"/>
                <a:gd name="T5" fmla="*/ 13 h 250"/>
                <a:gd name="T6" fmla="*/ 103 w 312"/>
                <a:gd name="T7" fmla="*/ 13 h 250"/>
                <a:gd name="T8" fmla="*/ 92 w 312"/>
                <a:gd name="T9" fmla="*/ 0 h 250"/>
                <a:gd name="T10" fmla="*/ 25 w 312"/>
                <a:gd name="T11" fmla="*/ 0 h 250"/>
                <a:gd name="T12" fmla="*/ 0 w 312"/>
                <a:gd name="T13" fmla="*/ 27 h 250"/>
                <a:gd name="T14" fmla="*/ 18 w 312"/>
                <a:gd name="T15" fmla="*/ 47 h 250"/>
                <a:gd name="T16" fmla="*/ 10 w 312"/>
                <a:gd name="T17" fmla="*/ 54 h 250"/>
                <a:gd name="T18" fmla="*/ 28 w 312"/>
                <a:gd name="T19" fmla="*/ 72 h 250"/>
                <a:gd name="T20" fmla="*/ 64 w 312"/>
                <a:gd name="T21" fmla="*/ 72 h 250"/>
                <a:gd name="T22" fmla="*/ 64 w 312"/>
                <a:gd name="T23" fmla="*/ 125 h 250"/>
                <a:gd name="T24" fmla="*/ 44 w 312"/>
                <a:gd name="T25" fmla="*/ 145 h 250"/>
                <a:gd name="T26" fmla="*/ 44 w 312"/>
                <a:gd name="T27" fmla="*/ 159 h 250"/>
                <a:gd name="T28" fmla="*/ 44 w 312"/>
                <a:gd name="T29" fmla="*/ 182 h 250"/>
                <a:gd name="T30" fmla="*/ 62 w 312"/>
                <a:gd name="T31" fmla="*/ 198 h 250"/>
                <a:gd name="T32" fmla="*/ 37 w 312"/>
                <a:gd name="T33" fmla="*/ 223 h 250"/>
                <a:gd name="T34" fmla="*/ 57 w 312"/>
                <a:gd name="T35" fmla="*/ 223 h 250"/>
                <a:gd name="T36" fmla="*/ 84 w 312"/>
                <a:gd name="T37" fmla="*/ 250 h 250"/>
                <a:gd name="T38" fmla="*/ 94 w 312"/>
                <a:gd name="T39" fmla="*/ 250 h 250"/>
                <a:gd name="T40" fmla="*/ 112 w 312"/>
                <a:gd name="T41" fmla="*/ 232 h 250"/>
                <a:gd name="T42" fmla="*/ 180 w 312"/>
                <a:gd name="T43" fmla="*/ 232 h 250"/>
                <a:gd name="T44" fmla="*/ 233 w 312"/>
                <a:gd name="T45" fmla="*/ 180 h 250"/>
                <a:gd name="T46" fmla="*/ 233 w 312"/>
                <a:gd name="T47" fmla="*/ 155 h 250"/>
                <a:gd name="T48" fmla="*/ 223 w 312"/>
                <a:gd name="T49" fmla="*/ 155 h 250"/>
                <a:gd name="T50" fmla="*/ 223 w 312"/>
                <a:gd name="T51" fmla="*/ 141 h 250"/>
                <a:gd name="T52" fmla="*/ 265 w 312"/>
                <a:gd name="T53" fmla="*/ 98 h 250"/>
                <a:gd name="T54" fmla="*/ 278 w 312"/>
                <a:gd name="T55" fmla="*/ 98 h 250"/>
                <a:gd name="T56" fmla="*/ 312 w 312"/>
                <a:gd name="T57" fmla="*/ 63 h 250"/>
                <a:gd name="T58" fmla="*/ 312 w 312"/>
                <a:gd name="T59" fmla="*/ 54 h 250"/>
                <a:gd name="T60" fmla="*/ 244 w 312"/>
                <a:gd name="T61" fmla="*/ 54 h 250"/>
                <a:gd name="T62" fmla="*/ 226 w 312"/>
                <a:gd name="T63" fmla="*/ 3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2" h="250">
                  <a:moveTo>
                    <a:pt x="226" y="36"/>
                  </a:moveTo>
                  <a:lnTo>
                    <a:pt x="203" y="36"/>
                  </a:lnTo>
                  <a:lnTo>
                    <a:pt x="180" y="13"/>
                  </a:lnTo>
                  <a:lnTo>
                    <a:pt x="103" y="13"/>
                  </a:lnTo>
                  <a:lnTo>
                    <a:pt x="92" y="0"/>
                  </a:lnTo>
                  <a:lnTo>
                    <a:pt x="25" y="0"/>
                  </a:lnTo>
                  <a:lnTo>
                    <a:pt x="0" y="27"/>
                  </a:lnTo>
                  <a:lnTo>
                    <a:pt x="18" y="47"/>
                  </a:lnTo>
                  <a:lnTo>
                    <a:pt x="10" y="54"/>
                  </a:lnTo>
                  <a:lnTo>
                    <a:pt x="28" y="72"/>
                  </a:lnTo>
                  <a:lnTo>
                    <a:pt x="64" y="72"/>
                  </a:lnTo>
                  <a:lnTo>
                    <a:pt x="64" y="125"/>
                  </a:lnTo>
                  <a:lnTo>
                    <a:pt x="44" y="145"/>
                  </a:lnTo>
                  <a:lnTo>
                    <a:pt x="44" y="159"/>
                  </a:lnTo>
                  <a:lnTo>
                    <a:pt x="44" y="182"/>
                  </a:lnTo>
                  <a:lnTo>
                    <a:pt x="62" y="198"/>
                  </a:lnTo>
                  <a:lnTo>
                    <a:pt x="37" y="223"/>
                  </a:lnTo>
                  <a:lnTo>
                    <a:pt x="57" y="223"/>
                  </a:lnTo>
                  <a:lnTo>
                    <a:pt x="84" y="250"/>
                  </a:lnTo>
                  <a:lnTo>
                    <a:pt x="94" y="250"/>
                  </a:lnTo>
                  <a:lnTo>
                    <a:pt x="112" y="232"/>
                  </a:lnTo>
                  <a:lnTo>
                    <a:pt x="180" y="232"/>
                  </a:lnTo>
                  <a:lnTo>
                    <a:pt x="233" y="180"/>
                  </a:lnTo>
                  <a:lnTo>
                    <a:pt x="233" y="155"/>
                  </a:lnTo>
                  <a:lnTo>
                    <a:pt x="223" y="155"/>
                  </a:lnTo>
                  <a:lnTo>
                    <a:pt x="223" y="141"/>
                  </a:lnTo>
                  <a:lnTo>
                    <a:pt x="265" y="98"/>
                  </a:lnTo>
                  <a:lnTo>
                    <a:pt x="278" y="98"/>
                  </a:lnTo>
                  <a:lnTo>
                    <a:pt x="312" y="63"/>
                  </a:lnTo>
                  <a:lnTo>
                    <a:pt x="312" y="54"/>
                  </a:lnTo>
                  <a:lnTo>
                    <a:pt x="244" y="54"/>
                  </a:lnTo>
                  <a:lnTo>
                    <a:pt x="226" y="36"/>
                  </a:lnTo>
                  <a:close/>
                </a:path>
              </a:pathLst>
            </a:custGeom>
            <a:solidFill>
              <a:schemeClr val="bg2"/>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242">
              <a:extLst>
                <a:ext uri="{FF2B5EF4-FFF2-40B4-BE49-F238E27FC236}">
                  <a16:creationId xmlns:a16="http://schemas.microsoft.com/office/drawing/2014/main" id="{A0DC06FF-8777-4D99-B19D-B582AD8CF87A}"/>
                </a:ext>
              </a:extLst>
            </p:cNvPr>
            <p:cNvSpPr>
              <a:spLocks/>
            </p:cNvSpPr>
            <p:nvPr/>
          </p:nvSpPr>
          <p:spPr bwMode="auto">
            <a:xfrm>
              <a:off x="4165601" y="2820988"/>
              <a:ext cx="58738" cy="134938"/>
            </a:xfrm>
            <a:custGeom>
              <a:avLst/>
              <a:gdLst>
                <a:gd name="T0" fmla="*/ 55 w 75"/>
                <a:gd name="T1" fmla="*/ 128 h 169"/>
                <a:gd name="T2" fmla="*/ 55 w 75"/>
                <a:gd name="T3" fmla="*/ 105 h 169"/>
                <a:gd name="T4" fmla="*/ 55 w 75"/>
                <a:gd name="T5" fmla="*/ 91 h 169"/>
                <a:gd name="T6" fmla="*/ 75 w 75"/>
                <a:gd name="T7" fmla="*/ 71 h 169"/>
                <a:gd name="T8" fmla="*/ 75 w 75"/>
                <a:gd name="T9" fmla="*/ 18 h 169"/>
                <a:gd name="T10" fmla="*/ 39 w 75"/>
                <a:gd name="T11" fmla="*/ 18 h 169"/>
                <a:gd name="T12" fmla="*/ 21 w 75"/>
                <a:gd name="T13" fmla="*/ 0 h 169"/>
                <a:gd name="T14" fmla="*/ 13 w 75"/>
                <a:gd name="T15" fmla="*/ 9 h 169"/>
                <a:gd name="T16" fmla="*/ 13 w 75"/>
                <a:gd name="T17" fmla="*/ 69 h 169"/>
                <a:gd name="T18" fmla="*/ 0 w 75"/>
                <a:gd name="T19" fmla="*/ 84 h 169"/>
                <a:gd name="T20" fmla="*/ 0 w 75"/>
                <a:gd name="T21" fmla="*/ 119 h 169"/>
                <a:gd name="T22" fmla="*/ 13 w 75"/>
                <a:gd name="T23" fmla="*/ 132 h 169"/>
                <a:gd name="T24" fmla="*/ 13 w 75"/>
                <a:gd name="T25" fmla="*/ 169 h 169"/>
                <a:gd name="T26" fmla="*/ 48 w 75"/>
                <a:gd name="T27" fmla="*/ 169 h 169"/>
                <a:gd name="T28" fmla="*/ 73 w 75"/>
                <a:gd name="T29" fmla="*/ 144 h 169"/>
                <a:gd name="T30" fmla="*/ 55 w 75"/>
                <a:gd name="T31" fmla="*/ 12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169">
                  <a:moveTo>
                    <a:pt x="55" y="128"/>
                  </a:moveTo>
                  <a:lnTo>
                    <a:pt x="55" y="105"/>
                  </a:lnTo>
                  <a:lnTo>
                    <a:pt x="55" y="91"/>
                  </a:lnTo>
                  <a:lnTo>
                    <a:pt x="75" y="71"/>
                  </a:lnTo>
                  <a:lnTo>
                    <a:pt x="75" y="18"/>
                  </a:lnTo>
                  <a:lnTo>
                    <a:pt x="39" y="18"/>
                  </a:lnTo>
                  <a:lnTo>
                    <a:pt x="21" y="0"/>
                  </a:lnTo>
                  <a:lnTo>
                    <a:pt x="13" y="9"/>
                  </a:lnTo>
                  <a:lnTo>
                    <a:pt x="13" y="69"/>
                  </a:lnTo>
                  <a:lnTo>
                    <a:pt x="0" y="84"/>
                  </a:lnTo>
                  <a:lnTo>
                    <a:pt x="0" y="119"/>
                  </a:lnTo>
                  <a:lnTo>
                    <a:pt x="13" y="132"/>
                  </a:lnTo>
                  <a:lnTo>
                    <a:pt x="13" y="169"/>
                  </a:lnTo>
                  <a:lnTo>
                    <a:pt x="48" y="169"/>
                  </a:lnTo>
                  <a:lnTo>
                    <a:pt x="73" y="144"/>
                  </a:lnTo>
                  <a:lnTo>
                    <a:pt x="55" y="128"/>
                  </a:lnTo>
                  <a:close/>
                </a:path>
              </a:pathLst>
            </a:custGeom>
            <a:solidFill>
              <a:schemeClr val="bg2"/>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243">
              <a:extLst>
                <a:ext uri="{FF2B5EF4-FFF2-40B4-BE49-F238E27FC236}">
                  <a16:creationId xmlns:a16="http://schemas.microsoft.com/office/drawing/2014/main" id="{298B1A07-A0F2-4318-A2C9-A5FDB81977C0}"/>
                </a:ext>
              </a:extLst>
            </p:cNvPr>
            <p:cNvSpPr>
              <a:spLocks/>
            </p:cNvSpPr>
            <p:nvPr/>
          </p:nvSpPr>
          <p:spPr bwMode="auto">
            <a:xfrm>
              <a:off x="4787901" y="1762125"/>
              <a:ext cx="225425" cy="473075"/>
            </a:xfrm>
            <a:custGeom>
              <a:avLst/>
              <a:gdLst>
                <a:gd name="T0" fmla="*/ 233 w 283"/>
                <a:gd name="T1" fmla="*/ 490 h 595"/>
                <a:gd name="T2" fmla="*/ 248 w 283"/>
                <a:gd name="T3" fmla="*/ 490 h 595"/>
                <a:gd name="T4" fmla="*/ 283 w 283"/>
                <a:gd name="T5" fmla="*/ 456 h 595"/>
                <a:gd name="T6" fmla="*/ 283 w 283"/>
                <a:gd name="T7" fmla="*/ 417 h 595"/>
                <a:gd name="T8" fmla="*/ 253 w 283"/>
                <a:gd name="T9" fmla="*/ 387 h 595"/>
                <a:gd name="T10" fmla="*/ 253 w 283"/>
                <a:gd name="T11" fmla="*/ 356 h 595"/>
                <a:gd name="T12" fmla="*/ 253 w 283"/>
                <a:gd name="T13" fmla="*/ 315 h 595"/>
                <a:gd name="T14" fmla="*/ 237 w 283"/>
                <a:gd name="T15" fmla="*/ 299 h 595"/>
                <a:gd name="T16" fmla="*/ 237 w 283"/>
                <a:gd name="T17" fmla="*/ 237 h 595"/>
                <a:gd name="T18" fmla="*/ 237 w 283"/>
                <a:gd name="T19" fmla="*/ 189 h 595"/>
                <a:gd name="T20" fmla="*/ 221 w 283"/>
                <a:gd name="T21" fmla="*/ 173 h 595"/>
                <a:gd name="T22" fmla="*/ 251 w 283"/>
                <a:gd name="T23" fmla="*/ 142 h 595"/>
                <a:gd name="T24" fmla="*/ 251 w 283"/>
                <a:gd name="T25" fmla="*/ 112 h 595"/>
                <a:gd name="T26" fmla="*/ 223 w 283"/>
                <a:gd name="T27" fmla="*/ 84 h 595"/>
                <a:gd name="T28" fmla="*/ 205 w 283"/>
                <a:gd name="T29" fmla="*/ 66 h 595"/>
                <a:gd name="T30" fmla="*/ 203 w 283"/>
                <a:gd name="T31" fmla="*/ 35 h 595"/>
                <a:gd name="T32" fmla="*/ 203 w 283"/>
                <a:gd name="T33" fmla="*/ 0 h 595"/>
                <a:gd name="T34" fmla="*/ 171 w 283"/>
                <a:gd name="T35" fmla="*/ 0 h 595"/>
                <a:gd name="T36" fmla="*/ 126 w 283"/>
                <a:gd name="T37" fmla="*/ 0 h 595"/>
                <a:gd name="T38" fmla="*/ 126 w 283"/>
                <a:gd name="T39" fmla="*/ 25 h 595"/>
                <a:gd name="T40" fmla="*/ 105 w 283"/>
                <a:gd name="T41" fmla="*/ 44 h 595"/>
                <a:gd name="T42" fmla="*/ 78 w 283"/>
                <a:gd name="T43" fmla="*/ 44 h 595"/>
                <a:gd name="T44" fmla="*/ 55 w 283"/>
                <a:gd name="T45" fmla="*/ 66 h 595"/>
                <a:gd name="T46" fmla="*/ 21 w 283"/>
                <a:gd name="T47" fmla="*/ 32 h 595"/>
                <a:gd name="T48" fmla="*/ 0 w 283"/>
                <a:gd name="T49" fmla="*/ 53 h 595"/>
                <a:gd name="T50" fmla="*/ 21 w 283"/>
                <a:gd name="T51" fmla="*/ 75 h 595"/>
                <a:gd name="T52" fmla="*/ 51 w 283"/>
                <a:gd name="T53" fmla="*/ 105 h 595"/>
                <a:gd name="T54" fmla="*/ 66 w 283"/>
                <a:gd name="T55" fmla="*/ 105 h 595"/>
                <a:gd name="T56" fmla="*/ 66 w 283"/>
                <a:gd name="T57" fmla="*/ 144 h 595"/>
                <a:gd name="T58" fmla="*/ 66 w 283"/>
                <a:gd name="T59" fmla="*/ 205 h 595"/>
                <a:gd name="T60" fmla="*/ 78 w 283"/>
                <a:gd name="T61" fmla="*/ 217 h 595"/>
                <a:gd name="T62" fmla="*/ 78 w 283"/>
                <a:gd name="T63" fmla="*/ 253 h 595"/>
                <a:gd name="T64" fmla="*/ 82 w 283"/>
                <a:gd name="T65" fmla="*/ 253 h 595"/>
                <a:gd name="T66" fmla="*/ 114 w 283"/>
                <a:gd name="T67" fmla="*/ 285 h 595"/>
                <a:gd name="T68" fmla="*/ 114 w 283"/>
                <a:gd name="T69" fmla="*/ 317 h 595"/>
                <a:gd name="T70" fmla="*/ 98 w 283"/>
                <a:gd name="T71" fmla="*/ 317 h 595"/>
                <a:gd name="T72" fmla="*/ 98 w 283"/>
                <a:gd name="T73" fmla="*/ 335 h 595"/>
                <a:gd name="T74" fmla="*/ 18 w 283"/>
                <a:gd name="T75" fmla="*/ 413 h 595"/>
                <a:gd name="T76" fmla="*/ 18 w 283"/>
                <a:gd name="T77" fmla="*/ 428 h 595"/>
                <a:gd name="T78" fmla="*/ 0 w 283"/>
                <a:gd name="T79" fmla="*/ 445 h 595"/>
                <a:gd name="T80" fmla="*/ 0 w 283"/>
                <a:gd name="T81" fmla="*/ 474 h 595"/>
                <a:gd name="T82" fmla="*/ 23 w 283"/>
                <a:gd name="T83" fmla="*/ 497 h 595"/>
                <a:gd name="T84" fmla="*/ 7 w 283"/>
                <a:gd name="T85" fmla="*/ 513 h 595"/>
                <a:gd name="T86" fmla="*/ 7 w 283"/>
                <a:gd name="T87" fmla="*/ 545 h 595"/>
                <a:gd name="T88" fmla="*/ 57 w 283"/>
                <a:gd name="T89" fmla="*/ 595 h 595"/>
                <a:gd name="T90" fmla="*/ 71 w 283"/>
                <a:gd name="T91" fmla="*/ 583 h 595"/>
                <a:gd name="T92" fmla="*/ 92 w 283"/>
                <a:gd name="T93" fmla="*/ 583 h 595"/>
                <a:gd name="T94" fmla="*/ 117 w 283"/>
                <a:gd name="T95" fmla="*/ 558 h 595"/>
                <a:gd name="T96" fmla="*/ 196 w 283"/>
                <a:gd name="T97" fmla="*/ 558 h 595"/>
                <a:gd name="T98" fmla="*/ 196 w 283"/>
                <a:gd name="T99" fmla="*/ 529 h 595"/>
                <a:gd name="T100" fmla="*/ 233 w 283"/>
                <a:gd name="T101" fmla="*/ 49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3" h="595">
                  <a:moveTo>
                    <a:pt x="233" y="490"/>
                  </a:moveTo>
                  <a:lnTo>
                    <a:pt x="248" y="490"/>
                  </a:lnTo>
                  <a:lnTo>
                    <a:pt x="283" y="456"/>
                  </a:lnTo>
                  <a:lnTo>
                    <a:pt x="283" y="417"/>
                  </a:lnTo>
                  <a:lnTo>
                    <a:pt x="253" y="387"/>
                  </a:lnTo>
                  <a:lnTo>
                    <a:pt x="253" y="356"/>
                  </a:lnTo>
                  <a:lnTo>
                    <a:pt x="253" y="315"/>
                  </a:lnTo>
                  <a:lnTo>
                    <a:pt x="237" y="299"/>
                  </a:lnTo>
                  <a:lnTo>
                    <a:pt x="237" y="237"/>
                  </a:lnTo>
                  <a:lnTo>
                    <a:pt x="237" y="189"/>
                  </a:lnTo>
                  <a:lnTo>
                    <a:pt x="221" y="173"/>
                  </a:lnTo>
                  <a:lnTo>
                    <a:pt x="251" y="142"/>
                  </a:lnTo>
                  <a:lnTo>
                    <a:pt x="251" y="112"/>
                  </a:lnTo>
                  <a:lnTo>
                    <a:pt x="223" y="84"/>
                  </a:lnTo>
                  <a:lnTo>
                    <a:pt x="205" y="66"/>
                  </a:lnTo>
                  <a:lnTo>
                    <a:pt x="203" y="35"/>
                  </a:lnTo>
                  <a:lnTo>
                    <a:pt x="203" y="0"/>
                  </a:lnTo>
                  <a:lnTo>
                    <a:pt x="171" y="0"/>
                  </a:lnTo>
                  <a:lnTo>
                    <a:pt x="126" y="0"/>
                  </a:lnTo>
                  <a:lnTo>
                    <a:pt x="126" y="25"/>
                  </a:lnTo>
                  <a:lnTo>
                    <a:pt x="105" y="44"/>
                  </a:lnTo>
                  <a:lnTo>
                    <a:pt x="78" y="44"/>
                  </a:lnTo>
                  <a:lnTo>
                    <a:pt x="55" y="66"/>
                  </a:lnTo>
                  <a:lnTo>
                    <a:pt x="21" y="32"/>
                  </a:lnTo>
                  <a:lnTo>
                    <a:pt x="0" y="53"/>
                  </a:lnTo>
                  <a:lnTo>
                    <a:pt x="21" y="75"/>
                  </a:lnTo>
                  <a:lnTo>
                    <a:pt x="51" y="105"/>
                  </a:lnTo>
                  <a:lnTo>
                    <a:pt x="66" y="105"/>
                  </a:lnTo>
                  <a:lnTo>
                    <a:pt x="66" y="144"/>
                  </a:lnTo>
                  <a:lnTo>
                    <a:pt x="66" y="205"/>
                  </a:lnTo>
                  <a:lnTo>
                    <a:pt x="78" y="217"/>
                  </a:lnTo>
                  <a:lnTo>
                    <a:pt x="78" y="253"/>
                  </a:lnTo>
                  <a:lnTo>
                    <a:pt x="82" y="253"/>
                  </a:lnTo>
                  <a:lnTo>
                    <a:pt x="114" y="285"/>
                  </a:lnTo>
                  <a:lnTo>
                    <a:pt x="114" y="317"/>
                  </a:lnTo>
                  <a:lnTo>
                    <a:pt x="98" y="317"/>
                  </a:lnTo>
                  <a:lnTo>
                    <a:pt x="98" y="335"/>
                  </a:lnTo>
                  <a:lnTo>
                    <a:pt x="18" y="413"/>
                  </a:lnTo>
                  <a:lnTo>
                    <a:pt x="18" y="428"/>
                  </a:lnTo>
                  <a:lnTo>
                    <a:pt x="0" y="445"/>
                  </a:lnTo>
                  <a:lnTo>
                    <a:pt x="0" y="474"/>
                  </a:lnTo>
                  <a:lnTo>
                    <a:pt x="23" y="497"/>
                  </a:lnTo>
                  <a:lnTo>
                    <a:pt x="7" y="513"/>
                  </a:lnTo>
                  <a:lnTo>
                    <a:pt x="7" y="545"/>
                  </a:lnTo>
                  <a:lnTo>
                    <a:pt x="57" y="595"/>
                  </a:lnTo>
                  <a:lnTo>
                    <a:pt x="71" y="583"/>
                  </a:lnTo>
                  <a:lnTo>
                    <a:pt x="92" y="583"/>
                  </a:lnTo>
                  <a:lnTo>
                    <a:pt x="117" y="558"/>
                  </a:lnTo>
                  <a:lnTo>
                    <a:pt x="196" y="558"/>
                  </a:lnTo>
                  <a:lnTo>
                    <a:pt x="196" y="529"/>
                  </a:lnTo>
                  <a:lnTo>
                    <a:pt x="233" y="49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244">
              <a:extLst>
                <a:ext uri="{FF2B5EF4-FFF2-40B4-BE49-F238E27FC236}">
                  <a16:creationId xmlns:a16="http://schemas.microsoft.com/office/drawing/2014/main" id="{0D72A1B8-058E-47C4-8588-B30F3932C31C}"/>
                </a:ext>
              </a:extLst>
            </p:cNvPr>
            <p:cNvSpPr>
              <a:spLocks/>
            </p:cNvSpPr>
            <p:nvPr/>
          </p:nvSpPr>
          <p:spPr bwMode="auto">
            <a:xfrm>
              <a:off x="4587876" y="2378075"/>
              <a:ext cx="25400" cy="55563"/>
            </a:xfrm>
            <a:custGeom>
              <a:avLst/>
              <a:gdLst>
                <a:gd name="T0" fmla="*/ 0 w 33"/>
                <a:gd name="T1" fmla="*/ 21 h 69"/>
                <a:gd name="T2" fmla="*/ 20 w 33"/>
                <a:gd name="T3" fmla="*/ 69 h 69"/>
                <a:gd name="T4" fmla="*/ 20 w 33"/>
                <a:gd name="T5" fmla="*/ 55 h 69"/>
                <a:gd name="T6" fmla="*/ 33 w 33"/>
                <a:gd name="T7" fmla="*/ 43 h 69"/>
                <a:gd name="T8" fmla="*/ 22 w 33"/>
                <a:gd name="T9" fmla="*/ 30 h 69"/>
                <a:gd name="T10" fmla="*/ 22 w 33"/>
                <a:gd name="T11" fmla="*/ 0 h 69"/>
                <a:gd name="T12" fmla="*/ 0 w 33"/>
                <a:gd name="T13" fmla="*/ 21 h 69"/>
              </a:gdLst>
              <a:ahLst/>
              <a:cxnLst>
                <a:cxn ang="0">
                  <a:pos x="T0" y="T1"/>
                </a:cxn>
                <a:cxn ang="0">
                  <a:pos x="T2" y="T3"/>
                </a:cxn>
                <a:cxn ang="0">
                  <a:pos x="T4" y="T5"/>
                </a:cxn>
                <a:cxn ang="0">
                  <a:pos x="T6" y="T7"/>
                </a:cxn>
                <a:cxn ang="0">
                  <a:pos x="T8" y="T9"/>
                </a:cxn>
                <a:cxn ang="0">
                  <a:pos x="T10" y="T11"/>
                </a:cxn>
                <a:cxn ang="0">
                  <a:pos x="T12" y="T13"/>
                </a:cxn>
              </a:cxnLst>
              <a:rect l="0" t="0" r="r" b="b"/>
              <a:pathLst>
                <a:path w="33" h="69">
                  <a:moveTo>
                    <a:pt x="0" y="21"/>
                  </a:moveTo>
                  <a:lnTo>
                    <a:pt x="20" y="69"/>
                  </a:lnTo>
                  <a:lnTo>
                    <a:pt x="20" y="55"/>
                  </a:lnTo>
                  <a:lnTo>
                    <a:pt x="33" y="43"/>
                  </a:lnTo>
                  <a:lnTo>
                    <a:pt x="22" y="30"/>
                  </a:lnTo>
                  <a:lnTo>
                    <a:pt x="22" y="0"/>
                  </a:lnTo>
                  <a:lnTo>
                    <a:pt x="0" y="2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45">
              <a:extLst>
                <a:ext uri="{FF2B5EF4-FFF2-40B4-BE49-F238E27FC236}">
                  <a16:creationId xmlns:a16="http://schemas.microsoft.com/office/drawing/2014/main" id="{866EFE99-E5AE-4679-B5B9-62BCDCE5BE88}"/>
                </a:ext>
              </a:extLst>
            </p:cNvPr>
            <p:cNvSpPr>
              <a:spLocks/>
            </p:cNvSpPr>
            <p:nvPr/>
          </p:nvSpPr>
          <p:spPr bwMode="auto">
            <a:xfrm>
              <a:off x="4562476" y="2405063"/>
              <a:ext cx="12700" cy="14288"/>
            </a:xfrm>
            <a:custGeom>
              <a:avLst/>
              <a:gdLst>
                <a:gd name="T0" fmla="*/ 16 w 16"/>
                <a:gd name="T1" fmla="*/ 0 h 20"/>
                <a:gd name="T2" fmla="*/ 0 w 16"/>
                <a:gd name="T3" fmla="*/ 0 h 20"/>
                <a:gd name="T4" fmla="*/ 16 w 16"/>
                <a:gd name="T5" fmla="*/ 20 h 20"/>
                <a:gd name="T6" fmla="*/ 16 w 16"/>
                <a:gd name="T7" fmla="*/ 0 h 20"/>
              </a:gdLst>
              <a:ahLst/>
              <a:cxnLst>
                <a:cxn ang="0">
                  <a:pos x="T0" y="T1"/>
                </a:cxn>
                <a:cxn ang="0">
                  <a:pos x="T2" y="T3"/>
                </a:cxn>
                <a:cxn ang="0">
                  <a:pos x="T4" y="T5"/>
                </a:cxn>
                <a:cxn ang="0">
                  <a:pos x="T6" y="T7"/>
                </a:cxn>
              </a:cxnLst>
              <a:rect l="0" t="0" r="r" b="b"/>
              <a:pathLst>
                <a:path w="16" h="20">
                  <a:moveTo>
                    <a:pt x="16" y="0"/>
                  </a:moveTo>
                  <a:lnTo>
                    <a:pt x="0" y="0"/>
                  </a:lnTo>
                  <a:lnTo>
                    <a:pt x="16" y="20"/>
                  </a:lnTo>
                  <a:lnTo>
                    <a:pt x="16"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46">
              <a:extLst>
                <a:ext uri="{FF2B5EF4-FFF2-40B4-BE49-F238E27FC236}">
                  <a16:creationId xmlns:a16="http://schemas.microsoft.com/office/drawing/2014/main" id="{2110E256-187F-4754-9BAD-35F891C2DEF8}"/>
                </a:ext>
              </a:extLst>
            </p:cNvPr>
            <p:cNvSpPr>
              <a:spLocks/>
            </p:cNvSpPr>
            <p:nvPr/>
          </p:nvSpPr>
          <p:spPr bwMode="auto">
            <a:xfrm>
              <a:off x="4525963" y="2322513"/>
              <a:ext cx="53975" cy="103188"/>
            </a:xfrm>
            <a:custGeom>
              <a:avLst/>
              <a:gdLst>
                <a:gd name="T0" fmla="*/ 32 w 68"/>
                <a:gd name="T1" fmla="*/ 128 h 130"/>
                <a:gd name="T2" fmla="*/ 32 w 68"/>
                <a:gd name="T3" fmla="*/ 96 h 130"/>
                <a:gd name="T4" fmla="*/ 68 w 68"/>
                <a:gd name="T5" fmla="*/ 62 h 130"/>
                <a:gd name="T6" fmla="*/ 48 w 68"/>
                <a:gd name="T7" fmla="*/ 62 h 130"/>
                <a:gd name="T8" fmla="*/ 48 w 68"/>
                <a:gd name="T9" fmla="*/ 0 h 130"/>
                <a:gd name="T10" fmla="*/ 12 w 68"/>
                <a:gd name="T11" fmla="*/ 33 h 130"/>
                <a:gd name="T12" fmla="*/ 0 w 68"/>
                <a:gd name="T13" fmla="*/ 33 h 130"/>
                <a:gd name="T14" fmla="*/ 0 w 68"/>
                <a:gd name="T15" fmla="*/ 101 h 130"/>
                <a:gd name="T16" fmla="*/ 7 w 68"/>
                <a:gd name="T17" fmla="*/ 110 h 130"/>
                <a:gd name="T18" fmla="*/ 7 w 68"/>
                <a:gd name="T19" fmla="*/ 130 h 130"/>
                <a:gd name="T20" fmla="*/ 35 w 68"/>
                <a:gd name="T21" fmla="*/ 130 h 130"/>
                <a:gd name="T22" fmla="*/ 32 w 68"/>
                <a:gd name="T23"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130">
                  <a:moveTo>
                    <a:pt x="32" y="128"/>
                  </a:moveTo>
                  <a:lnTo>
                    <a:pt x="32" y="96"/>
                  </a:lnTo>
                  <a:lnTo>
                    <a:pt x="68" y="62"/>
                  </a:lnTo>
                  <a:lnTo>
                    <a:pt x="48" y="62"/>
                  </a:lnTo>
                  <a:lnTo>
                    <a:pt x="48" y="0"/>
                  </a:lnTo>
                  <a:lnTo>
                    <a:pt x="12" y="33"/>
                  </a:lnTo>
                  <a:lnTo>
                    <a:pt x="0" y="33"/>
                  </a:lnTo>
                  <a:lnTo>
                    <a:pt x="0" y="101"/>
                  </a:lnTo>
                  <a:lnTo>
                    <a:pt x="7" y="110"/>
                  </a:lnTo>
                  <a:lnTo>
                    <a:pt x="7" y="130"/>
                  </a:lnTo>
                  <a:lnTo>
                    <a:pt x="35" y="130"/>
                  </a:lnTo>
                  <a:lnTo>
                    <a:pt x="32" y="12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47">
              <a:extLst>
                <a:ext uri="{FF2B5EF4-FFF2-40B4-BE49-F238E27FC236}">
                  <a16:creationId xmlns:a16="http://schemas.microsoft.com/office/drawing/2014/main" id="{BFFDF302-3766-475C-B6AC-CE6B585164E7}"/>
                </a:ext>
              </a:extLst>
            </p:cNvPr>
            <p:cNvSpPr>
              <a:spLocks/>
            </p:cNvSpPr>
            <p:nvPr/>
          </p:nvSpPr>
          <p:spPr bwMode="auto">
            <a:xfrm>
              <a:off x="4400551" y="2552700"/>
              <a:ext cx="82550" cy="55563"/>
            </a:xfrm>
            <a:custGeom>
              <a:avLst/>
              <a:gdLst>
                <a:gd name="T0" fmla="*/ 30 w 104"/>
                <a:gd name="T1" fmla="*/ 34 h 70"/>
                <a:gd name="T2" fmla="*/ 50 w 104"/>
                <a:gd name="T3" fmla="*/ 34 h 70"/>
                <a:gd name="T4" fmla="*/ 86 w 104"/>
                <a:gd name="T5" fmla="*/ 70 h 70"/>
                <a:gd name="T6" fmla="*/ 86 w 104"/>
                <a:gd name="T7" fmla="*/ 55 h 70"/>
                <a:gd name="T8" fmla="*/ 104 w 104"/>
                <a:gd name="T9" fmla="*/ 55 h 70"/>
                <a:gd name="T10" fmla="*/ 104 w 104"/>
                <a:gd name="T11" fmla="*/ 52 h 70"/>
                <a:gd name="T12" fmla="*/ 104 w 104"/>
                <a:gd name="T13" fmla="*/ 27 h 70"/>
                <a:gd name="T14" fmla="*/ 91 w 104"/>
                <a:gd name="T15" fmla="*/ 18 h 70"/>
                <a:gd name="T16" fmla="*/ 77 w 104"/>
                <a:gd name="T17" fmla="*/ 18 h 70"/>
                <a:gd name="T18" fmla="*/ 77 w 104"/>
                <a:gd name="T19" fmla="*/ 0 h 70"/>
                <a:gd name="T20" fmla="*/ 45 w 104"/>
                <a:gd name="T21" fmla="*/ 0 h 70"/>
                <a:gd name="T22" fmla="*/ 32 w 104"/>
                <a:gd name="T23" fmla="*/ 0 h 70"/>
                <a:gd name="T24" fmla="*/ 18 w 104"/>
                <a:gd name="T25" fmla="*/ 0 h 70"/>
                <a:gd name="T26" fmla="*/ 0 w 104"/>
                <a:gd name="T27" fmla="*/ 16 h 70"/>
                <a:gd name="T28" fmla="*/ 30 w 104"/>
                <a:gd name="T29" fmla="*/ 16 h 70"/>
                <a:gd name="T30" fmla="*/ 30 w 104"/>
                <a:gd name="T31"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70">
                  <a:moveTo>
                    <a:pt x="30" y="34"/>
                  </a:moveTo>
                  <a:lnTo>
                    <a:pt x="50" y="34"/>
                  </a:lnTo>
                  <a:lnTo>
                    <a:pt x="86" y="70"/>
                  </a:lnTo>
                  <a:lnTo>
                    <a:pt x="86" y="55"/>
                  </a:lnTo>
                  <a:lnTo>
                    <a:pt x="104" y="55"/>
                  </a:lnTo>
                  <a:lnTo>
                    <a:pt x="104" y="52"/>
                  </a:lnTo>
                  <a:lnTo>
                    <a:pt x="104" y="27"/>
                  </a:lnTo>
                  <a:lnTo>
                    <a:pt x="91" y="18"/>
                  </a:lnTo>
                  <a:lnTo>
                    <a:pt x="77" y="18"/>
                  </a:lnTo>
                  <a:lnTo>
                    <a:pt x="77" y="0"/>
                  </a:lnTo>
                  <a:lnTo>
                    <a:pt x="45" y="0"/>
                  </a:lnTo>
                  <a:lnTo>
                    <a:pt x="32" y="0"/>
                  </a:lnTo>
                  <a:lnTo>
                    <a:pt x="18" y="0"/>
                  </a:lnTo>
                  <a:lnTo>
                    <a:pt x="0" y="16"/>
                  </a:lnTo>
                  <a:lnTo>
                    <a:pt x="30" y="16"/>
                  </a:lnTo>
                  <a:lnTo>
                    <a:pt x="30" y="3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248">
              <a:extLst>
                <a:ext uri="{FF2B5EF4-FFF2-40B4-BE49-F238E27FC236}">
                  <a16:creationId xmlns:a16="http://schemas.microsoft.com/office/drawing/2014/main" id="{8D87EDAC-00DF-450E-B517-62F929BE0E1A}"/>
                </a:ext>
              </a:extLst>
            </p:cNvPr>
            <p:cNvSpPr>
              <a:spLocks/>
            </p:cNvSpPr>
            <p:nvPr/>
          </p:nvSpPr>
          <p:spPr bwMode="auto">
            <a:xfrm>
              <a:off x="6330951" y="3665538"/>
              <a:ext cx="217488" cy="227013"/>
            </a:xfrm>
            <a:custGeom>
              <a:avLst/>
              <a:gdLst>
                <a:gd name="T0" fmla="*/ 273 w 273"/>
                <a:gd name="T1" fmla="*/ 228 h 287"/>
                <a:gd name="T2" fmla="*/ 227 w 273"/>
                <a:gd name="T3" fmla="*/ 180 h 287"/>
                <a:gd name="T4" fmla="*/ 227 w 273"/>
                <a:gd name="T5" fmla="*/ 166 h 287"/>
                <a:gd name="T6" fmla="*/ 206 w 273"/>
                <a:gd name="T7" fmla="*/ 166 h 287"/>
                <a:gd name="T8" fmla="*/ 206 w 273"/>
                <a:gd name="T9" fmla="*/ 146 h 287"/>
                <a:gd name="T10" fmla="*/ 140 w 273"/>
                <a:gd name="T11" fmla="*/ 82 h 287"/>
                <a:gd name="T12" fmla="*/ 131 w 273"/>
                <a:gd name="T13" fmla="*/ 91 h 287"/>
                <a:gd name="T14" fmla="*/ 90 w 273"/>
                <a:gd name="T15" fmla="*/ 52 h 287"/>
                <a:gd name="T16" fmla="*/ 77 w 273"/>
                <a:gd name="T17" fmla="*/ 52 h 287"/>
                <a:gd name="T18" fmla="*/ 56 w 273"/>
                <a:gd name="T19" fmla="*/ 31 h 287"/>
                <a:gd name="T20" fmla="*/ 56 w 273"/>
                <a:gd name="T21" fmla="*/ 9 h 287"/>
                <a:gd name="T22" fmla="*/ 24 w 273"/>
                <a:gd name="T23" fmla="*/ 9 h 287"/>
                <a:gd name="T24" fmla="*/ 13 w 273"/>
                <a:gd name="T25" fmla="*/ 0 h 287"/>
                <a:gd name="T26" fmla="*/ 0 w 273"/>
                <a:gd name="T27" fmla="*/ 0 h 287"/>
                <a:gd name="T28" fmla="*/ 0 w 273"/>
                <a:gd name="T29" fmla="*/ 36 h 287"/>
                <a:gd name="T30" fmla="*/ 22 w 273"/>
                <a:gd name="T31" fmla="*/ 36 h 287"/>
                <a:gd name="T32" fmla="*/ 50 w 273"/>
                <a:gd name="T33" fmla="*/ 64 h 287"/>
                <a:gd name="T34" fmla="*/ 50 w 273"/>
                <a:gd name="T35" fmla="*/ 84 h 287"/>
                <a:gd name="T36" fmla="*/ 70 w 273"/>
                <a:gd name="T37" fmla="*/ 84 h 287"/>
                <a:gd name="T38" fmla="*/ 97 w 273"/>
                <a:gd name="T39" fmla="*/ 111 h 287"/>
                <a:gd name="T40" fmla="*/ 97 w 273"/>
                <a:gd name="T41" fmla="*/ 154 h 287"/>
                <a:gd name="T42" fmla="*/ 140 w 273"/>
                <a:gd name="T43" fmla="*/ 196 h 287"/>
                <a:gd name="T44" fmla="*/ 132 w 273"/>
                <a:gd name="T45" fmla="*/ 203 h 287"/>
                <a:gd name="T46" fmla="*/ 163 w 273"/>
                <a:gd name="T47" fmla="*/ 234 h 287"/>
                <a:gd name="T48" fmla="*/ 182 w 273"/>
                <a:gd name="T49" fmla="*/ 234 h 287"/>
                <a:gd name="T50" fmla="*/ 234 w 273"/>
                <a:gd name="T51" fmla="*/ 287 h 287"/>
                <a:gd name="T52" fmla="*/ 273 w 273"/>
                <a:gd name="T53" fmla="*/ 287 h 287"/>
                <a:gd name="T54" fmla="*/ 273 w 273"/>
                <a:gd name="T5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287">
                  <a:moveTo>
                    <a:pt x="273" y="228"/>
                  </a:moveTo>
                  <a:lnTo>
                    <a:pt x="227" y="180"/>
                  </a:lnTo>
                  <a:lnTo>
                    <a:pt x="227" y="166"/>
                  </a:lnTo>
                  <a:lnTo>
                    <a:pt x="206" y="166"/>
                  </a:lnTo>
                  <a:lnTo>
                    <a:pt x="206" y="146"/>
                  </a:lnTo>
                  <a:lnTo>
                    <a:pt x="140" y="82"/>
                  </a:lnTo>
                  <a:lnTo>
                    <a:pt x="131" y="91"/>
                  </a:lnTo>
                  <a:lnTo>
                    <a:pt x="90" y="52"/>
                  </a:lnTo>
                  <a:lnTo>
                    <a:pt x="77" y="52"/>
                  </a:lnTo>
                  <a:lnTo>
                    <a:pt x="56" y="31"/>
                  </a:lnTo>
                  <a:lnTo>
                    <a:pt x="56" y="9"/>
                  </a:lnTo>
                  <a:lnTo>
                    <a:pt x="24" y="9"/>
                  </a:lnTo>
                  <a:lnTo>
                    <a:pt x="13" y="0"/>
                  </a:lnTo>
                  <a:lnTo>
                    <a:pt x="0" y="0"/>
                  </a:lnTo>
                  <a:lnTo>
                    <a:pt x="0" y="36"/>
                  </a:lnTo>
                  <a:lnTo>
                    <a:pt x="22" y="36"/>
                  </a:lnTo>
                  <a:lnTo>
                    <a:pt x="50" y="64"/>
                  </a:lnTo>
                  <a:lnTo>
                    <a:pt x="50" y="84"/>
                  </a:lnTo>
                  <a:lnTo>
                    <a:pt x="70" y="84"/>
                  </a:lnTo>
                  <a:lnTo>
                    <a:pt x="97" y="111"/>
                  </a:lnTo>
                  <a:lnTo>
                    <a:pt x="97" y="154"/>
                  </a:lnTo>
                  <a:lnTo>
                    <a:pt x="140" y="196"/>
                  </a:lnTo>
                  <a:lnTo>
                    <a:pt x="132" y="203"/>
                  </a:lnTo>
                  <a:lnTo>
                    <a:pt x="163" y="234"/>
                  </a:lnTo>
                  <a:lnTo>
                    <a:pt x="182" y="234"/>
                  </a:lnTo>
                  <a:lnTo>
                    <a:pt x="234" y="287"/>
                  </a:lnTo>
                  <a:lnTo>
                    <a:pt x="273" y="287"/>
                  </a:lnTo>
                  <a:lnTo>
                    <a:pt x="273" y="22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249">
              <a:extLst>
                <a:ext uri="{FF2B5EF4-FFF2-40B4-BE49-F238E27FC236}">
                  <a16:creationId xmlns:a16="http://schemas.microsoft.com/office/drawing/2014/main" id="{EDA2B3D8-06F5-45B1-AF4A-5F28B5B6B981}"/>
                </a:ext>
              </a:extLst>
            </p:cNvPr>
            <p:cNvSpPr>
              <a:spLocks/>
            </p:cNvSpPr>
            <p:nvPr/>
          </p:nvSpPr>
          <p:spPr bwMode="auto">
            <a:xfrm>
              <a:off x="6538913" y="3900488"/>
              <a:ext cx="271463" cy="65088"/>
            </a:xfrm>
            <a:custGeom>
              <a:avLst/>
              <a:gdLst>
                <a:gd name="T0" fmla="*/ 208 w 340"/>
                <a:gd name="T1" fmla="*/ 80 h 80"/>
                <a:gd name="T2" fmla="*/ 340 w 340"/>
                <a:gd name="T3" fmla="*/ 80 h 80"/>
                <a:gd name="T4" fmla="*/ 340 w 340"/>
                <a:gd name="T5" fmla="*/ 64 h 80"/>
                <a:gd name="T6" fmla="*/ 258 w 340"/>
                <a:gd name="T7" fmla="*/ 64 h 80"/>
                <a:gd name="T8" fmla="*/ 244 w 340"/>
                <a:gd name="T9" fmla="*/ 50 h 80"/>
                <a:gd name="T10" fmla="*/ 192 w 340"/>
                <a:gd name="T11" fmla="*/ 50 h 80"/>
                <a:gd name="T12" fmla="*/ 192 w 340"/>
                <a:gd name="T13" fmla="*/ 34 h 80"/>
                <a:gd name="T14" fmla="*/ 205 w 340"/>
                <a:gd name="T15" fmla="*/ 21 h 80"/>
                <a:gd name="T16" fmla="*/ 144 w 340"/>
                <a:gd name="T17" fmla="*/ 21 h 80"/>
                <a:gd name="T18" fmla="*/ 132 w 340"/>
                <a:gd name="T19" fmla="*/ 9 h 80"/>
                <a:gd name="T20" fmla="*/ 121 w 340"/>
                <a:gd name="T21" fmla="*/ 18 h 80"/>
                <a:gd name="T22" fmla="*/ 85 w 340"/>
                <a:gd name="T23" fmla="*/ 18 h 80"/>
                <a:gd name="T24" fmla="*/ 67 w 340"/>
                <a:gd name="T25" fmla="*/ 0 h 80"/>
                <a:gd name="T26" fmla="*/ 23 w 340"/>
                <a:gd name="T27" fmla="*/ 0 h 80"/>
                <a:gd name="T28" fmla="*/ 0 w 340"/>
                <a:gd name="T29" fmla="*/ 12 h 80"/>
                <a:gd name="T30" fmla="*/ 41 w 340"/>
                <a:gd name="T31" fmla="*/ 53 h 80"/>
                <a:gd name="T32" fmla="*/ 74 w 340"/>
                <a:gd name="T33" fmla="*/ 53 h 80"/>
                <a:gd name="T34" fmla="*/ 74 w 340"/>
                <a:gd name="T35" fmla="*/ 39 h 80"/>
                <a:gd name="T36" fmla="*/ 99 w 340"/>
                <a:gd name="T37" fmla="*/ 39 h 80"/>
                <a:gd name="T38" fmla="*/ 123 w 340"/>
                <a:gd name="T39" fmla="*/ 61 h 80"/>
                <a:gd name="T40" fmla="*/ 189 w 340"/>
                <a:gd name="T41" fmla="*/ 61 h 80"/>
                <a:gd name="T42" fmla="*/ 208 w 340"/>
                <a:gd name="T4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0" h="80">
                  <a:moveTo>
                    <a:pt x="208" y="80"/>
                  </a:moveTo>
                  <a:lnTo>
                    <a:pt x="340" y="80"/>
                  </a:lnTo>
                  <a:lnTo>
                    <a:pt x="340" y="64"/>
                  </a:lnTo>
                  <a:lnTo>
                    <a:pt x="258" y="64"/>
                  </a:lnTo>
                  <a:lnTo>
                    <a:pt x="244" y="50"/>
                  </a:lnTo>
                  <a:lnTo>
                    <a:pt x="192" y="50"/>
                  </a:lnTo>
                  <a:lnTo>
                    <a:pt x="192" y="34"/>
                  </a:lnTo>
                  <a:lnTo>
                    <a:pt x="205" y="21"/>
                  </a:lnTo>
                  <a:lnTo>
                    <a:pt x="144" y="21"/>
                  </a:lnTo>
                  <a:lnTo>
                    <a:pt x="132" y="9"/>
                  </a:lnTo>
                  <a:lnTo>
                    <a:pt x="121" y="18"/>
                  </a:lnTo>
                  <a:lnTo>
                    <a:pt x="85" y="18"/>
                  </a:lnTo>
                  <a:lnTo>
                    <a:pt x="67" y="0"/>
                  </a:lnTo>
                  <a:lnTo>
                    <a:pt x="23" y="0"/>
                  </a:lnTo>
                  <a:lnTo>
                    <a:pt x="0" y="12"/>
                  </a:lnTo>
                  <a:lnTo>
                    <a:pt x="41" y="53"/>
                  </a:lnTo>
                  <a:lnTo>
                    <a:pt x="74" y="53"/>
                  </a:lnTo>
                  <a:lnTo>
                    <a:pt x="74" y="39"/>
                  </a:lnTo>
                  <a:lnTo>
                    <a:pt x="99" y="39"/>
                  </a:lnTo>
                  <a:lnTo>
                    <a:pt x="123" y="61"/>
                  </a:lnTo>
                  <a:lnTo>
                    <a:pt x="189" y="61"/>
                  </a:lnTo>
                  <a:lnTo>
                    <a:pt x="208" y="8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250">
              <a:extLst>
                <a:ext uri="{FF2B5EF4-FFF2-40B4-BE49-F238E27FC236}">
                  <a16:creationId xmlns:a16="http://schemas.microsoft.com/office/drawing/2014/main" id="{8843B6DA-8528-4B79-8C3D-D3D3E301C92A}"/>
                </a:ext>
              </a:extLst>
            </p:cNvPr>
            <p:cNvSpPr>
              <a:spLocks/>
            </p:cNvSpPr>
            <p:nvPr/>
          </p:nvSpPr>
          <p:spPr bwMode="auto">
            <a:xfrm>
              <a:off x="7061201" y="2857500"/>
              <a:ext cx="234950" cy="190500"/>
            </a:xfrm>
            <a:custGeom>
              <a:avLst/>
              <a:gdLst>
                <a:gd name="T0" fmla="*/ 126 w 296"/>
                <a:gd name="T1" fmla="*/ 159 h 241"/>
                <a:gd name="T2" fmla="*/ 126 w 296"/>
                <a:gd name="T3" fmla="*/ 184 h 241"/>
                <a:gd name="T4" fmla="*/ 48 w 296"/>
                <a:gd name="T5" fmla="*/ 184 h 241"/>
                <a:gd name="T6" fmla="*/ 0 w 296"/>
                <a:gd name="T7" fmla="*/ 232 h 241"/>
                <a:gd name="T8" fmla="*/ 30 w 296"/>
                <a:gd name="T9" fmla="*/ 232 h 241"/>
                <a:gd name="T10" fmla="*/ 30 w 296"/>
                <a:gd name="T11" fmla="*/ 216 h 241"/>
                <a:gd name="T12" fmla="*/ 69 w 296"/>
                <a:gd name="T13" fmla="*/ 216 h 241"/>
                <a:gd name="T14" fmla="*/ 80 w 296"/>
                <a:gd name="T15" fmla="*/ 205 h 241"/>
                <a:gd name="T16" fmla="*/ 110 w 296"/>
                <a:gd name="T17" fmla="*/ 205 h 241"/>
                <a:gd name="T18" fmla="*/ 110 w 296"/>
                <a:gd name="T19" fmla="*/ 225 h 241"/>
                <a:gd name="T20" fmla="*/ 124 w 296"/>
                <a:gd name="T21" fmla="*/ 241 h 241"/>
                <a:gd name="T22" fmla="*/ 149 w 296"/>
                <a:gd name="T23" fmla="*/ 216 h 241"/>
                <a:gd name="T24" fmla="*/ 149 w 296"/>
                <a:gd name="T25" fmla="*/ 196 h 241"/>
                <a:gd name="T26" fmla="*/ 242 w 296"/>
                <a:gd name="T27" fmla="*/ 196 h 241"/>
                <a:gd name="T28" fmla="*/ 242 w 296"/>
                <a:gd name="T29" fmla="*/ 155 h 241"/>
                <a:gd name="T30" fmla="*/ 265 w 296"/>
                <a:gd name="T31" fmla="*/ 132 h 241"/>
                <a:gd name="T32" fmla="*/ 265 w 296"/>
                <a:gd name="T33" fmla="*/ 102 h 241"/>
                <a:gd name="T34" fmla="*/ 280 w 296"/>
                <a:gd name="T35" fmla="*/ 88 h 241"/>
                <a:gd name="T36" fmla="*/ 269 w 296"/>
                <a:gd name="T37" fmla="*/ 75 h 241"/>
                <a:gd name="T38" fmla="*/ 296 w 296"/>
                <a:gd name="T39" fmla="*/ 49 h 241"/>
                <a:gd name="T40" fmla="*/ 269 w 296"/>
                <a:gd name="T41" fmla="*/ 24 h 241"/>
                <a:gd name="T42" fmla="*/ 269 w 296"/>
                <a:gd name="T43" fmla="*/ 0 h 241"/>
                <a:gd name="T44" fmla="*/ 242 w 296"/>
                <a:gd name="T45" fmla="*/ 0 h 241"/>
                <a:gd name="T46" fmla="*/ 223 w 296"/>
                <a:gd name="T47" fmla="*/ 38 h 241"/>
                <a:gd name="T48" fmla="*/ 223 w 296"/>
                <a:gd name="T49" fmla="*/ 82 h 241"/>
                <a:gd name="T50" fmla="*/ 160 w 296"/>
                <a:gd name="T51" fmla="*/ 143 h 241"/>
                <a:gd name="T52" fmla="*/ 160 w 296"/>
                <a:gd name="T53" fmla="*/ 123 h 241"/>
                <a:gd name="T54" fmla="*/ 126 w 296"/>
                <a:gd name="T55" fmla="*/ 15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6" h="241">
                  <a:moveTo>
                    <a:pt x="126" y="159"/>
                  </a:moveTo>
                  <a:lnTo>
                    <a:pt x="126" y="184"/>
                  </a:lnTo>
                  <a:lnTo>
                    <a:pt x="48" y="184"/>
                  </a:lnTo>
                  <a:lnTo>
                    <a:pt x="0" y="232"/>
                  </a:lnTo>
                  <a:lnTo>
                    <a:pt x="30" y="232"/>
                  </a:lnTo>
                  <a:lnTo>
                    <a:pt x="30" y="216"/>
                  </a:lnTo>
                  <a:lnTo>
                    <a:pt x="69" y="216"/>
                  </a:lnTo>
                  <a:lnTo>
                    <a:pt x="80" y="205"/>
                  </a:lnTo>
                  <a:lnTo>
                    <a:pt x="110" y="205"/>
                  </a:lnTo>
                  <a:lnTo>
                    <a:pt x="110" y="225"/>
                  </a:lnTo>
                  <a:lnTo>
                    <a:pt x="124" y="241"/>
                  </a:lnTo>
                  <a:lnTo>
                    <a:pt x="149" y="216"/>
                  </a:lnTo>
                  <a:lnTo>
                    <a:pt x="149" y="196"/>
                  </a:lnTo>
                  <a:lnTo>
                    <a:pt x="242" y="196"/>
                  </a:lnTo>
                  <a:lnTo>
                    <a:pt x="242" y="155"/>
                  </a:lnTo>
                  <a:lnTo>
                    <a:pt x="265" y="132"/>
                  </a:lnTo>
                  <a:lnTo>
                    <a:pt x="265" y="102"/>
                  </a:lnTo>
                  <a:lnTo>
                    <a:pt x="280" y="88"/>
                  </a:lnTo>
                  <a:lnTo>
                    <a:pt x="269" y="75"/>
                  </a:lnTo>
                  <a:lnTo>
                    <a:pt x="296" y="49"/>
                  </a:lnTo>
                  <a:lnTo>
                    <a:pt x="269" y="24"/>
                  </a:lnTo>
                  <a:lnTo>
                    <a:pt x="269" y="0"/>
                  </a:lnTo>
                  <a:lnTo>
                    <a:pt x="242" y="0"/>
                  </a:lnTo>
                  <a:lnTo>
                    <a:pt x="223" y="38"/>
                  </a:lnTo>
                  <a:lnTo>
                    <a:pt x="223" y="82"/>
                  </a:lnTo>
                  <a:lnTo>
                    <a:pt x="160" y="143"/>
                  </a:lnTo>
                  <a:lnTo>
                    <a:pt x="160" y="123"/>
                  </a:lnTo>
                  <a:lnTo>
                    <a:pt x="126" y="15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251">
              <a:extLst>
                <a:ext uri="{FF2B5EF4-FFF2-40B4-BE49-F238E27FC236}">
                  <a16:creationId xmlns:a16="http://schemas.microsoft.com/office/drawing/2014/main" id="{F247DA94-2E1C-4FBE-992A-F45314AD19BF}"/>
                </a:ext>
              </a:extLst>
            </p:cNvPr>
            <p:cNvSpPr>
              <a:spLocks/>
            </p:cNvSpPr>
            <p:nvPr/>
          </p:nvSpPr>
          <p:spPr bwMode="auto">
            <a:xfrm>
              <a:off x="7237413" y="2730500"/>
              <a:ext cx="130175" cy="104775"/>
            </a:xfrm>
            <a:custGeom>
              <a:avLst/>
              <a:gdLst>
                <a:gd name="T0" fmla="*/ 16 w 164"/>
                <a:gd name="T1" fmla="*/ 132 h 132"/>
                <a:gd name="T2" fmla="*/ 41 w 164"/>
                <a:gd name="T3" fmla="*/ 132 h 132"/>
                <a:gd name="T4" fmla="*/ 28 w 164"/>
                <a:gd name="T5" fmla="*/ 119 h 132"/>
                <a:gd name="T6" fmla="*/ 28 w 164"/>
                <a:gd name="T7" fmla="*/ 103 h 132"/>
                <a:gd name="T8" fmla="*/ 78 w 164"/>
                <a:gd name="T9" fmla="*/ 103 h 132"/>
                <a:gd name="T10" fmla="*/ 91 w 164"/>
                <a:gd name="T11" fmla="*/ 116 h 132"/>
                <a:gd name="T12" fmla="*/ 117 w 164"/>
                <a:gd name="T13" fmla="*/ 89 h 132"/>
                <a:gd name="T14" fmla="*/ 146 w 164"/>
                <a:gd name="T15" fmla="*/ 89 h 132"/>
                <a:gd name="T16" fmla="*/ 164 w 164"/>
                <a:gd name="T17" fmla="*/ 71 h 132"/>
                <a:gd name="T18" fmla="*/ 148 w 164"/>
                <a:gd name="T19" fmla="*/ 55 h 132"/>
                <a:gd name="T20" fmla="*/ 117 w 164"/>
                <a:gd name="T21" fmla="*/ 55 h 132"/>
                <a:gd name="T22" fmla="*/ 62 w 164"/>
                <a:gd name="T23" fmla="*/ 0 h 132"/>
                <a:gd name="T24" fmla="*/ 55 w 164"/>
                <a:gd name="T25" fmla="*/ 9 h 132"/>
                <a:gd name="T26" fmla="*/ 60 w 164"/>
                <a:gd name="T27" fmla="*/ 55 h 132"/>
                <a:gd name="T28" fmla="*/ 0 w 164"/>
                <a:gd name="T29" fmla="*/ 116 h 132"/>
                <a:gd name="T30" fmla="*/ 16 w 164"/>
                <a:gd name="T3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4" h="132">
                  <a:moveTo>
                    <a:pt x="16" y="132"/>
                  </a:moveTo>
                  <a:lnTo>
                    <a:pt x="41" y="132"/>
                  </a:lnTo>
                  <a:lnTo>
                    <a:pt x="28" y="119"/>
                  </a:lnTo>
                  <a:lnTo>
                    <a:pt x="28" y="103"/>
                  </a:lnTo>
                  <a:lnTo>
                    <a:pt x="78" y="103"/>
                  </a:lnTo>
                  <a:lnTo>
                    <a:pt x="91" y="116"/>
                  </a:lnTo>
                  <a:lnTo>
                    <a:pt x="117" y="89"/>
                  </a:lnTo>
                  <a:lnTo>
                    <a:pt x="146" y="89"/>
                  </a:lnTo>
                  <a:lnTo>
                    <a:pt x="164" y="71"/>
                  </a:lnTo>
                  <a:lnTo>
                    <a:pt x="148" y="55"/>
                  </a:lnTo>
                  <a:lnTo>
                    <a:pt x="117" y="55"/>
                  </a:lnTo>
                  <a:lnTo>
                    <a:pt x="62" y="0"/>
                  </a:lnTo>
                  <a:lnTo>
                    <a:pt x="55" y="9"/>
                  </a:lnTo>
                  <a:lnTo>
                    <a:pt x="60" y="55"/>
                  </a:lnTo>
                  <a:lnTo>
                    <a:pt x="0" y="116"/>
                  </a:lnTo>
                  <a:lnTo>
                    <a:pt x="16" y="13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252">
              <a:extLst>
                <a:ext uri="{FF2B5EF4-FFF2-40B4-BE49-F238E27FC236}">
                  <a16:creationId xmlns:a16="http://schemas.microsoft.com/office/drawing/2014/main" id="{D3EE1C1D-C1A6-46D7-955B-94081A9B21BB}"/>
                </a:ext>
              </a:extLst>
            </p:cNvPr>
            <p:cNvSpPr>
              <a:spLocks/>
            </p:cNvSpPr>
            <p:nvPr/>
          </p:nvSpPr>
          <p:spPr bwMode="auto">
            <a:xfrm>
              <a:off x="7027863" y="3052763"/>
              <a:ext cx="57150" cy="47625"/>
            </a:xfrm>
            <a:custGeom>
              <a:avLst/>
              <a:gdLst>
                <a:gd name="T0" fmla="*/ 0 w 71"/>
                <a:gd name="T1" fmla="*/ 0 h 61"/>
                <a:gd name="T2" fmla="*/ 23 w 71"/>
                <a:gd name="T3" fmla="*/ 22 h 61"/>
                <a:gd name="T4" fmla="*/ 23 w 71"/>
                <a:gd name="T5" fmla="*/ 61 h 61"/>
                <a:gd name="T6" fmla="*/ 71 w 71"/>
                <a:gd name="T7" fmla="*/ 13 h 61"/>
                <a:gd name="T8" fmla="*/ 59 w 71"/>
                <a:gd name="T9" fmla="*/ 0 h 61"/>
                <a:gd name="T10" fmla="*/ 23 w 71"/>
                <a:gd name="T11" fmla="*/ 0 h 61"/>
                <a:gd name="T12" fmla="*/ 0 w 71"/>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71" h="61">
                  <a:moveTo>
                    <a:pt x="0" y="0"/>
                  </a:moveTo>
                  <a:lnTo>
                    <a:pt x="23" y="22"/>
                  </a:lnTo>
                  <a:lnTo>
                    <a:pt x="23" y="61"/>
                  </a:lnTo>
                  <a:lnTo>
                    <a:pt x="71" y="13"/>
                  </a:lnTo>
                  <a:lnTo>
                    <a:pt x="59" y="0"/>
                  </a:lnTo>
                  <a:lnTo>
                    <a:pt x="23" y="0"/>
                  </a:lnTo>
                  <a:lnTo>
                    <a:pt x="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253">
              <a:extLst>
                <a:ext uri="{FF2B5EF4-FFF2-40B4-BE49-F238E27FC236}">
                  <a16:creationId xmlns:a16="http://schemas.microsoft.com/office/drawing/2014/main" id="{926FBCE2-0014-483E-A1D3-6A385AC1AC6D}"/>
                </a:ext>
              </a:extLst>
            </p:cNvPr>
            <p:cNvSpPr>
              <a:spLocks/>
            </p:cNvSpPr>
            <p:nvPr/>
          </p:nvSpPr>
          <p:spPr bwMode="auto">
            <a:xfrm>
              <a:off x="7085013" y="3041650"/>
              <a:ext cx="47625" cy="26988"/>
            </a:xfrm>
            <a:custGeom>
              <a:avLst/>
              <a:gdLst>
                <a:gd name="T0" fmla="*/ 61 w 61"/>
                <a:gd name="T1" fmla="*/ 20 h 34"/>
                <a:gd name="T2" fmla="*/ 61 w 61"/>
                <a:gd name="T3" fmla="*/ 0 h 34"/>
                <a:gd name="T4" fmla="*/ 18 w 61"/>
                <a:gd name="T5" fmla="*/ 0 h 34"/>
                <a:gd name="T6" fmla="*/ 0 w 61"/>
                <a:gd name="T7" fmla="*/ 18 h 34"/>
                <a:gd name="T8" fmla="*/ 16 w 61"/>
                <a:gd name="T9" fmla="*/ 34 h 34"/>
                <a:gd name="T10" fmla="*/ 30 w 61"/>
                <a:gd name="T11" fmla="*/ 20 h 34"/>
                <a:gd name="T12" fmla="*/ 61 w 61"/>
                <a:gd name="T13" fmla="*/ 20 h 34"/>
              </a:gdLst>
              <a:ahLst/>
              <a:cxnLst>
                <a:cxn ang="0">
                  <a:pos x="T0" y="T1"/>
                </a:cxn>
                <a:cxn ang="0">
                  <a:pos x="T2" y="T3"/>
                </a:cxn>
                <a:cxn ang="0">
                  <a:pos x="T4" y="T5"/>
                </a:cxn>
                <a:cxn ang="0">
                  <a:pos x="T6" y="T7"/>
                </a:cxn>
                <a:cxn ang="0">
                  <a:pos x="T8" y="T9"/>
                </a:cxn>
                <a:cxn ang="0">
                  <a:pos x="T10" y="T11"/>
                </a:cxn>
                <a:cxn ang="0">
                  <a:pos x="T12" y="T13"/>
                </a:cxn>
              </a:cxnLst>
              <a:rect l="0" t="0" r="r" b="b"/>
              <a:pathLst>
                <a:path w="61" h="34">
                  <a:moveTo>
                    <a:pt x="61" y="20"/>
                  </a:moveTo>
                  <a:lnTo>
                    <a:pt x="61" y="0"/>
                  </a:lnTo>
                  <a:lnTo>
                    <a:pt x="18" y="0"/>
                  </a:lnTo>
                  <a:lnTo>
                    <a:pt x="0" y="18"/>
                  </a:lnTo>
                  <a:lnTo>
                    <a:pt x="16" y="34"/>
                  </a:lnTo>
                  <a:lnTo>
                    <a:pt x="30" y="20"/>
                  </a:lnTo>
                  <a:lnTo>
                    <a:pt x="61" y="2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254">
              <a:extLst>
                <a:ext uri="{FF2B5EF4-FFF2-40B4-BE49-F238E27FC236}">
                  <a16:creationId xmlns:a16="http://schemas.microsoft.com/office/drawing/2014/main" id="{D8817013-3222-434C-B33D-1E19AB7AC358}"/>
                </a:ext>
              </a:extLst>
            </p:cNvPr>
            <p:cNvSpPr>
              <a:spLocks/>
            </p:cNvSpPr>
            <p:nvPr/>
          </p:nvSpPr>
          <p:spPr bwMode="auto">
            <a:xfrm>
              <a:off x="4794251" y="2368550"/>
              <a:ext cx="107950" cy="88900"/>
            </a:xfrm>
            <a:custGeom>
              <a:avLst/>
              <a:gdLst>
                <a:gd name="T0" fmla="*/ 118 w 135"/>
                <a:gd name="T1" fmla="*/ 97 h 113"/>
                <a:gd name="T2" fmla="*/ 118 w 135"/>
                <a:gd name="T3" fmla="*/ 84 h 113"/>
                <a:gd name="T4" fmla="*/ 135 w 135"/>
                <a:gd name="T5" fmla="*/ 66 h 113"/>
                <a:gd name="T6" fmla="*/ 135 w 135"/>
                <a:gd name="T7" fmla="*/ 16 h 113"/>
                <a:gd name="T8" fmla="*/ 94 w 135"/>
                <a:gd name="T9" fmla="*/ 16 h 113"/>
                <a:gd name="T10" fmla="*/ 77 w 135"/>
                <a:gd name="T11" fmla="*/ 0 h 113"/>
                <a:gd name="T12" fmla="*/ 50 w 135"/>
                <a:gd name="T13" fmla="*/ 0 h 113"/>
                <a:gd name="T14" fmla="*/ 0 w 135"/>
                <a:gd name="T15" fmla="*/ 0 h 113"/>
                <a:gd name="T16" fmla="*/ 0 w 135"/>
                <a:gd name="T17" fmla="*/ 50 h 113"/>
                <a:gd name="T18" fmla="*/ 41 w 135"/>
                <a:gd name="T19" fmla="*/ 50 h 113"/>
                <a:gd name="T20" fmla="*/ 52 w 135"/>
                <a:gd name="T21" fmla="*/ 63 h 113"/>
                <a:gd name="T22" fmla="*/ 52 w 135"/>
                <a:gd name="T23" fmla="*/ 93 h 113"/>
                <a:gd name="T24" fmla="*/ 73 w 135"/>
                <a:gd name="T25" fmla="*/ 113 h 113"/>
                <a:gd name="T26" fmla="*/ 89 w 135"/>
                <a:gd name="T27" fmla="*/ 97 h 113"/>
                <a:gd name="T28" fmla="*/ 118 w 135"/>
                <a:gd name="T29" fmla="*/ 9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113">
                  <a:moveTo>
                    <a:pt x="118" y="97"/>
                  </a:moveTo>
                  <a:lnTo>
                    <a:pt x="118" y="84"/>
                  </a:lnTo>
                  <a:lnTo>
                    <a:pt x="135" y="66"/>
                  </a:lnTo>
                  <a:lnTo>
                    <a:pt x="135" y="16"/>
                  </a:lnTo>
                  <a:lnTo>
                    <a:pt x="94" y="16"/>
                  </a:lnTo>
                  <a:lnTo>
                    <a:pt x="77" y="0"/>
                  </a:lnTo>
                  <a:lnTo>
                    <a:pt x="50" y="0"/>
                  </a:lnTo>
                  <a:lnTo>
                    <a:pt x="0" y="0"/>
                  </a:lnTo>
                  <a:lnTo>
                    <a:pt x="0" y="50"/>
                  </a:lnTo>
                  <a:lnTo>
                    <a:pt x="41" y="50"/>
                  </a:lnTo>
                  <a:lnTo>
                    <a:pt x="52" y="63"/>
                  </a:lnTo>
                  <a:lnTo>
                    <a:pt x="52" y="93"/>
                  </a:lnTo>
                  <a:lnTo>
                    <a:pt x="73" y="113"/>
                  </a:lnTo>
                  <a:lnTo>
                    <a:pt x="89" y="97"/>
                  </a:lnTo>
                  <a:lnTo>
                    <a:pt x="118" y="9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255">
              <a:extLst>
                <a:ext uri="{FF2B5EF4-FFF2-40B4-BE49-F238E27FC236}">
                  <a16:creationId xmlns:a16="http://schemas.microsoft.com/office/drawing/2014/main" id="{E8DD48EE-9E20-44F6-881E-DE32E20E98CE}"/>
                </a:ext>
              </a:extLst>
            </p:cNvPr>
            <p:cNvSpPr>
              <a:spLocks/>
            </p:cNvSpPr>
            <p:nvPr/>
          </p:nvSpPr>
          <p:spPr bwMode="auto">
            <a:xfrm>
              <a:off x="4794251" y="2308225"/>
              <a:ext cx="160338" cy="76200"/>
            </a:xfrm>
            <a:custGeom>
              <a:avLst/>
              <a:gdLst>
                <a:gd name="T0" fmla="*/ 167 w 201"/>
                <a:gd name="T1" fmla="*/ 7 h 96"/>
                <a:gd name="T2" fmla="*/ 151 w 201"/>
                <a:gd name="T3" fmla="*/ 23 h 96"/>
                <a:gd name="T4" fmla="*/ 130 w 201"/>
                <a:gd name="T5" fmla="*/ 0 h 96"/>
                <a:gd name="T6" fmla="*/ 80 w 201"/>
                <a:gd name="T7" fmla="*/ 0 h 96"/>
                <a:gd name="T8" fmla="*/ 80 w 201"/>
                <a:gd name="T9" fmla="*/ 46 h 96"/>
                <a:gd name="T10" fmla="*/ 62 w 201"/>
                <a:gd name="T11" fmla="*/ 46 h 96"/>
                <a:gd name="T12" fmla="*/ 35 w 201"/>
                <a:gd name="T13" fmla="*/ 19 h 96"/>
                <a:gd name="T14" fmla="*/ 12 w 201"/>
                <a:gd name="T15" fmla="*/ 19 h 96"/>
                <a:gd name="T16" fmla="*/ 0 w 201"/>
                <a:gd name="T17" fmla="*/ 32 h 96"/>
                <a:gd name="T18" fmla="*/ 0 w 201"/>
                <a:gd name="T19" fmla="*/ 76 h 96"/>
                <a:gd name="T20" fmla="*/ 50 w 201"/>
                <a:gd name="T21" fmla="*/ 76 h 96"/>
                <a:gd name="T22" fmla="*/ 77 w 201"/>
                <a:gd name="T23" fmla="*/ 76 h 96"/>
                <a:gd name="T24" fmla="*/ 94 w 201"/>
                <a:gd name="T25" fmla="*/ 92 h 96"/>
                <a:gd name="T26" fmla="*/ 135 w 201"/>
                <a:gd name="T27" fmla="*/ 92 h 96"/>
                <a:gd name="T28" fmla="*/ 135 w 201"/>
                <a:gd name="T29" fmla="*/ 96 h 96"/>
                <a:gd name="T30" fmla="*/ 160 w 201"/>
                <a:gd name="T31" fmla="*/ 96 h 96"/>
                <a:gd name="T32" fmla="*/ 187 w 201"/>
                <a:gd name="T33" fmla="*/ 96 h 96"/>
                <a:gd name="T34" fmla="*/ 201 w 201"/>
                <a:gd name="T35" fmla="*/ 82 h 96"/>
                <a:gd name="T36" fmla="*/ 201 w 201"/>
                <a:gd name="T37" fmla="*/ 48 h 96"/>
                <a:gd name="T38" fmla="*/ 201 w 201"/>
                <a:gd name="T39" fmla="*/ 14 h 96"/>
                <a:gd name="T40" fmla="*/ 194 w 201"/>
                <a:gd name="T41" fmla="*/ 7 h 96"/>
                <a:gd name="T42" fmla="*/ 167 w 201"/>
                <a:gd name="T43" fmla="*/ 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1" h="96">
                  <a:moveTo>
                    <a:pt x="167" y="7"/>
                  </a:moveTo>
                  <a:lnTo>
                    <a:pt x="151" y="23"/>
                  </a:lnTo>
                  <a:lnTo>
                    <a:pt x="130" y="0"/>
                  </a:lnTo>
                  <a:lnTo>
                    <a:pt x="80" y="0"/>
                  </a:lnTo>
                  <a:lnTo>
                    <a:pt x="80" y="46"/>
                  </a:lnTo>
                  <a:lnTo>
                    <a:pt x="62" y="46"/>
                  </a:lnTo>
                  <a:lnTo>
                    <a:pt x="35" y="19"/>
                  </a:lnTo>
                  <a:lnTo>
                    <a:pt x="12" y="19"/>
                  </a:lnTo>
                  <a:lnTo>
                    <a:pt x="0" y="32"/>
                  </a:lnTo>
                  <a:lnTo>
                    <a:pt x="0" y="76"/>
                  </a:lnTo>
                  <a:lnTo>
                    <a:pt x="50" y="76"/>
                  </a:lnTo>
                  <a:lnTo>
                    <a:pt x="77" y="76"/>
                  </a:lnTo>
                  <a:lnTo>
                    <a:pt x="94" y="92"/>
                  </a:lnTo>
                  <a:lnTo>
                    <a:pt x="135" y="92"/>
                  </a:lnTo>
                  <a:lnTo>
                    <a:pt x="135" y="96"/>
                  </a:lnTo>
                  <a:lnTo>
                    <a:pt x="160" y="96"/>
                  </a:lnTo>
                  <a:lnTo>
                    <a:pt x="187" y="96"/>
                  </a:lnTo>
                  <a:lnTo>
                    <a:pt x="201" y="82"/>
                  </a:lnTo>
                  <a:lnTo>
                    <a:pt x="201" y="48"/>
                  </a:lnTo>
                  <a:lnTo>
                    <a:pt x="201" y="14"/>
                  </a:lnTo>
                  <a:lnTo>
                    <a:pt x="194" y="7"/>
                  </a:lnTo>
                  <a:lnTo>
                    <a:pt x="167" y="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256">
              <a:extLst>
                <a:ext uri="{FF2B5EF4-FFF2-40B4-BE49-F238E27FC236}">
                  <a16:creationId xmlns:a16="http://schemas.microsoft.com/office/drawing/2014/main" id="{E77A3174-98F6-4CA7-9D4C-5582D081AA0B}"/>
                </a:ext>
              </a:extLst>
            </p:cNvPr>
            <p:cNvSpPr>
              <a:spLocks/>
            </p:cNvSpPr>
            <p:nvPr/>
          </p:nvSpPr>
          <p:spPr bwMode="auto">
            <a:xfrm>
              <a:off x="4840288" y="2378075"/>
              <a:ext cx="198438" cy="169863"/>
            </a:xfrm>
            <a:custGeom>
              <a:avLst/>
              <a:gdLst>
                <a:gd name="T0" fmla="*/ 39 w 249"/>
                <a:gd name="T1" fmla="*/ 184 h 212"/>
                <a:gd name="T2" fmla="*/ 89 w 249"/>
                <a:gd name="T3" fmla="*/ 184 h 212"/>
                <a:gd name="T4" fmla="*/ 117 w 249"/>
                <a:gd name="T5" fmla="*/ 212 h 212"/>
                <a:gd name="T6" fmla="*/ 176 w 249"/>
                <a:gd name="T7" fmla="*/ 212 h 212"/>
                <a:gd name="T8" fmla="*/ 201 w 249"/>
                <a:gd name="T9" fmla="*/ 187 h 212"/>
                <a:gd name="T10" fmla="*/ 226 w 249"/>
                <a:gd name="T11" fmla="*/ 164 h 212"/>
                <a:gd name="T12" fmla="*/ 217 w 249"/>
                <a:gd name="T13" fmla="*/ 155 h 212"/>
                <a:gd name="T14" fmla="*/ 217 w 249"/>
                <a:gd name="T15" fmla="*/ 128 h 212"/>
                <a:gd name="T16" fmla="*/ 249 w 249"/>
                <a:gd name="T17" fmla="*/ 128 h 212"/>
                <a:gd name="T18" fmla="*/ 249 w 249"/>
                <a:gd name="T19" fmla="*/ 112 h 212"/>
                <a:gd name="T20" fmla="*/ 221 w 249"/>
                <a:gd name="T21" fmla="*/ 84 h 212"/>
                <a:gd name="T22" fmla="*/ 196 w 249"/>
                <a:gd name="T23" fmla="*/ 59 h 212"/>
                <a:gd name="T24" fmla="*/ 196 w 249"/>
                <a:gd name="T25" fmla="*/ 16 h 212"/>
                <a:gd name="T26" fmla="*/ 149 w 249"/>
                <a:gd name="T27" fmla="*/ 16 h 212"/>
                <a:gd name="T28" fmla="*/ 135 w 249"/>
                <a:gd name="T29" fmla="*/ 0 h 212"/>
                <a:gd name="T30" fmla="*/ 128 w 249"/>
                <a:gd name="T31" fmla="*/ 7 h 212"/>
                <a:gd name="T32" fmla="*/ 101 w 249"/>
                <a:gd name="T33" fmla="*/ 7 h 212"/>
                <a:gd name="T34" fmla="*/ 76 w 249"/>
                <a:gd name="T35" fmla="*/ 7 h 212"/>
                <a:gd name="T36" fmla="*/ 76 w 249"/>
                <a:gd name="T37" fmla="*/ 53 h 212"/>
                <a:gd name="T38" fmla="*/ 59 w 249"/>
                <a:gd name="T39" fmla="*/ 71 h 212"/>
                <a:gd name="T40" fmla="*/ 59 w 249"/>
                <a:gd name="T41" fmla="*/ 84 h 212"/>
                <a:gd name="T42" fmla="*/ 30 w 249"/>
                <a:gd name="T43" fmla="*/ 84 h 212"/>
                <a:gd name="T44" fmla="*/ 14 w 249"/>
                <a:gd name="T45" fmla="*/ 100 h 212"/>
                <a:gd name="T46" fmla="*/ 14 w 249"/>
                <a:gd name="T47" fmla="*/ 167 h 212"/>
                <a:gd name="T48" fmla="*/ 0 w 249"/>
                <a:gd name="T49" fmla="*/ 182 h 212"/>
                <a:gd name="T50" fmla="*/ 0 w 249"/>
                <a:gd name="T51" fmla="*/ 196 h 212"/>
                <a:gd name="T52" fmla="*/ 26 w 249"/>
                <a:gd name="T53" fmla="*/ 196 h 212"/>
                <a:gd name="T54" fmla="*/ 39 w 249"/>
                <a:gd name="T55" fmla="*/ 18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9" h="212">
                  <a:moveTo>
                    <a:pt x="39" y="184"/>
                  </a:moveTo>
                  <a:lnTo>
                    <a:pt x="89" y="184"/>
                  </a:lnTo>
                  <a:lnTo>
                    <a:pt x="117" y="212"/>
                  </a:lnTo>
                  <a:lnTo>
                    <a:pt x="176" y="212"/>
                  </a:lnTo>
                  <a:lnTo>
                    <a:pt x="201" y="187"/>
                  </a:lnTo>
                  <a:lnTo>
                    <a:pt x="226" y="164"/>
                  </a:lnTo>
                  <a:lnTo>
                    <a:pt x="217" y="155"/>
                  </a:lnTo>
                  <a:lnTo>
                    <a:pt x="217" y="128"/>
                  </a:lnTo>
                  <a:lnTo>
                    <a:pt x="249" y="128"/>
                  </a:lnTo>
                  <a:lnTo>
                    <a:pt x="249" y="112"/>
                  </a:lnTo>
                  <a:lnTo>
                    <a:pt x="221" y="84"/>
                  </a:lnTo>
                  <a:lnTo>
                    <a:pt x="196" y="59"/>
                  </a:lnTo>
                  <a:lnTo>
                    <a:pt x="196" y="16"/>
                  </a:lnTo>
                  <a:lnTo>
                    <a:pt x="149" y="16"/>
                  </a:lnTo>
                  <a:lnTo>
                    <a:pt x="135" y="0"/>
                  </a:lnTo>
                  <a:lnTo>
                    <a:pt x="128" y="7"/>
                  </a:lnTo>
                  <a:lnTo>
                    <a:pt x="101" y="7"/>
                  </a:lnTo>
                  <a:lnTo>
                    <a:pt x="76" y="7"/>
                  </a:lnTo>
                  <a:lnTo>
                    <a:pt x="76" y="53"/>
                  </a:lnTo>
                  <a:lnTo>
                    <a:pt x="59" y="71"/>
                  </a:lnTo>
                  <a:lnTo>
                    <a:pt x="59" y="84"/>
                  </a:lnTo>
                  <a:lnTo>
                    <a:pt x="30" y="84"/>
                  </a:lnTo>
                  <a:lnTo>
                    <a:pt x="14" y="100"/>
                  </a:lnTo>
                  <a:lnTo>
                    <a:pt x="14" y="167"/>
                  </a:lnTo>
                  <a:lnTo>
                    <a:pt x="0" y="182"/>
                  </a:lnTo>
                  <a:lnTo>
                    <a:pt x="0" y="196"/>
                  </a:lnTo>
                  <a:lnTo>
                    <a:pt x="26" y="196"/>
                  </a:lnTo>
                  <a:lnTo>
                    <a:pt x="39" y="18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257">
              <a:extLst>
                <a:ext uri="{FF2B5EF4-FFF2-40B4-BE49-F238E27FC236}">
                  <a16:creationId xmlns:a16="http://schemas.microsoft.com/office/drawing/2014/main" id="{B14B0BDB-8A9C-4B5F-8BB0-620175ECAC32}"/>
                </a:ext>
              </a:extLst>
            </p:cNvPr>
            <p:cNvSpPr>
              <a:spLocks/>
            </p:cNvSpPr>
            <p:nvPr/>
          </p:nvSpPr>
          <p:spPr bwMode="auto">
            <a:xfrm>
              <a:off x="7258051" y="3830638"/>
              <a:ext cx="206375" cy="169863"/>
            </a:xfrm>
            <a:custGeom>
              <a:avLst/>
              <a:gdLst>
                <a:gd name="T0" fmla="*/ 170 w 261"/>
                <a:gd name="T1" fmla="*/ 125 h 214"/>
                <a:gd name="T2" fmla="*/ 170 w 261"/>
                <a:gd name="T3" fmla="*/ 107 h 214"/>
                <a:gd name="T4" fmla="*/ 184 w 261"/>
                <a:gd name="T5" fmla="*/ 107 h 214"/>
                <a:gd name="T6" fmla="*/ 184 w 261"/>
                <a:gd name="T7" fmla="*/ 87 h 214"/>
                <a:gd name="T8" fmla="*/ 143 w 261"/>
                <a:gd name="T9" fmla="*/ 87 h 214"/>
                <a:gd name="T10" fmla="*/ 99 w 261"/>
                <a:gd name="T11" fmla="*/ 43 h 214"/>
                <a:gd name="T12" fmla="*/ 99 w 261"/>
                <a:gd name="T13" fmla="*/ 19 h 214"/>
                <a:gd name="T14" fmla="*/ 27 w 261"/>
                <a:gd name="T15" fmla="*/ 19 h 214"/>
                <a:gd name="T16" fmla="*/ 9 w 261"/>
                <a:gd name="T17" fmla="*/ 0 h 214"/>
                <a:gd name="T18" fmla="*/ 0 w 261"/>
                <a:gd name="T19" fmla="*/ 0 h 214"/>
                <a:gd name="T20" fmla="*/ 0 w 261"/>
                <a:gd name="T21" fmla="*/ 155 h 214"/>
                <a:gd name="T22" fmla="*/ 22 w 261"/>
                <a:gd name="T23" fmla="*/ 178 h 214"/>
                <a:gd name="T24" fmla="*/ 68 w 261"/>
                <a:gd name="T25" fmla="*/ 178 h 214"/>
                <a:gd name="T26" fmla="*/ 68 w 261"/>
                <a:gd name="T27" fmla="*/ 157 h 214"/>
                <a:gd name="T28" fmla="*/ 79 w 261"/>
                <a:gd name="T29" fmla="*/ 144 h 214"/>
                <a:gd name="T30" fmla="*/ 147 w 261"/>
                <a:gd name="T31" fmla="*/ 144 h 214"/>
                <a:gd name="T32" fmla="*/ 198 w 261"/>
                <a:gd name="T33" fmla="*/ 198 h 214"/>
                <a:gd name="T34" fmla="*/ 225 w 261"/>
                <a:gd name="T35" fmla="*/ 198 h 214"/>
                <a:gd name="T36" fmla="*/ 241 w 261"/>
                <a:gd name="T37" fmla="*/ 214 h 214"/>
                <a:gd name="T38" fmla="*/ 261 w 261"/>
                <a:gd name="T39" fmla="*/ 214 h 214"/>
                <a:gd name="T40" fmla="*/ 170 w 261"/>
                <a:gd name="T41" fmla="*/ 12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14">
                  <a:moveTo>
                    <a:pt x="170" y="125"/>
                  </a:moveTo>
                  <a:lnTo>
                    <a:pt x="170" y="107"/>
                  </a:lnTo>
                  <a:lnTo>
                    <a:pt x="184" y="107"/>
                  </a:lnTo>
                  <a:lnTo>
                    <a:pt x="184" y="87"/>
                  </a:lnTo>
                  <a:lnTo>
                    <a:pt x="143" y="87"/>
                  </a:lnTo>
                  <a:lnTo>
                    <a:pt x="99" y="43"/>
                  </a:lnTo>
                  <a:lnTo>
                    <a:pt x="99" y="19"/>
                  </a:lnTo>
                  <a:lnTo>
                    <a:pt x="27" y="19"/>
                  </a:lnTo>
                  <a:lnTo>
                    <a:pt x="9" y="0"/>
                  </a:lnTo>
                  <a:lnTo>
                    <a:pt x="0" y="0"/>
                  </a:lnTo>
                  <a:lnTo>
                    <a:pt x="0" y="155"/>
                  </a:lnTo>
                  <a:lnTo>
                    <a:pt x="22" y="178"/>
                  </a:lnTo>
                  <a:lnTo>
                    <a:pt x="68" y="178"/>
                  </a:lnTo>
                  <a:lnTo>
                    <a:pt x="68" y="157"/>
                  </a:lnTo>
                  <a:lnTo>
                    <a:pt x="79" y="144"/>
                  </a:lnTo>
                  <a:lnTo>
                    <a:pt x="147" y="144"/>
                  </a:lnTo>
                  <a:lnTo>
                    <a:pt x="198" y="198"/>
                  </a:lnTo>
                  <a:lnTo>
                    <a:pt x="225" y="198"/>
                  </a:lnTo>
                  <a:lnTo>
                    <a:pt x="241" y="214"/>
                  </a:lnTo>
                  <a:lnTo>
                    <a:pt x="261" y="214"/>
                  </a:lnTo>
                  <a:lnTo>
                    <a:pt x="170" y="12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258">
              <a:extLst>
                <a:ext uri="{FF2B5EF4-FFF2-40B4-BE49-F238E27FC236}">
                  <a16:creationId xmlns:a16="http://schemas.microsoft.com/office/drawing/2014/main" id="{5689E857-89D8-4050-847F-0F6B8B76049F}"/>
                </a:ext>
              </a:extLst>
            </p:cNvPr>
            <p:cNvSpPr>
              <a:spLocks/>
            </p:cNvSpPr>
            <p:nvPr/>
          </p:nvSpPr>
          <p:spPr bwMode="auto">
            <a:xfrm>
              <a:off x="7053263" y="3792538"/>
              <a:ext cx="204788" cy="160338"/>
            </a:xfrm>
            <a:custGeom>
              <a:avLst/>
              <a:gdLst>
                <a:gd name="T0" fmla="*/ 216 w 258"/>
                <a:gd name="T1" fmla="*/ 48 h 203"/>
                <a:gd name="T2" fmla="*/ 185 w 258"/>
                <a:gd name="T3" fmla="*/ 17 h 203"/>
                <a:gd name="T4" fmla="*/ 127 w 258"/>
                <a:gd name="T5" fmla="*/ 78 h 203"/>
                <a:gd name="T6" fmla="*/ 86 w 258"/>
                <a:gd name="T7" fmla="*/ 37 h 203"/>
                <a:gd name="T8" fmla="*/ 86 w 258"/>
                <a:gd name="T9" fmla="*/ 0 h 203"/>
                <a:gd name="T10" fmla="*/ 32 w 258"/>
                <a:gd name="T11" fmla="*/ 0 h 203"/>
                <a:gd name="T12" fmla="*/ 0 w 258"/>
                <a:gd name="T13" fmla="*/ 19 h 203"/>
                <a:gd name="T14" fmla="*/ 34 w 258"/>
                <a:gd name="T15" fmla="*/ 19 h 203"/>
                <a:gd name="T16" fmla="*/ 34 w 258"/>
                <a:gd name="T17" fmla="*/ 37 h 203"/>
                <a:gd name="T18" fmla="*/ 69 w 258"/>
                <a:gd name="T19" fmla="*/ 37 h 203"/>
                <a:gd name="T20" fmla="*/ 69 w 258"/>
                <a:gd name="T21" fmla="*/ 53 h 203"/>
                <a:gd name="T22" fmla="*/ 41 w 258"/>
                <a:gd name="T23" fmla="*/ 53 h 203"/>
                <a:gd name="T24" fmla="*/ 41 w 258"/>
                <a:gd name="T25" fmla="*/ 78 h 203"/>
                <a:gd name="T26" fmla="*/ 62 w 258"/>
                <a:gd name="T27" fmla="*/ 99 h 203"/>
                <a:gd name="T28" fmla="*/ 73 w 258"/>
                <a:gd name="T29" fmla="*/ 89 h 203"/>
                <a:gd name="T30" fmla="*/ 73 w 258"/>
                <a:gd name="T31" fmla="*/ 66 h 203"/>
                <a:gd name="T32" fmla="*/ 89 w 258"/>
                <a:gd name="T33" fmla="*/ 66 h 203"/>
                <a:gd name="T34" fmla="*/ 139 w 258"/>
                <a:gd name="T35" fmla="*/ 114 h 203"/>
                <a:gd name="T36" fmla="*/ 189 w 258"/>
                <a:gd name="T37" fmla="*/ 114 h 203"/>
                <a:gd name="T38" fmla="*/ 216 w 258"/>
                <a:gd name="T39" fmla="*/ 140 h 203"/>
                <a:gd name="T40" fmla="*/ 216 w 258"/>
                <a:gd name="T41" fmla="*/ 171 h 203"/>
                <a:gd name="T42" fmla="*/ 198 w 258"/>
                <a:gd name="T43" fmla="*/ 171 h 203"/>
                <a:gd name="T44" fmla="*/ 198 w 258"/>
                <a:gd name="T45" fmla="*/ 189 h 203"/>
                <a:gd name="T46" fmla="*/ 244 w 258"/>
                <a:gd name="T47" fmla="*/ 189 h 203"/>
                <a:gd name="T48" fmla="*/ 258 w 258"/>
                <a:gd name="T49" fmla="*/ 203 h 203"/>
                <a:gd name="T50" fmla="*/ 258 w 258"/>
                <a:gd name="T51" fmla="*/ 48 h 203"/>
                <a:gd name="T52" fmla="*/ 216 w 258"/>
                <a:gd name="T53" fmla="*/ 4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8" h="203">
                  <a:moveTo>
                    <a:pt x="216" y="48"/>
                  </a:moveTo>
                  <a:lnTo>
                    <a:pt x="185" y="17"/>
                  </a:lnTo>
                  <a:lnTo>
                    <a:pt x="127" y="78"/>
                  </a:lnTo>
                  <a:lnTo>
                    <a:pt x="86" y="37"/>
                  </a:lnTo>
                  <a:lnTo>
                    <a:pt x="86" y="0"/>
                  </a:lnTo>
                  <a:lnTo>
                    <a:pt x="32" y="0"/>
                  </a:lnTo>
                  <a:lnTo>
                    <a:pt x="0" y="19"/>
                  </a:lnTo>
                  <a:lnTo>
                    <a:pt x="34" y="19"/>
                  </a:lnTo>
                  <a:lnTo>
                    <a:pt x="34" y="37"/>
                  </a:lnTo>
                  <a:lnTo>
                    <a:pt x="69" y="37"/>
                  </a:lnTo>
                  <a:lnTo>
                    <a:pt x="69" y="53"/>
                  </a:lnTo>
                  <a:lnTo>
                    <a:pt x="41" y="53"/>
                  </a:lnTo>
                  <a:lnTo>
                    <a:pt x="41" y="78"/>
                  </a:lnTo>
                  <a:lnTo>
                    <a:pt x="62" y="99"/>
                  </a:lnTo>
                  <a:lnTo>
                    <a:pt x="73" y="89"/>
                  </a:lnTo>
                  <a:lnTo>
                    <a:pt x="73" y="66"/>
                  </a:lnTo>
                  <a:lnTo>
                    <a:pt x="89" y="66"/>
                  </a:lnTo>
                  <a:lnTo>
                    <a:pt x="139" y="114"/>
                  </a:lnTo>
                  <a:lnTo>
                    <a:pt x="189" y="114"/>
                  </a:lnTo>
                  <a:lnTo>
                    <a:pt x="216" y="140"/>
                  </a:lnTo>
                  <a:lnTo>
                    <a:pt x="216" y="171"/>
                  </a:lnTo>
                  <a:lnTo>
                    <a:pt x="198" y="171"/>
                  </a:lnTo>
                  <a:lnTo>
                    <a:pt x="198" y="189"/>
                  </a:lnTo>
                  <a:lnTo>
                    <a:pt x="244" y="189"/>
                  </a:lnTo>
                  <a:lnTo>
                    <a:pt x="258" y="203"/>
                  </a:lnTo>
                  <a:lnTo>
                    <a:pt x="258" y="48"/>
                  </a:lnTo>
                  <a:lnTo>
                    <a:pt x="216" y="4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259">
              <a:extLst>
                <a:ext uri="{FF2B5EF4-FFF2-40B4-BE49-F238E27FC236}">
                  <a16:creationId xmlns:a16="http://schemas.microsoft.com/office/drawing/2014/main" id="{E5E52E30-6229-4962-B99C-80C35245B861}"/>
                </a:ext>
              </a:extLst>
            </p:cNvPr>
            <p:cNvSpPr>
              <a:spLocks/>
            </p:cNvSpPr>
            <p:nvPr/>
          </p:nvSpPr>
          <p:spPr bwMode="auto">
            <a:xfrm>
              <a:off x="2849563" y="3357563"/>
              <a:ext cx="112713" cy="55563"/>
            </a:xfrm>
            <a:custGeom>
              <a:avLst/>
              <a:gdLst>
                <a:gd name="T0" fmla="*/ 0 w 142"/>
                <a:gd name="T1" fmla="*/ 41 h 70"/>
                <a:gd name="T2" fmla="*/ 46 w 142"/>
                <a:gd name="T3" fmla="*/ 41 h 70"/>
                <a:gd name="T4" fmla="*/ 75 w 142"/>
                <a:gd name="T5" fmla="*/ 70 h 70"/>
                <a:gd name="T6" fmla="*/ 91 w 142"/>
                <a:gd name="T7" fmla="*/ 52 h 70"/>
                <a:gd name="T8" fmla="*/ 142 w 142"/>
                <a:gd name="T9" fmla="*/ 52 h 70"/>
                <a:gd name="T10" fmla="*/ 142 w 142"/>
                <a:gd name="T11" fmla="*/ 24 h 70"/>
                <a:gd name="T12" fmla="*/ 107 w 142"/>
                <a:gd name="T13" fmla="*/ 24 h 70"/>
                <a:gd name="T14" fmla="*/ 107 w 142"/>
                <a:gd name="T15" fmla="*/ 0 h 70"/>
                <a:gd name="T16" fmla="*/ 25 w 142"/>
                <a:gd name="T17" fmla="*/ 0 h 70"/>
                <a:gd name="T18" fmla="*/ 26 w 142"/>
                <a:gd name="T19" fmla="*/ 24 h 70"/>
                <a:gd name="T20" fmla="*/ 0 w 142"/>
                <a:gd name="T21" fmla="*/ 24 h 70"/>
                <a:gd name="T22" fmla="*/ 0 w 142"/>
                <a:gd name="T23" fmla="*/ 4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70">
                  <a:moveTo>
                    <a:pt x="0" y="41"/>
                  </a:moveTo>
                  <a:lnTo>
                    <a:pt x="46" y="41"/>
                  </a:lnTo>
                  <a:lnTo>
                    <a:pt x="75" y="70"/>
                  </a:lnTo>
                  <a:lnTo>
                    <a:pt x="91" y="52"/>
                  </a:lnTo>
                  <a:lnTo>
                    <a:pt x="142" y="52"/>
                  </a:lnTo>
                  <a:lnTo>
                    <a:pt x="142" y="24"/>
                  </a:lnTo>
                  <a:lnTo>
                    <a:pt x="107" y="24"/>
                  </a:lnTo>
                  <a:lnTo>
                    <a:pt x="107" y="0"/>
                  </a:lnTo>
                  <a:lnTo>
                    <a:pt x="25" y="0"/>
                  </a:lnTo>
                  <a:lnTo>
                    <a:pt x="26" y="24"/>
                  </a:lnTo>
                  <a:lnTo>
                    <a:pt x="0" y="24"/>
                  </a:lnTo>
                  <a:lnTo>
                    <a:pt x="0" y="4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260">
              <a:extLst>
                <a:ext uri="{FF2B5EF4-FFF2-40B4-BE49-F238E27FC236}">
                  <a16:creationId xmlns:a16="http://schemas.microsoft.com/office/drawing/2014/main" id="{FE48B8A1-2BF7-4A61-9B9F-703F99D9B579}"/>
                </a:ext>
              </a:extLst>
            </p:cNvPr>
            <p:cNvSpPr>
              <a:spLocks/>
            </p:cNvSpPr>
            <p:nvPr/>
          </p:nvSpPr>
          <p:spPr bwMode="auto">
            <a:xfrm>
              <a:off x="2644776" y="3287713"/>
              <a:ext cx="184150" cy="74613"/>
            </a:xfrm>
            <a:custGeom>
              <a:avLst/>
              <a:gdLst>
                <a:gd name="T0" fmla="*/ 148 w 234"/>
                <a:gd name="T1" fmla="*/ 40 h 95"/>
                <a:gd name="T2" fmla="*/ 109 w 234"/>
                <a:gd name="T3" fmla="*/ 0 h 95"/>
                <a:gd name="T4" fmla="*/ 39 w 234"/>
                <a:gd name="T5" fmla="*/ 0 h 95"/>
                <a:gd name="T6" fmla="*/ 27 w 234"/>
                <a:gd name="T7" fmla="*/ 13 h 95"/>
                <a:gd name="T8" fmla="*/ 0 w 234"/>
                <a:gd name="T9" fmla="*/ 13 h 95"/>
                <a:gd name="T10" fmla="*/ 0 w 234"/>
                <a:gd name="T11" fmla="*/ 29 h 95"/>
                <a:gd name="T12" fmla="*/ 62 w 234"/>
                <a:gd name="T13" fmla="*/ 29 h 95"/>
                <a:gd name="T14" fmla="*/ 84 w 234"/>
                <a:gd name="T15" fmla="*/ 50 h 95"/>
                <a:gd name="T16" fmla="*/ 127 w 234"/>
                <a:gd name="T17" fmla="*/ 50 h 95"/>
                <a:gd name="T18" fmla="*/ 171 w 234"/>
                <a:gd name="T19" fmla="*/ 95 h 95"/>
                <a:gd name="T20" fmla="*/ 234 w 234"/>
                <a:gd name="T21" fmla="*/ 95 h 95"/>
                <a:gd name="T22" fmla="*/ 178 w 234"/>
                <a:gd name="T23" fmla="*/ 40 h 95"/>
                <a:gd name="T24" fmla="*/ 148 w 234"/>
                <a:gd name="T25" fmla="*/ 4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95">
                  <a:moveTo>
                    <a:pt x="148" y="40"/>
                  </a:moveTo>
                  <a:lnTo>
                    <a:pt x="109" y="0"/>
                  </a:lnTo>
                  <a:lnTo>
                    <a:pt x="39" y="0"/>
                  </a:lnTo>
                  <a:lnTo>
                    <a:pt x="27" y="13"/>
                  </a:lnTo>
                  <a:lnTo>
                    <a:pt x="0" y="13"/>
                  </a:lnTo>
                  <a:lnTo>
                    <a:pt x="0" y="29"/>
                  </a:lnTo>
                  <a:lnTo>
                    <a:pt x="62" y="29"/>
                  </a:lnTo>
                  <a:lnTo>
                    <a:pt x="84" y="50"/>
                  </a:lnTo>
                  <a:lnTo>
                    <a:pt x="127" y="50"/>
                  </a:lnTo>
                  <a:lnTo>
                    <a:pt x="171" y="95"/>
                  </a:lnTo>
                  <a:lnTo>
                    <a:pt x="234" y="95"/>
                  </a:lnTo>
                  <a:lnTo>
                    <a:pt x="178" y="40"/>
                  </a:lnTo>
                  <a:lnTo>
                    <a:pt x="148" y="4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261">
              <a:extLst>
                <a:ext uri="{FF2B5EF4-FFF2-40B4-BE49-F238E27FC236}">
                  <a16:creationId xmlns:a16="http://schemas.microsoft.com/office/drawing/2014/main" id="{C7634D7E-394C-4080-8F9C-08A3F8871549}"/>
                </a:ext>
              </a:extLst>
            </p:cNvPr>
            <p:cNvSpPr>
              <a:spLocks/>
            </p:cNvSpPr>
            <p:nvPr/>
          </p:nvSpPr>
          <p:spPr bwMode="auto">
            <a:xfrm>
              <a:off x="3863976" y="1889125"/>
              <a:ext cx="179388" cy="92075"/>
            </a:xfrm>
            <a:custGeom>
              <a:avLst/>
              <a:gdLst>
                <a:gd name="T0" fmla="*/ 23 w 227"/>
                <a:gd name="T1" fmla="*/ 4 h 116"/>
                <a:gd name="T2" fmla="*/ 82 w 227"/>
                <a:gd name="T3" fmla="*/ 4 h 116"/>
                <a:gd name="T4" fmla="*/ 100 w 227"/>
                <a:gd name="T5" fmla="*/ 22 h 116"/>
                <a:gd name="T6" fmla="*/ 123 w 227"/>
                <a:gd name="T7" fmla="*/ 0 h 116"/>
                <a:gd name="T8" fmla="*/ 200 w 227"/>
                <a:gd name="T9" fmla="*/ 0 h 116"/>
                <a:gd name="T10" fmla="*/ 227 w 227"/>
                <a:gd name="T11" fmla="*/ 25 h 116"/>
                <a:gd name="T12" fmla="*/ 227 w 227"/>
                <a:gd name="T13" fmla="*/ 55 h 116"/>
                <a:gd name="T14" fmla="*/ 164 w 227"/>
                <a:gd name="T15" fmla="*/ 116 h 116"/>
                <a:gd name="T16" fmla="*/ 72 w 227"/>
                <a:gd name="T17" fmla="*/ 116 h 116"/>
                <a:gd name="T18" fmla="*/ 22 w 227"/>
                <a:gd name="T19" fmla="*/ 66 h 116"/>
                <a:gd name="T20" fmla="*/ 41 w 227"/>
                <a:gd name="T21" fmla="*/ 47 h 116"/>
                <a:gd name="T22" fmla="*/ 9 w 227"/>
                <a:gd name="T23" fmla="*/ 14 h 116"/>
                <a:gd name="T24" fmla="*/ 0 w 227"/>
                <a:gd name="T25" fmla="*/ 6 h 116"/>
                <a:gd name="T26" fmla="*/ 23 w 227"/>
                <a:gd name="T27" fmla="*/ 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116">
                  <a:moveTo>
                    <a:pt x="23" y="4"/>
                  </a:moveTo>
                  <a:lnTo>
                    <a:pt x="82" y="4"/>
                  </a:lnTo>
                  <a:lnTo>
                    <a:pt x="100" y="22"/>
                  </a:lnTo>
                  <a:lnTo>
                    <a:pt x="123" y="0"/>
                  </a:lnTo>
                  <a:lnTo>
                    <a:pt x="200" y="0"/>
                  </a:lnTo>
                  <a:lnTo>
                    <a:pt x="227" y="25"/>
                  </a:lnTo>
                  <a:lnTo>
                    <a:pt x="227" y="55"/>
                  </a:lnTo>
                  <a:lnTo>
                    <a:pt x="164" y="116"/>
                  </a:lnTo>
                  <a:lnTo>
                    <a:pt x="72" y="116"/>
                  </a:lnTo>
                  <a:lnTo>
                    <a:pt x="22" y="66"/>
                  </a:lnTo>
                  <a:lnTo>
                    <a:pt x="41" y="47"/>
                  </a:lnTo>
                  <a:lnTo>
                    <a:pt x="9" y="14"/>
                  </a:lnTo>
                  <a:lnTo>
                    <a:pt x="0" y="6"/>
                  </a:lnTo>
                  <a:lnTo>
                    <a:pt x="23" y="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262">
              <a:extLst>
                <a:ext uri="{FF2B5EF4-FFF2-40B4-BE49-F238E27FC236}">
                  <a16:creationId xmlns:a16="http://schemas.microsoft.com/office/drawing/2014/main" id="{E3895B41-22E2-4CAB-B168-ACFB1AFDD765}"/>
                </a:ext>
              </a:extLst>
            </p:cNvPr>
            <p:cNvSpPr>
              <a:spLocks/>
            </p:cNvSpPr>
            <p:nvPr/>
          </p:nvSpPr>
          <p:spPr bwMode="auto">
            <a:xfrm>
              <a:off x="4675188" y="1330325"/>
              <a:ext cx="46038" cy="69850"/>
            </a:xfrm>
            <a:custGeom>
              <a:avLst/>
              <a:gdLst>
                <a:gd name="T0" fmla="*/ 16 w 59"/>
                <a:gd name="T1" fmla="*/ 87 h 87"/>
                <a:gd name="T2" fmla="*/ 59 w 59"/>
                <a:gd name="T3" fmla="*/ 45 h 87"/>
                <a:gd name="T4" fmla="*/ 13 w 59"/>
                <a:gd name="T5" fmla="*/ 0 h 87"/>
                <a:gd name="T6" fmla="*/ 0 w 59"/>
                <a:gd name="T7" fmla="*/ 13 h 87"/>
                <a:gd name="T8" fmla="*/ 0 w 59"/>
                <a:gd name="T9" fmla="*/ 43 h 87"/>
                <a:gd name="T10" fmla="*/ 14 w 59"/>
                <a:gd name="T11" fmla="*/ 57 h 87"/>
                <a:gd name="T12" fmla="*/ 16 w 59"/>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59" h="87">
                  <a:moveTo>
                    <a:pt x="16" y="87"/>
                  </a:moveTo>
                  <a:lnTo>
                    <a:pt x="59" y="45"/>
                  </a:lnTo>
                  <a:lnTo>
                    <a:pt x="13" y="0"/>
                  </a:lnTo>
                  <a:lnTo>
                    <a:pt x="0" y="13"/>
                  </a:lnTo>
                  <a:lnTo>
                    <a:pt x="0" y="43"/>
                  </a:lnTo>
                  <a:lnTo>
                    <a:pt x="14" y="57"/>
                  </a:lnTo>
                  <a:lnTo>
                    <a:pt x="16" y="8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263">
              <a:extLst>
                <a:ext uri="{FF2B5EF4-FFF2-40B4-BE49-F238E27FC236}">
                  <a16:creationId xmlns:a16="http://schemas.microsoft.com/office/drawing/2014/main" id="{AE271B74-A43A-452E-A066-0F1C7AEED048}"/>
                </a:ext>
              </a:extLst>
            </p:cNvPr>
            <p:cNvSpPr>
              <a:spLocks/>
            </p:cNvSpPr>
            <p:nvPr/>
          </p:nvSpPr>
          <p:spPr bwMode="auto">
            <a:xfrm>
              <a:off x="4522788" y="1214438"/>
              <a:ext cx="165100" cy="244475"/>
            </a:xfrm>
            <a:custGeom>
              <a:avLst/>
              <a:gdLst>
                <a:gd name="T0" fmla="*/ 129 w 209"/>
                <a:gd name="T1" fmla="*/ 242 h 308"/>
                <a:gd name="T2" fmla="*/ 129 w 209"/>
                <a:gd name="T3" fmla="*/ 269 h 308"/>
                <a:gd name="T4" fmla="*/ 109 w 209"/>
                <a:gd name="T5" fmla="*/ 289 h 308"/>
                <a:gd name="T6" fmla="*/ 109 w 209"/>
                <a:gd name="T7" fmla="*/ 308 h 308"/>
                <a:gd name="T8" fmla="*/ 84 w 209"/>
                <a:gd name="T9" fmla="*/ 285 h 308"/>
                <a:gd name="T10" fmla="*/ 84 w 209"/>
                <a:gd name="T11" fmla="*/ 257 h 308"/>
                <a:gd name="T12" fmla="*/ 70 w 209"/>
                <a:gd name="T13" fmla="*/ 241 h 308"/>
                <a:gd name="T14" fmla="*/ 82 w 209"/>
                <a:gd name="T15" fmla="*/ 228 h 308"/>
                <a:gd name="T16" fmla="*/ 82 w 209"/>
                <a:gd name="T17" fmla="*/ 207 h 308"/>
                <a:gd name="T18" fmla="*/ 57 w 209"/>
                <a:gd name="T19" fmla="*/ 207 h 308"/>
                <a:gd name="T20" fmla="*/ 57 w 209"/>
                <a:gd name="T21" fmla="*/ 182 h 308"/>
                <a:gd name="T22" fmla="*/ 104 w 209"/>
                <a:gd name="T23" fmla="*/ 137 h 308"/>
                <a:gd name="T24" fmla="*/ 104 w 209"/>
                <a:gd name="T25" fmla="*/ 121 h 308"/>
                <a:gd name="T26" fmla="*/ 70 w 209"/>
                <a:gd name="T27" fmla="*/ 157 h 308"/>
                <a:gd name="T28" fmla="*/ 59 w 209"/>
                <a:gd name="T29" fmla="*/ 144 h 308"/>
                <a:gd name="T30" fmla="*/ 38 w 209"/>
                <a:gd name="T31" fmla="*/ 166 h 308"/>
                <a:gd name="T32" fmla="*/ 0 w 209"/>
                <a:gd name="T33" fmla="*/ 130 h 308"/>
                <a:gd name="T34" fmla="*/ 0 w 209"/>
                <a:gd name="T35" fmla="*/ 109 h 308"/>
                <a:gd name="T36" fmla="*/ 18 w 209"/>
                <a:gd name="T37" fmla="*/ 89 h 308"/>
                <a:gd name="T38" fmla="*/ 4 w 209"/>
                <a:gd name="T39" fmla="*/ 75 h 308"/>
                <a:gd name="T40" fmla="*/ 4 w 209"/>
                <a:gd name="T41" fmla="*/ 41 h 308"/>
                <a:gd name="T42" fmla="*/ 22 w 209"/>
                <a:gd name="T43" fmla="*/ 21 h 308"/>
                <a:gd name="T44" fmla="*/ 34 w 209"/>
                <a:gd name="T45" fmla="*/ 36 h 308"/>
                <a:gd name="T46" fmla="*/ 49 w 209"/>
                <a:gd name="T47" fmla="*/ 20 h 308"/>
                <a:gd name="T48" fmla="*/ 66 w 209"/>
                <a:gd name="T49" fmla="*/ 37 h 308"/>
                <a:gd name="T50" fmla="*/ 66 w 209"/>
                <a:gd name="T51" fmla="*/ 53 h 308"/>
                <a:gd name="T52" fmla="*/ 79 w 209"/>
                <a:gd name="T53" fmla="*/ 41 h 308"/>
                <a:gd name="T54" fmla="*/ 95 w 209"/>
                <a:gd name="T55" fmla="*/ 57 h 308"/>
                <a:gd name="T56" fmla="*/ 95 w 209"/>
                <a:gd name="T57" fmla="*/ 0 h 308"/>
                <a:gd name="T58" fmla="*/ 120 w 209"/>
                <a:gd name="T59" fmla="*/ 0 h 308"/>
                <a:gd name="T60" fmla="*/ 120 w 209"/>
                <a:gd name="T61" fmla="*/ 16 h 308"/>
                <a:gd name="T62" fmla="*/ 134 w 209"/>
                <a:gd name="T63" fmla="*/ 30 h 308"/>
                <a:gd name="T64" fmla="*/ 134 w 209"/>
                <a:gd name="T65" fmla="*/ 46 h 308"/>
                <a:gd name="T66" fmla="*/ 148 w 209"/>
                <a:gd name="T67" fmla="*/ 46 h 308"/>
                <a:gd name="T68" fmla="*/ 148 w 209"/>
                <a:gd name="T69" fmla="*/ 75 h 308"/>
                <a:gd name="T70" fmla="*/ 177 w 209"/>
                <a:gd name="T71" fmla="*/ 75 h 308"/>
                <a:gd name="T72" fmla="*/ 191 w 209"/>
                <a:gd name="T73" fmla="*/ 89 h 308"/>
                <a:gd name="T74" fmla="*/ 209 w 209"/>
                <a:gd name="T75" fmla="*/ 107 h 308"/>
                <a:gd name="T76" fmla="*/ 195 w 209"/>
                <a:gd name="T77" fmla="*/ 119 h 308"/>
                <a:gd name="T78" fmla="*/ 179 w 209"/>
                <a:gd name="T79" fmla="*/ 119 h 308"/>
                <a:gd name="T80" fmla="*/ 156 w 209"/>
                <a:gd name="T81" fmla="*/ 144 h 308"/>
                <a:gd name="T82" fmla="*/ 156 w 209"/>
                <a:gd name="T83" fmla="*/ 169 h 308"/>
                <a:gd name="T84" fmla="*/ 140 w 209"/>
                <a:gd name="T85" fmla="*/ 185 h 308"/>
                <a:gd name="T86" fmla="*/ 140 w 209"/>
                <a:gd name="T87" fmla="*/ 210 h 308"/>
                <a:gd name="T88" fmla="*/ 127 w 209"/>
                <a:gd name="T89" fmla="*/ 223 h 308"/>
                <a:gd name="T90" fmla="*/ 129 w 209"/>
                <a:gd name="T91" fmla="*/ 24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9" h="308">
                  <a:moveTo>
                    <a:pt x="129" y="242"/>
                  </a:moveTo>
                  <a:lnTo>
                    <a:pt x="129" y="269"/>
                  </a:lnTo>
                  <a:lnTo>
                    <a:pt x="109" y="289"/>
                  </a:lnTo>
                  <a:lnTo>
                    <a:pt x="109" y="308"/>
                  </a:lnTo>
                  <a:lnTo>
                    <a:pt x="84" y="285"/>
                  </a:lnTo>
                  <a:lnTo>
                    <a:pt x="84" y="257"/>
                  </a:lnTo>
                  <a:lnTo>
                    <a:pt x="70" y="241"/>
                  </a:lnTo>
                  <a:lnTo>
                    <a:pt x="82" y="228"/>
                  </a:lnTo>
                  <a:lnTo>
                    <a:pt x="82" y="207"/>
                  </a:lnTo>
                  <a:lnTo>
                    <a:pt x="57" y="207"/>
                  </a:lnTo>
                  <a:lnTo>
                    <a:pt x="57" y="182"/>
                  </a:lnTo>
                  <a:lnTo>
                    <a:pt x="104" y="137"/>
                  </a:lnTo>
                  <a:lnTo>
                    <a:pt x="104" y="121"/>
                  </a:lnTo>
                  <a:lnTo>
                    <a:pt x="70" y="157"/>
                  </a:lnTo>
                  <a:lnTo>
                    <a:pt x="59" y="144"/>
                  </a:lnTo>
                  <a:lnTo>
                    <a:pt x="38" y="166"/>
                  </a:lnTo>
                  <a:lnTo>
                    <a:pt x="0" y="130"/>
                  </a:lnTo>
                  <a:lnTo>
                    <a:pt x="0" y="109"/>
                  </a:lnTo>
                  <a:lnTo>
                    <a:pt x="18" y="89"/>
                  </a:lnTo>
                  <a:lnTo>
                    <a:pt x="4" y="75"/>
                  </a:lnTo>
                  <a:lnTo>
                    <a:pt x="4" y="41"/>
                  </a:lnTo>
                  <a:lnTo>
                    <a:pt x="22" y="21"/>
                  </a:lnTo>
                  <a:lnTo>
                    <a:pt x="34" y="36"/>
                  </a:lnTo>
                  <a:lnTo>
                    <a:pt x="49" y="20"/>
                  </a:lnTo>
                  <a:lnTo>
                    <a:pt x="66" y="37"/>
                  </a:lnTo>
                  <a:lnTo>
                    <a:pt x="66" y="53"/>
                  </a:lnTo>
                  <a:lnTo>
                    <a:pt x="79" y="41"/>
                  </a:lnTo>
                  <a:lnTo>
                    <a:pt x="95" y="57"/>
                  </a:lnTo>
                  <a:lnTo>
                    <a:pt x="95" y="0"/>
                  </a:lnTo>
                  <a:lnTo>
                    <a:pt x="120" y="0"/>
                  </a:lnTo>
                  <a:lnTo>
                    <a:pt x="120" y="16"/>
                  </a:lnTo>
                  <a:lnTo>
                    <a:pt x="134" y="30"/>
                  </a:lnTo>
                  <a:lnTo>
                    <a:pt x="134" y="46"/>
                  </a:lnTo>
                  <a:lnTo>
                    <a:pt x="148" y="46"/>
                  </a:lnTo>
                  <a:lnTo>
                    <a:pt x="148" y="75"/>
                  </a:lnTo>
                  <a:lnTo>
                    <a:pt x="177" y="75"/>
                  </a:lnTo>
                  <a:lnTo>
                    <a:pt x="191" y="89"/>
                  </a:lnTo>
                  <a:lnTo>
                    <a:pt x="209" y="107"/>
                  </a:lnTo>
                  <a:lnTo>
                    <a:pt x="195" y="119"/>
                  </a:lnTo>
                  <a:lnTo>
                    <a:pt x="179" y="119"/>
                  </a:lnTo>
                  <a:lnTo>
                    <a:pt x="156" y="144"/>
                  </a:lnTo>
                  <a:lnTo>
                    <a:pt x="156" y="169"/>
                  </a:lnTo>
                  <a:lnTo>
                    <a:pt x="140" y="185"/>
                  </a:lnTo>
                  <a:lnTo>
                    <a:pt x="140" y="210"/>
                  </a:lnTo>
                  <a:lnTo>
                    <a:pt x="127" y="223"/>
                  </a:lnTo>
                  <a:lnTo>
                    <a:pt x="129" y="24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264">
              <a:extLst>
                <a:ext uri="{FF2B5EF4-FFF2-40B4-BE49-F238E27FC236}">
                  <a16:creationId xmlns:a16="http://schemas.microsoft.com/office/drawing/2014/main" id="{30C2906E-D8C6-4FAB-A7E4-059BD909320D}"/>
                </a:ext>
              </a:extLst>
            </p:cNvPr>
            <p:cNvSpPr>
              <a:spLocks/>
            </p:cNvSpPr>
            <p:nvPr/>
          </p:nvSpPr>
          <p:spPr bwMode="auto">
            <a:xfrm>
              <a:off x="4633913" y="1174750"/>
              <a:ext cx="141288" cy="95250"/>
            </a:xfrm>
            <a:custGeom>
              <a:avLst/>
              <a:gdLst>
                <a:gd name="T0" fmla="*/ 129 w 179"/>
                <a:gd name="T1" fmla="*/ 111 h 119"/>
                <a:gd name="T2" fmla="*/ 157 w 179"/>
                <a:gd name="T3" fmla="*/ 82 h 119"/>
                <a:gd name="T4" fmla="*/ 157 w 179"/>
                <a:gd name="T5" fmla="*/ 64 h 119"/>
                <a:gd name="T6" fmla="*/ 164 w 179"/>
                <a:gd name="T7" fmla="*/ 57 h 119"/>
                <a:gd name="T8" fmla="*/ 164 w 179"/>
                <a:gd name="T9" fmla="*/ 45 h 119"/>
                <a:gd name="T10" fmla="*/ 179 w 179"/>
                <a:gd name="T11" fmla="*/ 30 h 119"/>
                <a:gd name="T12" fmla="*/ 145 w 179"/>
                <a:gd name="T13" fmla="*/ 30 h 119"/>
                <a:gd name="T14" fmla="*/ 132 w 179"/>
                <a:gd name="T15" fmla="*/ 18 h 119"/>
                <a:gd name="T16" fmla="*/ 109 w 179"/>
                <a:gd name="T17" fmla="*/ 18 h 119"/>
                <a:gd name="T18" fmla="*/ 97 w 179"/>
                <a:gd name="T19" fmla="*/ 30 h 119"/>
                <a:gd name="T20" fmla="*/ 82 w 179"/>
                <a:gd name="T21" fmla="*/ 30 h 119"/>
                <a:gd name="T22" fmla="*/ 82 w 179"/>
                <a:gd name="T23" fmla="*/ 0 h 119"/>
                <a:gd name="T24" fmla="*/ 70 w 179"/>
                <a:gd name="T25" fmla="*/ 0 h 119"/>
                <a:gd name="T26" fmla="*/ 70 w 179"/>
                <a:gd name="T27" fmla="*/ 20 h 119"/>
                <a:gd name="T28" fmla="*/ 56 w 179"/>
                <a:gd name="T29" fmla="*/ 20 h 119"/>
                <a:gd name="T30" fmla="*/ 43 w 179"/>
                <a:gd name="T31" fmla="*/ 20 h 119"/>
                <a:gd name="T32" fmla="*/ 29 w 179"/>
                <a:gd name="T33" fmla="*/ 5 h 119"/>
                <a:gd name="T34" fmla="*/ 16 w 179"/>
                <a:gd name="T35" fmla="*/ 16 h 119"/>
                <a:gd name="T36" fmla="*/ 0 w 179"/>
                <a:gd name="T37" fmla="*/ 34 h 119"/>
                <a:gd name="T38" fmla="*/ 15 w 179"/>
                <a:gd name="T39" fmla="*/ 48 h 119"/>
                <a:gd name="T40" fmla="*/ 4 w 179"/>
                <a:gd name="T41" fmla="*/ 59 h 119"/>
                <a:gd name="T42" fmla="*/ 4 w 179"/>
                <a:gd name="T43" fmla="*/ 75 h 119"/>
                <a:gd name="T44" fmla="*/ 25 w 179"/>
                <a:gd name="T45" fmla="*/ 75 h 119"/>
                <a:gd name="T46" fmla="*/ 41 w 179"/>
                <a:gd name="T47" fmla="*/ 57 h 119"/>
                <a:gd name="T48" fmla="*/ 63 w 179"/>
                <a:gd name="T49" fmla="*/ 57 h 119"/>
                <a:gd name="T50" fmla="*/ 63 w 179"/>
                <a:gd name="T51" fmla="*/ 73 h 119"/>
                <a:gd name="T52" fmla="*/ 48 w 179"/>
                <a:gd name="T53" fmla="*/ 73 h 119"/>
                <a:gd name="T54" fmla="*/ 48 w 179"/>
                <a:gd name="T55" fmla="*/ 84 h 119"/>
                <a:gd name="T56" fmla="*/ 36 w 179"/>
                <a:gd name="T57" fmla="*/ 84 h 119"/>
                <a:gd name="T58" fmla="*/ 27 w 179"/>
                <a:gd name="T59" fmla="*/ 93 h 119"/>
                <a:gd name="T60" fmla="*/ 36 w 179"/>
                <a:gd name="T61" fmla="*/ 100 h 119"/>
                <a:gd name="T62" fmla="*/ 63 w 179"/>
                <a:gd name="T63" fmla="*/ 100 h 119"/>
                <a:gd name="T64" fmla="*/ 73 w 179"/>
                <a:gd name="T65" fmla="*/ 111 h 119"/>
                <a:gd name="T66" fmla="*/ 100 w 179"/>
                <a:gd name="T67" fmla="*/ 111 h 119"/>
                <a:gd name="T68" fmla="*/ 109 w 179"/>
                <a:gd name="T69" fmla="*/ 119 h 119"/>
                <a:gd name="T70" fmla="*/ 127 w 179"/>
                <a:gd name="T71" fmla="*/ 119 h 119"/>
                <a:gd name="T72" fmla="*/ 129 w 179"/>
                <a:gd name="T73" fmla="*/ 119 h 119"/>
                <a:gd name="T74" fmla="*/ 129 w 179"/>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9" h="119">
                  <a:moveTo>
                    <a:pt x="129" y="111"/>
                  </a:moveTo>
                  <a:lnTo>
                    <a:pt x="157" y="82"/>
                  </a:lnTo>
                  <a:lnTo>
                    <a:pt x="157" y="64"/>
                  </a:lnTo>
                  <a:lnTo>
                    <a:pt x="164" y="57"/>
                  </a:lnTo>
                  <a:lnTo>
                    <a:pt x="164" y="45"/>
                  </a:lnTo>
                  <a:lnTo>
                    <a:pt x="179" y="30"/>
                  </a:lnTo>
                  <a:lnTo>
                    <a:pt x="145" y="30"/>
                  </a:lnTo>
                  <a:lnTo>
                    <a:pt x="132" y="18"/>
                  </a:lnTo>
                  <a:lnTo>
                    <a:pt x="109" y="18"/>
                  </a:lnTo>
                  <a:lnTo>
                    <a:pt x="97" y="30"/>
                  </a:lnTo>
                  <a:lnTo>
                    <a:pt x="82" y="30"/>
                  </a:lnTo>
                  <a:lnTo>
                    <a:pt x="82" y="0"/>
                  </a:lnTo>
                  <a:lnTo>
                    <a:pt x="70" y="0"/>
                  </a:lnTo>
                  <a:lnTo>
                    <a:pt x="70" y="20"/>
                  </a:lnTo>
                  <a:lnTo>
                    <a:pt x="56" y="20"/>
                  </a:lnTo>
                  <a:lnTo>
                    <a:pt x="43" y="20"/>
                  </a:lnTo>
                  <a:lnTo>
                    <a:pt x="29" y="5"/>
                  </a:lnTo>
                  <a:lnTo>
                    <a:pt x="16" y="16"/>
                  </a:lnTo>
                  <a:lnTo>
                    <a:pt x="0" y="34"/>
                  </a:lnTo>
                  <a:lnTo>
                    <a:pt x="15" y="48"/>
                  </a:lnTo>
                  <a:lnTo>
                    <a:pt x="4" y="59"/>
                  </a:lnTo>
                  <a:lnTo>
                    <a:pt x="4" y="75"/>
                  </a:lnTo>
                  <a:lnTo>
                    <a:pt x="25" y="75"/>
                  </a:lnTo>
                  <a:lnTo>
                    <a:pt x="41" y="57"/>
                  </a:lnTo>
                  <a:lnTo>
                    <a:pt x="63" y="57"/>
                  </a:lnTo>
                  <a:lnTo>
                    <a:pt x="63" y="73"/>
                  </a:lnTo>
                  <a:lnTo>
                    <a:pt x="48" y="73"/>
                  </a:lnTo>
                  <a:lnTo>
                    <a:pt x="48" y="84"/>
                  </a:lnTo>
                  <a:lnTo>
                    <a:pt x="36" y="84"/>
                  </a:lnTo>
                  <a:lnTo>
                    <a:pt x="27" y="93"/>
                  </a:lnTo>
                  <a:lnTo>
                    <a:pt x="36" y="100"/>
                  </a:lnTo>
                  <a:lnTo>
                    <a:pt x="63" y="100"/>
                  </a:lnTo>
                  <a:lnTo>
                    <a:pt x="73" y="111"/>
                  </a:lnTo>
                  <a:lnTo>
                    <a:pt x="100" y="111"/>
                  </a:lnTo>
                  <a:lnTo>
                    <a:pt x="109" y="119"/>
                  </a:lnTo>
                  <a:lnTo>
                    <a:pt x="127" y="119"/>
                  </a:lnTo>
                  <a:lnTo>
                    <a:pt x="129" y="119"/>
                  </a:lnTo>
                  <a:lnTo>
                    <a:pt x="129" y="11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265">
              <a:extLst>
                <a:ext uri="{FF2B5EF4-FFF2-40B4-BE49-F238E27FC236}">
                  <a16:creationId xmlns:a16="http://schemas.microsoft.com/office/drawing/2014/main" id="{BB3F5B58-5C54-471F-AD54-EDA277E2CB8D}"/>
                </a:ext>
              </a:extLst>
            </p:cNvPr>
            <p:cNvSpPr>
              <a:spLocks/>
            </p:cNvSpPr>
            <p:nvPr/>
          </p:nvSpPr>
          <p:spPr bwMode="auto">
            <a:xfrm>
              <a:off x="1955801" y="3052763"/>
              <a:ext cx="633413" cy="406400"/>
            </a:xfrm>
            <a:custGeom>
              <a:avLst/>
              <a:gdLst>
                <a:gd name="T0" fmla="*/ 740 w 797"/>
                <a:gd name="T1" fmla="*/ 430 h 514"/>
                <a:gd name="T2" fmla="*/ 765 w 797"/>
                <a:gd name="T3" fmla="*/ 393 h 514"/>
                <a:gd name="T4" fmla="*/ 797 w 797"/>
                <a:gd name="T5" fmla="*/ 343 h 514"/>
                <a:gd name="T6" fmla="*/ 703 w 797"/>
                <a:gd name="T7" fmla="*/ 348 h 514"/>
                <a:gd name="T8" fmla="*/ 678 w 797"/>
                <a:gd name="T9" fmla="*/ 428 h 514"/>
                <a:gd name="T10" fmla="*/ 539 w 797"/>
                <a:gd name="T11" fmla="*/ 410 h 514"/>
                <a:gd name="T12" fmla="*/ 516 w 797"/>
                <a:gd name="T13" fmla="*/ 323 h 514"/>
                <a:gd name="T14" fmla="*/ 534 w 797"/>
                <a:gd name="T15" fmla="*/ 234 h 514"/>
                <a:gd name="T16" fmla="*/ 459 w 797"/>
                <a:gd name="T17" fmla="*/ 193 h 514"/>
                <a:gd name="T18" fmla="*/ 412 w 797"/>
                <a:gd name="T19" fmla="*/ 106 h 514"/>
                <a:gd name="T20" fmla="*/ 359 w 797"/>
                <a:gd name="T21" fmla="*/ 123 h 514"/>
                <a:gd name="T22" fmla="*/ 339 w 797"/>
                <a:gd name="T23" fmla="*/ 79 h 514"/>
                <a:gd name="T24" fmla="*/ 234 w 797"/>
                <a:gd name="T25" fmla="*/ 29 h 514"/>
                <a:gd name="T26" fmla="*/ 182 w 797"/>
                <a:gd name="T27" fmla="*/ 41 h 514"/>
                <a:gd name="T28" fmla="*/ 97 w 797"/>
                <a:gd name="T29" fmla="*/ 25 h 514"/>
                <a:gd name="T30" fmla="*/ 0 w 797"/>
                <a:gd name="T31" fmla="*/ 0 h 514"/>
                <a:gd name="T32" fmla="*/ 16 w 797"/>
                <a:gd name="T33" fmla="*/ 31 h 514"/>
                <a:gd name="T34" fmla="*/ 47 w 797"/>
                <a:gd name="T35" fmla="*/ 116 h 514"/>
                <a:gd name="T36" fmla="*/ 75 w 797"/>
                <a:gd name="T37" fmla="*/ 163 h 514"/>
                <a:gd name="T38" fmla="*/ 90 w 797"/>
                <a:gd name="T39" fmla="*/ 202 h 514"/>
                <a:gd name="T40" fmla="*/ 134 w 797"/>
                <a:gd name="T41" fmla="*/ 220 h 514"/>
                <a:gd name="T42" fmla="*/ 191 w 797"/>
                <a:gd name="T43" fmla="*/ 307 h 514"/>
                <a:gd name="T44" fmla="*/ 170 w 797"/>
                <a:gd name="T45" fmla="*/ 254 h 514"/>
                <a:gd name="T46" fmla="*/ 123 w 797"/>
                <a:gd name="T47" fmla="*/ 172 h 514"/>
                <a:gd name="T48" fmla="*/ 70 w 797"/>
                <a:gd name="T49" fmla="*/ 97 h 514"/>
                <a:gd name="T50" fmla="*/ 116 w 797"/>
                <a:gd name="T51" fmla="*/ 49 h 514"/>
                <a:gd name="T52" fmla="*/ 207 w 797"/>
                <a:gd name="T53" fmla="*/ 188 h 514"/>
                <a:gd name="T54" fmla="*/ 248 w 797"/>
                <a:gd name="T55" fmla="*/ 270 h 514"/>
                <a:gd name="T56" fmla="*/ 336 w 797"/>
                <a:gd name="T57" fmla="*/ 334 h 514"/>
                <a:gd name="T58" fmla="*/ 373 w 797"/>
                <a:gd name="T59" fmla="*/ 432 h 514"/>
                <a:gd name="T60" fmla="*/ 430 w 797"/>
                <a:gd name="T61" fmla="*/ 462 h 514"/>
                <a:gd name="T62" fmla="*/ 466 w 797"/>
                <a:gd name="T63" fmla="*/ 476 h 514"/>
                <a:gd name="T64" fmla="*/ 541 w 797"/>
                <a:gd name="T65" fmla="*/ 514 h 514"/>
                <a:gd name="T66" fmla="*/ 610 w 797"/>
                <a:gd name="T67" fmla="*/ 512 h 514"/>
                <a:gd name="T68" fmla="*/ 628 w 797"/>
                <a:gd name="T69" fmla="*/ 512 h 514"/>
                <a:gd name="T70" fmla="*/ 740 w 797"/>
                <a:gd name="T71" fmla="*/ 44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7" h="514">
                  <a:moveTo>
                    <a:pt x="740" y="444"/>
                  </a:moveTo>
                  <a:lnTo>
                    <a:pt x="740" y="430"/>
                  </a:lnTo>
                  <a:lnTo>
                    <a:pt x="765" y="430"/>
                  </a:lnTo>
                  <a:lnTo>
                    <a:pt x="765" y="393"/>
                  </a:lnTo>
                  <a:lnTo>
                    <a:pt x="797" y="360"/>
                  </a:lnTo>
                  <a:lnTo>
                    <a:pt x="797" y="343"/>
                  </a:lnTo>
                  <a:lnTo>
                    <a:pt x="721" y="343"/>
                  </a:lnTo>
                  <a:lnTo>
                    <a:pt x="703" y="348"/>
                  </a:lnTo>
                  <a:lnTo>
                    <a:pt x="703" y="403"/>
                  </a:lnTo>
                  <a:lnTo>
                    <a:pt x="678" y="428"/>
                  </a:lnTo>
                  <a:lnTo>
                    <a:pt x="557" y="428"/>
                  </a:lnTo>
                  <a:lnTo>
                    <a:pt x="539" y="410"/>
                  </a:lnTo>
                  <a:lnTo>
                    <a:pt x="539" y="346"/>
                  </a:lnTo>
                  <a:lnTo>
                    <a:pt x="516" y="323"/>
                  </a:lnTo>
                  <a:lnTo>
                    <a:pt x="516" y="252"/>
                  </a:lnTo>
                  <a:lnTo>
                    <a:pt x="534" y="234"/>
                  </a:lnTo>
                  <a:lnTo>
                    <a:pt x="534" y="193"/>
                  </a:lnTo>
                  <a:lnTo>
                    <a:pt x="459" y="193"/>
                  </a:lnTo>
                  <a:lnTo>
                    <a:pt x="459" y="152"/>
                  </a:lnTo>
                  <a:lnTo>
                    <a:pt x="412" y="106"/>
                  </a:lnTo>
                  <a:lnTo>
                    <a:pt x="378" y="106"/>
                  </a:lnTo>
                  <a:lnTo>
                    <a:pt x="359" y="123"/>
                  </a:lnTo>
                  <a:lnTo>
                    <a:pt x="339" y="104"/>
                  </a:lnTo>
                  <a:lnTo>
                    <a:pt x="339" y="79"/>
                  </a:lnTo>
                  <a:lnTo>
                    <a:pt x="289" y="29"/>
                  </a:lnTo>
                  <a:lnTo>
                    <a:pt x="234" y="29"/>
                  </a:lnTo>
                  <a:lnTo>
                    <a:pt x="234" y="41"/>
                  </a:lnTo>
                  <a:lnTo>
                    <a:pt x="182" y="41"/>
                  </a:lnTo>
                  <a:lnTo>
                    <a:pt x="168" y="25"/>
                  </a:lnTo>
                  <a:lnTo>
                    <a:pt x="97" y="25"/>
                  </a:lnTo>
                  <a:lnTo>
                    <a:pt x="72" y="0"/>
                  </a:lnTo>
                  <a:lnTo>
                    <a:pt x="0" y="0"/>
                  </a:lnTo>
                  <a:lnTo>
                    <a:pt x="0" y="15"/>
                  </a:lnTo>
                  <a:lnTo>
                    <a:pt x="16" y="31"/>
                  </a:lnTo>
                  <a:lnTo>
                    <a:pt x="16" y="86"/>
                  </a:lnTo>
                  <a:lnTo>
                    <a:pt x="47" y="116"/>
                  </a:lnTo>
                  <a:lnTo>
                    <a:pt x="75" y="116"/>
                  </a:lnTo>
                  <a:lnTo>
                    <a:pt x="75" y="163"/>
                  </a:lnTo>
                  <a:lnTo>
                    <a:pt x="63" y="175"/>
                  </a:lnTo>
                  <a:lnTo>
                    <a:pt x="90" y="202"/>
                  </a:lnTo>
                  <a:lnTo>
                    <a:pt x="104" y="188"/>
                  </a:lnTo>
                  <a:lnTo>
                    <a:pt x="134" y="220"/>
                  </a:lnTo>
                  <a:lnTo>
                    <a:pt x="134" y="252"/>
                  </a:lnTo>
                  <a:lnTo>
                    <a:pt x="191" y="307"/>
                  </a:lnTo>
                  <a:lnTo>
                    <a:pt x="207" y="291"/>
                  </a:lnTo>
                  <a:lnTo>
                    <a:pt x="170" y="254"/>
                  </a:lnTo>
                  <a:lnTo>
                    <a:pt x="170" y="218"/>
                  </a:lnTo>
                  <a:lnTo>
                    <a:pt x="123" y="172"/>
                  </a:lnTo>
                  <a:lnTo>
                    <a:pt x="123" y="150"/>
                  </a:lnTo>
                  <a:lnTo>
                    <a:pt x="70" y="97"/>
                  </a:lnTo>
                  <a:lnTo>
                    <a:pt x="70" y="49"/>
                  </a:lnTo>
                  <a:lnTo>
                    <a:pt x="116" y="49"/>
                  </a:lnTo>
                  <a:lnTo>
                    <a:pt x="116" y="97"/>
                  </a:lnTo>
                  <a:lnTo>
                    <a:pt x="207" y="188"/>
                  </a:lnTo>
                  <a:lnTo>
                    <a:pt x="207" y="229"/>
                  </a:lnTo>
                  <a:lnTo>
                    <a:pt x="248" y="270"/>
                  </a:lnTo>
                  <a:lnTo>
                    <a:pt x="271" y="270"/>
                  </a:lnTo>
                  <a:lnTo>
                    <a:pt x="336" y="334"/>
                  </a:lnTo>
                  <a:lnTo>
                    <a:pt x="305" y="364"/>
                  </a:lnTo>
                  <a:lnTo>
                    <a:pt x="373" y="432"/>
                  </a:lnTo>
                  <a:lnTo>
                    <a:pt x="400" y="432"/>
                  </a:lnTo>
                  <a:lnTo>
                    <a:pt x="430" y="462"/>
                  </a:lnTo>
                  <a:lnTo>
                    <a:pt x="466" y="462"/>
                  </a:lnTo>
                  <a:lnTo>
                    <a:pt x="466" y="476"/>
                  </a:lnTo>
                  <a:lnTo>
                    <a:pt x="503" y="476"/>
                  </a:lnTo>
                  <a:lnTo>
                    <a:pt x="541" y="514"/>
                  </a:lnTo>
                  <a:lnTo>
                    <a:pt x="576" y="478"/>
                  </a:lnTo>
                  <a:lnTo>
                    <a:pt x="610" y="512"/>
                  </a:lnTo>
                  <a:lnTo>
                    <a:pt x="626" y="512"/>
                  </a:lnTo>
                  <a:lnTo>
                    <a:pt x="628" y="512"/>
                  </a:lnTo>
                  <a:lnTo>
                    <a:pt x="696" y="444"/>
                  </a:lnTo>
                  <a:lnTo>
                    <a:pt x="740" y="44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Freeform 266">
              <a:extLst>
                <a:ext uri="{FF2B5EF4-FFF2-40B4-BE49-F238E27FC236}">
                  <a16:creationId xmlns:a16="http://schemas.microsoft.com/office/drawing/2014/main" id="{46164725-616D-4DE5-BF68-412171C7C5DE}"/>
                </a:ext>
              </a:extLst>
            </p:cNvPr>
            <p:cNvSpPr>
              <a:spLocks/>
            </p:cNvSpPr>
            <p:nvPr/>
          </p:nvSpPr>
          <p:spPr bwMode="auto">
            <a:xfrm>
              <a:off x="2454276" y="3405188"/>
              <a:ext cx="93663" cy="87313"/>
            </a:xfrm>
            <a:custGeom>
              <a:avLst/>
              <a:gdLst>
                <a:gd name="T0" fmla="*/ 112 w 118"/>
                <a:gd name="T1" fmla="*/ 55 h 111"/>
                <a:gd name="T2" fmla="*/ 112 w 118"/>
                <a:gd name="T3" fmla="*/ 0 h 111"/>
                <a:gd name="T4" fmla="*/ 68 w 118"/>
                <a:gd name="T5" fmla="*/ 0 h 111"/>
                <a:gd name="T6" fmla="*/ 0 w 118"/>
                <a:gd name="T7" fmla="*/ 68 h 111"/>
                <a:gd name="T8" fmla="*/ 41 w 118"/>
                <a:gd name="T9" fmla="*/ 111 h 111"/>
                <a:gd name="T10" fmla="*/ 64 w 118"/>
                <a:gd name="T11" fmla="*/ 111 h 111"/>
                <a:gd name="T12" fmla="*/ 118 w 118"/>
                <a:gd name="T13" fmla="*/ 55 h 111"/>
                <a:gd name="T14" fmla="*/ 112 w 118"/>
                <a:gd name="T15" fmla="*/ 55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111">
                  <a:moveTo>
                    <a:pt x="112" y="55"/>
                  </a:moveTo>
                  <a:lnTo>
                    <a:pt x="112" y="0"/>
                  </a:lnTo>
                  <a:lnTo>
                    <a:pt x="68" y="0"/>
                  </a:lnTo>
                  <a:lnTo>
                    <a:pt x="0" y="68"/>
                  </a:lnTo>
                  <a:lnTo>
                    <a:pt x="41" y="111"/>
                  </a:lnTo>
                  <a:lnTo>
                    <a:pt x="64" y="111"/>
                  </a:lnTo>
                  <a:lnTo>
                    <a:pt x="118" y="55"/>
                  </a:lnTo>
                  <a:lnTo>
                    <a:pt x="112" y="5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267">
              <a:extLst>
                <a:ext uri="{FF2B5EF4-FFF2-40B4-BE49-F238E27FC236}">
                  <a16:creationId xmlns:a16="http://schemas.microsoft.com/office/drawing/2014/main" id="{6B3648B8-FBAF-4C0C-B085-7DF1AA79EF68}"/>
                </a:ext>
              </a:extLst>
            </p:cNvPr>
            <p:cNvSpPr>
              <a:spLocks/>
            </p:cNvSpPr>
            <p:nvPr/>
          </p:nvSpPr>
          <p:spPr bwMode="auto">
            <a:xfrm>
              <a:off x="2505076" y="3448050"/>
              <a:ext cx="150813" cy="61913"/>
            </a:xfrm>
            <a:custGeom>
              <a:avLst/>
              <a:gdLst>
                <a:gd name="T0" fmla="*/ 189 w 189"/>
                <a:gd name="T1" fmla="*/ 36 h 77"/>
                <a:gd name="T2" fmla="*/ 189 w 189"/>
                <a:gd name="T3" fmla="*/ 22 h 77"/>
                <a:gd name="T4" fmla="*/ 168 w 189"/>
                <a:gd name="T5" fmla="*/ 0 h 77"/>
                <a:gd name="T6" fmla="*/ 54 w 189"/>
                <a:gd name="T7" fmla="*/ 0 h 77"/>
                <a:gd name="T8" fmla="*/ 0 w 189"/>
                <a:gd name="T9" fmla="*/ 56 h 77"/>
                <a:gd name="T10" fmla="*/ 68 w 189"/>
                <a:gd name="T11" fmla="*/ 56 h 77"/>
                <a:gd name="T12" fmla="*/ 91 w 189"/>
                <a:gd name="T13" fmla="*/ 77 h 77"/>
                <a:gd name="T14" fmla="*/ 132 w 189"/>
                <a:gd name="T15" fmla="*/ 36 h 77"/>
                <a:gd name="T16" fmla="*/ 189 w 189"/>
                <a:gd name="T17" fmla="*/ 3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 h="77">
                  <a:moveTo>
                    <a:pt x="189" y="36"/>
                  </a:moveTo>
                  <a:lnTo>
                    <a:pt x="189" y="22"/>
                  </a:lnTo>
                  <a:lnTo>
                    <a:pt x="168" y="0"/>
                  </a:lnTo>
                  <a:lnTo>
                    <a:pt x="54" y="0"/>
                  </a:lnTo>
                  <a:lnTo>
                    <a:pt x="0" y="56"/>
                  </a:lnTo>
                  <a:lnTo>
                    <a:pt x="68" y="56"/>
                  </a:lnTo>
                  <a:lnTo>
                    <a:pt x="91" y="77"/>
                  </a:lnTo>
                  <a:lnTo>
                    <a:pt x="132" y="36"/>
                  </a:lnTo>
                  <a:lnTo>
                    <a:pt x="189" y="3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268">
              <a:extLst>
                <a:ext uri="{FF2B5EF4-FFF2-40B4-BE49-F238E27FC236}">
                  <a16:creationId xmlns:a16="http://schemas.microsoft.com/office/drawing/2014/main" id="{E146055B-3EBC-41B3-9F4F-597815CA7F9C}"/>
                </a:ext>
              </a:extLst>
            </p:cNvPr>
            <p:cNvSpPr>
              <a:spLocks/>
            </p:cNvSpPr>
            <p:nvPr/>
          </p:nvSpPr>
          <p:spPr bwMode="auto">
            <a:xfrm>
              <a:off x="2646363" y="3571875"/>
              <a:ext cx="141288" cy="69850"/>
            </a:xfrm>
            <a:custGeom>
              <a:avLst/>
              <a:gdLst>
                <a:gd name="T0" fmla="*/ 146 w 178"/>
                <a:gd name="T1" fmla="*/ 10 h 89"/>
                <a:gd name="T2" fmla="*/ 119 w 178"/>
                <a:gd name="T3" fmla="*/ 10 h 89"/>
                <a:gd name="T4" fmla="*/ 110 w 178"/>
                <a:gd name="T5" fmla="*/ 0 h 89"/>
                <a:gd name="T6" fmla="*/ 82 w 178"/>
                <a:gd name="T7" fmla="*/ 28 h 89"/>
                <a:gd name="T8" fmla="*/ 44 w 178"/>
                <a:gd name="T9" fmla="*/ 28 h 89"/>
                <a:gd name="T10" fmla="*/ 28 w 178"/>
                <a:gd name="T11" fmla="*/ 12 h 89"/>
                <a:gd name="T12" fmla="*/ 0 w 178"/>
                <a:gd name="T13" fmla="*/ 39 h 89"/>
                <a:gd name="T14" fmla="*/ 58 w 178"/>
                <a:gd name="T15" fmla="*/ 39 h 89"/>
                <a:gd name="T16" fmla="*/ 85 w 178"/>
                <a:gd name="T17" fmla="*/ 66 h 89"/>
                <a:gd name="T18" fmla="*/ 96 w 178"/>
                <a:gd name="T19" fmla="*/ 57 h 89"/>
                <a:gd name="T20" fmla="*/ 96 w 178"/>
                <a:gd name="T21" fmla="*/ 41 h 89"/>
                <a:gd name="T22" fmla="*/ 114 w 178"/>
                <a:gd name="T23" fmla="*/ 23 h 89"/>
                <a:gd name="T24" fmla="*/ 178 w 178"/>
                <a:gd name="T25" fmla="*/ 89 h 89"/>
                <a:gd name="T26" fmla="*/ 178 w 178"/>
                <a:gd name="T27" fmla="*/ 41 h 89"/>
                <a:gd name="T28" fmla="*/ 146 w 178"/>
                <a:gd name="T29" fmla="*/ 1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89">
                  <a:moveTo>
                    <a:pt x="146" y="10"/>
                  </a:moveTo>
                  <a:lnTo>
                    <a:pt x="119" y="10"/>
                  </a:lnTo>
                  <a:lnTo>
                    <a:pt x="110" y="0"/>
                  </a:lnTo>
                  <a:lnTo>
                    <a:pt x="82" y="28"/>
                  </a:lnTo>
                  <a:lnTo>
                    <a:pt x="44" y="28"/>
                  </a:lnTo>
                  <a:lnTo>
                    <a:pt x="28" y="12"/>
                  </a:lnTo>
                  <a:lnTo>
                    <a:pt x="0" y="39"/>
                  </a:lnTo>
                  <a:lnTo>
                    <a:pt x="58" y="39"/>
                  </a:lnTo>
                  <a:lnTo>
                    <a:pt x="85" y="66"/>
                  </a:lnTo>
                  <a:lnTo>
                    <a:pt x="96" y="57"/>
                  </a:lnTo>
                  <a:lnTo>
                    <a:pt x="96" y="41"/>
                  </a:lnTo>
                  <a:lnTo>
                    <a:pt x="114" y="23"/>
                  </a:lnTo>
                  <a:lnTo>
                    <a:pt x="178" y="89"/>
                  </a:lnTo>
                  <a:lnTo>
                    <a:pt x="178" y="41"/>
                  </a:lnTo>
                  <a:lnTo>
                    <a:pt x="146" y="1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269">
              <a:extLst>
                <a:ext uri="{FF2B5EF4-FFF2-40B4-BE49-F238E27FC236}">
                  <a16:creationId xmlns:a16="http://schemas.microsoft.com/office/drawing/2014/main" id="{5EDA7455-0432-4DEE-9D00-ADB2AC3840EA}"/>
                </a:ext>
              </a:extLst>
            </p:cNvPr>
            <p:cNvSpPr>
              <a:spLocks/>
            </p:cNvSpPr>
            <p:nvPr/>
          </p:nvSpPr>
          <p:spPr bwMode="auto">
            <a:xfrm>
              <a:off x="2578101" y="3476625"/>
              <a:ext cx="92075" cy="125413"/>
            </a:xfrm>
            <a:custGeom>
              <a:avLst/>
              <a:gdLst>
                <a:gd name="T0" fmla="*/ 82 w 116"/>
                <a:gd name="T1" fmla="*/ 96 h 159"/>
                <a:gd name="T2" fmla="*/ 98 w 116"/>
                <a:gd name="T3" fmla="*/ 80 h 159"/>
                <a:gd name="T4" fmla="*/ 98 w 116"/>
                <a:gd name="T5" fmla="*/ 0 h 159"/>
                <a:gd name="T6" fmla="*/ 41 w 116"/>
                <a:gd name="T7" fmla="*/ 0 h 159"/>
                <a:gd name="T8" fmla="*/ 0 w 116"/>
                <a:gd name="T9" fmla="*/ 41 h 159"/>
                <a:gd name="T10" fmla="*/ 45 w 116"/>
                <a:gd name="T11" fmla="*/ 86 h 159"/>
                <a:gd name="T12" fmla="*/ 45 w 116"/>
                <a:gd name="T13" fmla="*/ 114 h 159"/>
                <a:gd name="T14" fmla="*/ 64 w 116"/>
                <a:gd name="T15" fmla="*/ 136 h 159"/>
                <a:gd name="T16" fmla="*/ 84 w 116"/>
                <a:gd name="T17" fmla="*/ 136 h 159"/>
                <a:gd name="T18" fmla="*/ 84 w 116"/>
                <a:gd name="T19" fmla="*/ 159 h 159"/>
                <a:gd name="T20" fmla="*/ 88 w 116"/>
                <a:gd name="T21" fmla="*/ 159 h 159"/>
                <a:gd name="T22" fmla="*/ 116 w 116"/>
                <a:gd name="T23" fmla="*/ 132 h 159"/>
                <a:gd name="T24" fmla="*/ 82 w 116"/>
                <a:gd name="T25" fmla="*/ 9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59">
                  <a:moveTo>
                    <a:pt x="82" y="96"/>
                  </a:moveTo>
                  <a:lnTo>
                    <a:pt x="98" y="80"/>
                  </a:lnTo>
                  <a:lnTo>
                    <a:pt x="98" y="0"/>
                  </a:lnTo>
                  <a:lnTo>
                    <a:pt x="41" y="0"/>
                  </a:lnTo>
                  <a:lnTo>
                    <a:pt x="0" y="41"/>
                  </a:lnTo>
                  <a:lnTo>
                    <a:pt x="45" y="86"/>
                  </a:lnTo>
                  <a:lnTo>
                    <a:pt x="45" y="114"/>
                  </a:lnTo>
                  <a:lnTo>
                    <a:pt x="64" y="136"/>
                  </a:lnTo>
                  <a:lnTo>
                    <a:pt x="84" y="136"/>
                  </a:lnTo>
                  <a:lnTo>
                    <a:pt x="84" y="159"/>
                  </a:lnTo>
                  <a:lnTo>
                    <a:pt x="88" y="159"/>
                  </a:lnTo>
                  <a:lnTo>
                    <a:pt x="116" y="132"/>
                  </a:lnTo>
                  <a:lnTo>
                    <a:pt x="82" y="9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270">
              <a:extLst>
                <a:ext uri="{FF2B5EF4-FFF2-40B4-BE49-F238E27FC236}">
                  <a16:creationId xmlns:a16="http://schemas.microsoft.com/office/drawing/2014/main" id="{C0518A42-AE1D-40D8-8F87-D8385981691F}"/>
                </a:ext>
              </a:extLst>
            </p:cNvPr>
            <p:cNvSpPr>
              <a:spLocks/>
            </p:cNvSpPr>
            <p:nvPr/>
          </p:nvSpPr>
          <p:spPr bwMode="auto">
            <a:xfrm>
              <a:off x="2686051" y="3779838"/>
              <a:ext cx="265113" cy="417513"/>
            </a:xfrm>
            <a:custGeom>
              <a:avLst/>
              <a:gdLst>
                <a:gd name="T0" fmla="*/ 333 w 333"/>
                <a:gd name="T1" fmla="*/ 454 h 525"/>
                <a:gd name="T2" fmla="*/ 315 w 333"/>
                <a:gd name="T3" fmla="*/ 438 h 525"/>
                <a:gd name="T4" fmla="*/ 315 w 333"/>
                <a:gd name="T5" fmla="*/ 420 h 525"/>
                <a:gd name="T6" fmla="*/ 331 w 333"/>
                <a:gd name="T7" fmla="*/ 406 h 525"/>
                <a:gd name="T8" fmla="*/ 331 w 333"/>
                <a:gd name="T9" fmla="*/ 386 h 525"/>
                <a:gd name="T10" fmla="*/ 331 w 333"/>
                <a:gd name="T11" fmla="*/ 360 h 525"/>
                <a:gd name="T12" fmla="*/ 308 w 333"/>
                <a:gd name="T13" fmla="*/ 337 h 525"/>
                <a:gd name="T14" fmla="*/ 308 w 333"/>
                <a:gd name="T15" fmla="*/ 313 h 525"/>
                <a:gd name="T16" fmla="*/ 280 w 333"/>
                <a:gd name="T17" fmla="*/ 313 h 525"/>
                <a:gd name="T18" fmla="*/ 280 w 333"/>
                <a:gd name="T19" fmla="*/ 274 h 525"/>
                <a:gd name="T20" fmla="*/ 265 w 333"/>
                <a:gd name="T21" fmla="*/ 288 h 525"/>
                <a:gd name="T22" fmla="*/ 228 w 333"/>
                <a:gd name="T23" fmla="*/ 288 h 525"/>
                <a:gd name="T24" fmla="*/ 228 w 333"/>
                <a:gd name="T25" fmla="*/ 267 h 525"/>
                <a:gd name="T26" fmla="*/ 210 w 333"/>
                <a:gd name="T27" fmla="*/ 249 h 525"/>
                <a:gd name="T28" fmla="*/ 187 w 333"/>
                <a:gd name="T29" fmla="*/ 249 h 525"/>
                <a:gd name="T30" fmla="*/ 187 w 333"/>
                <a:gd name="T31" fmla="*/ 201 h 525"/>
                <a:gd name="T32" fmla="*/ 196 w 333"/>
                <a:gd name="T33" fmla="*/ 190 h 525"/>
                <a:gd name="T34" fmla="*/ 196 w 333"/>
                <a:gd name="T35" fmla="*/ 160 h 525"/>
                <a:gd name="T36" fmla="*/ 224 w 333"/>
                <a:gd name="T37" fmla="*/ 132 h 525"/>
                <a:gd name="T38" fmla="*/ 246 w 333"/>
                <a:gd name="T39" fmla="*/ 132 h 525"/>
                <a:gd name="T40" fmla="*/ 265 w 333"/>
                <a:gd name="T41" fmla="*/ 114 h 525"/>
                <a:gd name="T42" fmla="*/ 265 w 333"/>
                <a:gd name="T43" fmla="*/ 83 h 525"/>
                <a:gd name="T44" fmla="*/ 238 w 333"/>
                <a:gd name="T45" fmla="*/ 57 h 525"/>
                <a:gd name="T46" fmla="*/ 222 w 333"/>
                <a:gd name="T47" fmla="*/ 73 h 525"/>
                <a:gd name="T48" fmla="*/ 197 w 333"/>
                <a:gd name="T49" fmla="*/ 50 h 525"/>
                <a:gd name="T50" fmla="*/ 197 w 333"/>
                <a:gd name="T51" fmla="*/ 33 h 525"/>
                <a:gd name="T52" fmla="*/ 165 w 333"/>
                <a:gd name="T53" fmla="*/ 0 h 525"/>
                <a:gd name="T54" fmla="*/ 148 w 333"/>
                <a:gd name="T55" fmla="*/ 0 h 525"/>
                <a:gd name="T56" fmla="*/ 148 w 333"/>
                <a:gd name="T57" fmla="*/ 35 h 525"/>
                <a:gd name="T58" fmla="*/ 132 w 333"/>
                <a:gd name="T59" fmla="*/ 35 h 525"/>
                <a:gd name="T60" fmla="*/ 132 w 333"/>
                <a:gd name="T61" fmla="*/ 64 h 525"/>
                <a:gd name="T62" fmla="*/ 98 w 333"/>
                <a:gd name="T63" fmla="*/ 96 h 525"/>
                <a:gd name="T64" fmla="*/ 46 w 333"/>
                <a:gd name="T65" fmla="*/ 148 h 525"/>
                <a:gd name="T66" fmla="*/ 17 w 333"/>
                <a:gd name="T67" fmla="*/ 119 h 525"/>
                <a:gd name="T68" fmla="*/ 17 w 333"/>
                <a:gd name="T69" fmla="*/ 107 h 525"/>
                <a:gd name="T70" fmla="*/ 0 w 333"/>
                <a:gd name="T71" fmla="*/ 124 h 525"/>
                <a:gd name="T72" fmla="*/ 0 w 333"/>
                <a:gd name="T73" fmla="*/ 171 h 525"/>
                <a:gd name="T74" fmla="*/ 25 w 333"/>
                <a:gd name="T75" fmla="*/ 171 h 525"/>
                <a:gd name="T76" fmla="*/ 25 w 333"/>
                <a:gd name="T77" fmla="*/ 196 h 525"/>
                <a:gd name="T78" fmla="*/ 66 w 333"/>
                <a:gd name="T79" fmla="*/ 237 h 525"/>
                <a:gd name="T80" fmla="*/ 66 w 333"/>
                <a:gd name="T81" fmla="*/ 271 h 525"/>
                <a:gd name="T82" fmla="*/ 119 w 333"/>
                <a:gd name="T83" fmla="*/ 324 h 525"/>
                <a:gd name="T84" fmla="*/ 119 w 333"/>
                <a:gd name="T85" fmla="*/ 353 h 525"/>
                <a:gd name="T86" fmla="*/ 119 w 333"/>
                <a:gd name="T87" fmla="*/ 374 h 525"/>
                <a:gd name="T88" fmla="*/ 153 w 333"/>
                <a:gd name="T89" fmla="*/ 408 h 525"/>
                <a:gd name="T90" fmla="*/ 187 w 333"/>
                <a:gd name="T91" fmla="*/ 443 h 525"/>
                <a:gd name="T92" fmla="*/ 215 w 333"/>
                <a:gd name="T93" fmla="*/ 470 h 525"/>
                <a:gd name="T94" fmla="*/ 247 w 333"/>
                <a:gd name="T95" fmla="*/ 470 h 525"/>
                <a:gd name="T96" fmla="*/ 297 w 333"/>
                <a:gd name="T97" fmla="*/ 522 h 525"/>
                <a:gd name="T98" fmla="*/ 297 w 333"/>
                <a:gd name="T99" fmla="*/ 525 h 525"/>
                <a:gd name="T100" fmla="*/ 333 w 333"/>
                <a:gd name="T101" fmla="*/ 490 h 525"/>
                <a:gd name="T102" fmla="*/ 333 w 333"/>
                <a:gd name="T103" fmla="*/ 454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525">
                  <a:moveTo>
                    <a:pt x="333" y="454"/>
                  </a:moveTo>
                  <a:lnTo>
                    <a:pt x="315" y="438"/>
                  </a:lnTo>
                  <a:lnTo>
                    <a:pt x="315" y="420"/>
                  </a:lnTo>
                  <a:lnTo>
                    <a:pt x="331" y="406"/>
                  </a:lnTo>
                  <a:lnTo>
                    <a:pt x="331" y="386"/>
                  </a:lnTo>
                  <a:lnTo>
                    <a:pt x="331" y="360"/>
                  </a:lnTo>
                  <a:lnTo>
                    <a:pt x="308" y="337"/>
                  </a:lnTo>
                  <a:lnTo>
                    <a:pt x="308" y="313"/>
                  </a:lnTo>
                  <a:lnTo>
                    <a:pt x="280" y="313"/>
                  </a:lnTo>
                  <a:lnTo>
                    <a:pt x="280" y="274"/>
                  </a:lnTo>
                  <a:lnTo>
                    <a:pt x="265" y="288"/>
                  </a:lnTo>
                  <a:lnTo>
                    <a:pt x="228" y="288"/>
                  </a:lnTo>
                  <a:lnTo>
                    <a:pt x="228" y="267"/>
                  </a:lnTo>
                  <a:lnTo>
                    <a:pt x="210" y="249"/>
                  </a:lnTo>
                  <a:lnTo>
                    <a:pt x="187" y="249"/>
                  </a:lnTo>
                  <a:lnTo>
                    <a:pt x="187" y="201"/>
                  </a:lnTo>
                  <a:lnTo>
                    <a:pt x="196" y="190"/>
                  </a:lnTo>
                  <a:lnTo>
                    <a:pt x="196" y="160"/>
                  </a:lnTo>
                  <a:lnTo>
                    <a:pt x="224" y="132"/>
                  </a:lnTo>
                  <a:lnTo>
                    <a:pt x="246" y="132"/>
                  </a:lnTo>
                  <a:lnTo>
                    <a:pt x="265" y="114"/>
                  </a:lnTo>
                  <a:lnTo>
                    <a:pt x="265" y="83"/>
                  </a:lnTo>
                  <a:lnTo>
                    <a:pt x="238" y="57"/>
                  </a:lnTo>
                  <a:lnTo>
                    <a:pt x="222" y="73"/>
                  </a:lnTo>
                  <a:lnTo>
                    <a:pt x="197" y="50"/>
                  </a:lnTo>
                  <a:lnTo>
                    <a:pt x="197" y="33"/>
                  </a:lnTo>
                  <a:lnTo>
                    <a:pt x="165" y="0"/>
                  </a:lnTo>
                  <a:lnTo>
                    <a:pt x="148" y="0"/>
                  </a:lnTo>
                  <a:lnTo>
                    <a:pt x="148" y="35"/>
                  </a:lnTo>
                  <a:lnTo>
                    <a:pt x="132" y="35"/>
                  </a:lnTo>
                  <a:lnTo>
                    <a:pt x="132" y="64"/>
                  </a:lnTo>
                  <a:lnTo>
                    <a:pt x="98" y="96"/>
                  </a:lnTo>
                  <a:lnTo>
                    <a:pt x="46" y="148"/>
                  </a:lnTo>
                  <a:lnTo>
                    <a:pt x="17" y="119"/>
                  </a:lnTo>
                  <a:lnTo>
                    <a:pt x="17" y="107"/>
                  </a:lnTo>
                  <a:lnTo>
                    <a:pt x="0" y="124"/>
                  </a:lnTo>
                  <a:lnTo>
                    <a:pt x="0" y="171"/>
                  </a:lnTo>
                  <a:lnTo>
                    <a:pt x="25" y="171"/>
                  </a:lnTo>
                  <a:lnTo>
                    <a:pt x="25" y="196"/>
                  </a:lnTo>
                  <a:lnTo>
                    <a:pt x="66" y="237"/>
                  </a:lnTo>
                  <a:lnTo>
                    <a:pt x="66" y="271"/>
                  </a:lnTo>
                  <a:lnTo>
                    <a:pt x="119" y="324"/>
                  </a:lnTo>
                  <a:lnTo>
                    <a:pt x="119" y="353"/>
                  </a:lnTo>
                  <a:lnTo>
                    <a:pt x="119" y="374"/>
                  </a:lnTo>
                  <a:lnTo>
                    <a:pt x="153" y="408"/>
                  </a:lnTo>
                  <a:lnTo>
                    <a:pt x="187" y="443"/>
                  </a:lnTo>
                  <a:lnTo>
                    <a:pt x="215" y="470"/>
                  </a:lnTo>
                  <a:lnTo>
                    <a:pt x="247" y="470"/>
                  </a:lnTo>
                  <a:lnTo>
                    <a:pt x="297" y="522"/>
                  </a:lnTo>
                  <a:lnTo>
                    <a:pt x="297" y="525"/>
                  </a:lnTo>
                  <a:lnTo>
                    <a:pt x="333" y="490"/>
                  </a:lnTo>
                  <a:lnTo>
                    <a:pt x="333" y="454"/>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271">
              <a:extLst>
                <a:ext uri="{FF2B5EF4-FFF2-40B4-BE49-F238E27FC236}">
                  <a16:creationId xmlns:a16="http://schemas.microsoft.com/office/drawing/2014/main" id="{47873B52-59D4-4B73-A5FB-376620089CE4}"/>
                </a:ext>
              </a:extLst>
            </p:cNvPr>
            <p:cNvSpPr>
              <a:spLocks/>
            </p:cNvSpPr>
            <p:nvPr/>
          </p:nvSpPr>
          <p:spPr bwMode="auto">
            <a:xfrm>
              <a:off x="2686051" y="3733800"/>
              <a:ext cx="117475" cy="163513"/>
            </a:xfrm>
            <a:custGeom>
              <a:avLst/>
              <a:gdLst>
                <a:gd name="T0" fmla="*/ 99 w 148"/>
                <a:gd name="T1" fmla="*/ 41 h 205"/>
                <a:gd name="T2" fmla="*/ 58 w 148"/>
                <a:gd name="T3" fmla="*/ 0 h 205"/>
                <a:gd name="T4" fmla="*/ 49 w 148"/>
                <a:gd name="T5" fmla="*/ 8 h 205"/>
                <a:gd name="T6" fmla="*/ 49 w 148"/>
                <a:gd name="T7" fmla="*/ 25 h 205"/>
                <a:gd name="T8" fmla="*/ 26 w 148"/>
                <a:gd name="T9" fmla="*/ 25 h 205"/>
                <a:gd name="T10" fmla="*/ 26 w 148"/>
                <a:gd name="T11" fmla="*/ 51 h 205"/>
                <a:gd name="T12" fmla="*/ 0 w 148"/>
                <a:gd name="T13" fmla="*/ 78 h 205"/>
                <a:gd name="T14" fmla="*/ 0 w 148"/>
                <a:gd name="T15" fmla="*/ 117 h 205"/>
                <a:gd name="T16" fmla="*/ 33 w 148"/>
                <a:gd name="T17" fmla="*/ 117 h 205"/>
                <a:gd name="T18" fmla="*/ 33 w 148"/>
                <a:gd name="T19" fmla="*/ 148 h 205"/>
                <a:gd name="T20" fmla="*/ 17 w 148"/>
                <a:gd name="T21" fmla="*/ 164 h 205"/>
                <a:gd name="T22" fmla="*/ 17 w 148"/>
                <a:gd name="T23" fmla="*/ 176 h 205"/>
                <a:gd name="T24" fmla="*/ 46 w 148"/>
                <a:gd name="T25" fmla="*/ 205 h 205"/>
                <a:gd name="T26" fmla="*/ 98 w 148"/>
                <a:gd name="T27" fmla="*/ 153 h 205"/>
                <a:gd name="T28" fmla="*/ 132 w 148"/>
                <a:gd name="T29" fmla="*/ 121 h 205"/>
                <a:gd name="T30" fmla="*/ 132 w 148"/>
                <a:gd name="T31" fmla="*/ 92 h 205"/>
                <a:gd name="T32" fmla="*/ 148 w 148"/>
                <a:gd name="T33" fmla="*/ 92 h 205"/>
                <a:gd name="T34" fmla="*/ 148 w 148"/>
                <a:gd name="T35" fmla="*/ 57 h 205"/>
                <a:gd name="T36" fmla="*/ 133 w 148"/>
                <a:gd name="T37" fmla="*/ 41 h 205"/>
                <a:gd name="T38" fmla="*/ 99 w 148"/>
                <a:gd name="T39" fmla="*/ 4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205">
                  <a:moveTo>
                    <a:pt x="99" y="41"/>
                  </a:moveTo>
                  <a:lnTo>
                    <a:pt x="58" y="0"/>
                  </a:lnTo>
                  <a:lnTo>
                    <a:pt x="49" y="8"/>
                  </a:lnTo>
                  <a:lnTo>
                    <a:pt x="49" y="25"/>
                  </a:lnTo>
                  <a:lnTo>
                    <a:pt x="26" y="25"/>
                  </a:lnTo>
                  <a:lnTo>
                    <a:pt x="26" y="51"/>
                  </a:lnTo>
                  <a:lnTo>
                    <a:pt x="0" y="78"/>
                  </a:lnTo>
                  <a:lnTo>
                    <a:pt x="0" y="117"/>
                  </a:lnTo>
                  <a:lnTo>
                    <a:pt x="33" y="117"/>
                  </a:lnTo>
                  <a:lnTo>
                    <a:pt x="33" y="148"/>
                  </a:lnTo>
                  <a:lnTo>
                    <a:pt x="17" y="164"/>
                  </a:lnTo>
                  <a:lnTo>
                    <a:pt x="17" y="176"/>
                  </a:lnTo>
                  <a:lnTo>
                    <a:pt x="46" y="205"/>
                  </a:lnTo>
                  <a:lnTo>
                    <a:pt x="98" y="153"/>
                  </a:lnTo>
                  <a:lnTo>
                    <a:pt x="132" y="121"/>
                  </a:lnTo>
                  <a:lnTo>
                    <a:pt x="132" y="92"/>
                  </a:lnTo>
                  <a:lnTo>
                    <a:pt x="148" y="92"/>
                  </a:lnTo>
                  <a:lnTo>
                    <a:pt x="148" y="57"/>
                  </a:lnTo>
                  <a:lnTo>
                    <a:pt x="133" y="41"/>
                  </a:lnTo>
                  <a:lnTo>
                    <a:pt x="99" y="4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272">
              <a:extLst>
                <a:ext uri="{FF2B5EF4-FFF2-40B4-BE49-F238E27FC236}">
                  <a16:creationId xmlns:a16="http://schemas.microsoft.com/office/drawing/2014/main" id="{1F1F2FEB-20A0-4DEA-9E17-D9A9D9EBFEB9}"/>
                </a:ext>
              </a:extLst>
            </p:cNvPr>
            <p:cNvSpPr>
              <a:spLocks/>
            </p:cNvSpPr>
            <p:nvPr/>
          </p:nvSpPr>
          <p:spPr bwMode="auto">
            <a:xfrm>
              <a:off x="2733676" y="3497263"/>
              <a:ext cx="242888" cy="381000"/>
            </a:xfrm>
            <a:custGeom>
              <a:avLst/>
              <a:gdLst>
                <a:gd name="T0" fmla="*/ 296 w 307"/>
                <a:gd name="T1" fmla="*/ 253 h 479"/>
                <a:gd name="T2" fmla="*/ 296 w 307"/>
                <a:gd name="T3" fmla="*/ 235 h 479"/>
                <a:gd name="T4" fmla="*/ 286 w 307"/>
                <a:gd name="T5" fmla="*/ 224 h 479"/>
                <a:gd name="T6" fmla="*/ 286 w 307"/>
                <a:gd name="T7" fmla="*/ 196 h 479"/>
                <a:gd name="T8" fmla="*/ 307 w 307"/>
                <a:gd name="T9" fmla="*/ 175 h 479"/>
                <a:gd name="T10" fmla="*/ 257 w 307"/>
                <a:gd name="T11" fmla="*/ 175 h 479"/>
                <a:gd name="T12" fmla="*/ 236 w 307"/>
                <a:gd name="T13" fmla="*/ 151 h 479"/>
                <a:gd name="T14" fmla="*/ 211 w 307"/>
                <a:gd name="T15" fmla="*/ 151 h 479"/>
                <a:gd name="T16" fmla="*/ 193 w 307"/>
                <a:gd name="T17" fmla="*/ 151 h 479"/>
                <a:gd name="T18" fmla="*/ 172 w 307"/>
                <a:gd name="T19" fmla="*/ 130 h 479"/>
                <a:gd name="T20" fmla="*/ 172 w 307"/>
                <a:gd name="T21" fmla="*/ 103 h 479"/>
                <a:gd name="T22" fmla="*/ 172 w 307"/>
                <a:gd name="T23" fmla="*/ 75 h 479"/>
                <a:gd name="T24" fmla="*/ 172 w 307"/>
                <a:gd name="T25" fmla="*/ 50 h 479"/>
                <a:gd name="T26" fmla="*/ 204 w 307"/>
                <a:gd name="T27" fmla="*/ 16 h 479"/>
                <a:gd name="T28" fmla="*/ 204 w 307"/>
                <a:gd name="T29" fmla="*/ 0 h 479"/>
                <a:gd name="T30" fmla="*/ 175 w 307"/>
                <a:gd name="T31" fmla="*/ 30 h 479"/>
                <a:gd name="T32" fmla="*/ 154 w 307"/>
                <a:gd name="T33" fmla="*/ 11 h 479"/>
                <a:gd name="T34" fmla="*/ 129 w 307"/>
                <a:gd name="T35" fmla="*/ 36 h 479"/>
                <a:gd name="T36" fmla="*/ 106 w 307"/>
                <a:gd name="T37" fmla="*/ 36 h 479"/>
                <a:gd name="T38" fmla="*/ 91 w 307"/>
                <a:gd name="T39" fmla="*/ 50 h 479"/>
                <a:gd name="T40" fmla="*/ 91 w 307"/>
                <a:gd name="T41" fmla="*/ 85 h 479"/>
                <a:gd name="T42" fmla="*/ 72 w 307"/>
                <a:gd name="T43" fmla="*/ 105 h 479"/>
                <a:gd name="T44" fmla="*/ 70 w 307"/>
                <a:gd name="T45" fmla="*/ 134 h 479"/>
                <a:gd name="T46" fmla="*/ 70 w 307"/>
                <a:gd name="T47" fmla="*/ 182 h 479"/>
                <a:gd name="T48" fmla="*/ 32 w 307"/>
                <a:gd name="T49" fmla="*/ 219 h 479"/>
                <a:gd name="T50" fmla="*/ 32 w 307"/>
                <a:gd name="T51" fmla="*/ 267 h 479"/>
                <a:gd name="T52" fmla="*/ 13 w 307"/>
                <a:gd name="T53" fmla="*/ 287 h 479"/>
                <a:gd name="T54" fmla="*/ 0 w 307"/>
                <a:gd name="T55" fmla="*/ 298 h 479"/>
                <a:gd name="T56" fmla="*/ 41 w 307"/>
                <a:gd name="T57" fmla="*/ 339 h 479"/>
                <a:gd name="T58" fmla="*/ 75 w 307"/>
                <a:gd name="T59" fmla="*/ 339 h 479"/>
                <a:gd name="T60" fmla="*/ 90 w 307"/>
                <a:gd name="T61" fmla="*/ 355 h 479"/>
                <a:gd name="T62" fmla="*/ 107 w 307"/>
                <a:gd name="T63" fmla="*/ 355 h 479"/>
                <a:gd name="T64" fmla="*/ 139 w 307"/>
                <a:gd name="T65" fmla="*/ 388 h 479"/>
                <a:gd name="T66" fmla="*/ 139 w 307"/>
                <a:gd name="T67" fmla="*/ 405 h 479"/>
                <a:gd name="T68" fmla="*/ 164 w 307"/>
                <a:gd name="T69" fmla="*/ 428 h 479"/>
                <a:gd name="T70" fmla="*/ 180 w 307"/>
                <a:gd name="T71" fmla="*/ 412 h 479"/>
                <a:gd name="T72" fmla="*/ 207 w 307"/>
                <a:gd name="T73" fmla="*/ 438 h 479"/>
                <a:gd name="T74" fmla="*/ 207 w 307"/>
                <a:gd name="T75" fmla="*/ 469 h 479"/>
                <a:gd name="T76" fmla="*/ 218 w 307"/>
                <a:gd name="T77" fmla="*/ 479 h 479"/>
                <a:gd name="T78" fmla="*/ 218 w 307"/>
                <a:gd name="T79" fmla="*/ 435 h 479"/>
                <a:gd name="T80" fmla="*/ 236 w 307"/>
                <a:gd name="T81" fmla="*/ 435 h 479"/>
                <a:gd name="T82" fmla="*/ 254 w 307"/>
                <a:gd name="T83" fmla="*/ 417 h 479"/>
                <a:gd name="T84" fmla="*/ 254 w 307"/>
                <a:gd name="T85" fmla="*/ 376 h 479"/>
                <a:gd name="T86" fmla="*/ 230 w 307"/>
                <a:gd name="T87" fmla="*/ 353 h 479"/>
                <a:gd name="T88" fmla="*/ 230 w 307"/>
                <a:gd name="T89" fmla="*/ 330 h 479"/>
                <a:gd name="T90" fmla="*/ 245 w 307"/>
                <a:gd name="T91" fmla="*/ 330 h 479"/>
                <a:gd name="T92" fmla="*/ 229 w 307"/>
                <a:gd name="T93" fmla="*/ 314 h 479"/>
                <a:gd name="T94" fmla="*/ 229 w 307"/>
                <a:gd name="T95" fmla="*/ 296 h 479"/>
                <a:gd name="T96" fmla="*/ 261 w 307"/>
                <a:gd name="T97" fmla="*/ 296 h 479"/>
                <a:gd name="T98" fmla="*/ 273 w 307"/>
                <a:gd name="T99" fmla="*/ 283 h 479"/>
                <a:gd name="T100" fmla="*/ 305 w 307"/>
                <a:gd name="T101" fmla="*/ 283 h 479"/>
                <a:gd name="T102" fmla="*/ 286 w 307"/>
                <a:gd name="T103" fmla="*/ 265 h 479"/>
                <a:gd name="T104" fmla="*/ 296 w 307"/>
                <a:gd name="T105" fmla="*/ 2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7" h="479">
                  <a:moveTo>
                    <a:pt x="296" y="253"/>
                  </a:moveTo>
                  <a:lnTo>
                    <a:pt x="296" y="235"/>
                  </a:lnTo>
                  <a:lnTo>
                    <a:pt x="286" y="224"/>
                  </a:lnTo>
                  <a:lnTo>
                    <a:pt x="286" y="196"/>
                  </a:lnTo>
                  <a:lnTo>
                    <a:pt x="307" y="175"/>
                  </a:lnTo>
                  <a:lnTo>
                    <a:pt x="257" y="175"/>
                  </a:lnTo>
                  <a:lnTo>
                    <a:pt x="236" y="151"/>
                  </a:lnTo>
                  <a:lnTo>
                    <a:pt x="211" y="151"/>
                  </a:lnTo>
                  <a:lnTo>
                    <a:pt x="193" y="151"/>
                  </a:lnTo>
                  <a:lnTo>
                    <a:pt x="172" y="130"/>
                  </a:lnTo>
                  <a:lnTo>
                    <a:pt x="172" y="103"/>
                  </a:lnTo>
                  <a:lnTo>
                    <a:pt x="172" y="75"/>
                  </a:lnTo>
                  <a:lnTo>
                    <a:pt x="172" y="50"/>
                  </a:lnTo>
                  <a:lnTo>
                    <a:pt x="204" y="16"/>
                  </a:lnTo>
                  <a:lnTo>
                    <a:pt x="204" y="0"/>
                  </a:lnTo>
                  <a:lnTo>
                    <a:pt x="175" y="30"/>
                  </a:lnTo>
                  <a:lnTo>
                    <a:pt x="154" y="11"/>
                  </a:lnTo>
                  <a:lnTo>
                    <a:pt x="129" y="36"/>
                  </a:lnTo>
                  <a:lnTo>
                    <a:pt x="106" y="36"/>
                  </a:lnTo>
                  <a:lnTo>
                    <a:pt x="91" y="50"/>
                  </a:lnTo>
                  <a:lnTo>
                    <a:pt x="91" y="85"/>
                  </a:lnTo>
                  <a:lnTo>
                    <a:pt x="72" y="105"/>
                  </a:lnTo>
                  <a:lnTo>
                    <a:pt x="70" y="134"/>
                  </a:lnTo>
                  <a:lnTo>
                    <a:pt x="70" y="182"/>
                  </a:lnTo>
                  <a:lnTo>
                    <a:pt x="32" y="219"/>
                  </a:lnTo>
                  <a:lnTo>
                    <a:pt x="32" y="267"/>
                  </a:lnTo>
                  <a:lnTo>
                    <a:pt x="13" y="287"/>
                  </a:lnTo>
                  <a:lnTo>
                    <a:pt x="0" y="298"/>
                  </a:lnTo>
                  <a:lnTo>
                    <a:pt x="41" y="339"/>
                  </a:lnTo>
                  <a:lnTo>
                    <a:pt x="75" y="339"/>
                  </a:lnTo>
                  <a:lnTo>
                    <a:pt x="90" y="355"/>
                  </a:lnTo>
                  <a:lnTo>
                    <a:pt x="107" y="355"/>
                  </a:lnTo>
                  <a:lnTo>
                    <a:pt x="139" y="388"/>
                  </a:lnTo>
                  <a:lnTo>
                    <a:pt x="139" y="405"/>
                  </a:lnTo>
                  <a:lnTo>
                    <a:pt x="164" y="428"/>
                  </a:lnTo>
                  <a:lnTo>
                    <a:pt x="180" y="412"/>
                  </a:lnTo>
                  <a:lnTo>
                    <a:pt x="207" y="438"/>
                  </a:lnTo>
                  <a:lnTo>
                    <a:pt x="207" y="469"/>
                  </a:lnTo>
                  <a:lnTo>
                    <a:pt x="218" y="479"/>
                  </a:lnTo>
                  <a:lnTo>
                    <a:pt x="218" y="435"/>
                  </a:lnTo>
                  <a:lnTo>
                    <a:pt x="236" y="435"/>
                  </a:lnTo>
                  <a:lnTo>
                    <a:pt x="254" y="417"/>
                  </a:lnTo>
                  <a:lnTo>
                    <a:pt x="254" y="376"/>
                  </a:lnTo>
                  <a:lnTo>
                    <a:pt x="230" y="353"/>
                  </a:lnTo>
                  <a:lnTo>
                    <a:pt x="230" y="330"/>
                  </a:lnTo>
                  <a:lnTo>
                    <a:pt x="245" y="330"/>
                  </a:lnTo>
                  <a:lnTo>
                    <a:pt x="229" y="314"/>
                  </a:lnTo>
                  <a:lnTo>
                    <a:pt x="229" y="296"/>
                  </a:lnTo>
                  <a:lnTo>
                    <a:pt x="261" y="296"/>
                  </a:lnTo>
                  <a:lnTo>
                    <a:pt x="273" y="283"/>
                  </a:lnTo>
                  <a:lnTo>
                    <a:pt x="305" y="283"/>
                  </a:lnTo>
                  <a:lnTo>
                    <a:pt x="286" y="265"/>
                  </a:lnTo>
                  <a:lnTo>
                    <a:pt x="296" y="2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Freeform 273">
              <a:extLst>
                <a:ext uri="{FF2B5EF4-FFF2-40B4-BE49-F238E27FC236}">
                  <a16:creationId xmlns:a16="http://schemas.microsoft.com/office/drawing/2014/main" id="{0D4F62A9-5EFC-4C93-90B1-60B6950F247B}"/>
                </a:ext>
              </a:extLst>
            </p:cNvPr>
            <p:cNvSpPr>
              <a:spLocks/>
            </p:cNvSpPr>
            <p:nvPr/>
          </p:nvSpPr>
          <p:spPr bwMode="auto">
            <a:xfrm>
              <a:off x="2868613" y="3509963"/>
              <a:ext cx="258763" cy="257175"/>
            </a:xfrm>
            <a:custGeom>
              <a:avLst/>
              <a:gdLst>
                <a:gd name="T0" fmla="*/ 148 w 326"/>
                <a:gd name="T1" fmla="*/ 310 h 323"/>
                <a:gd name="T2" fmla="*/ 160 w 326"/>
                <a:gd name="T3" fmla="*/ 323 h 323"/>
                <a:gd name="T4" fmla="*/ 181 w 326"/>
                <a:gd name="T5" fmla="*/ 303 h 323"/>
                <a:gd name="T6" fmla="*/ 206 w 326"/>
                <a:gd name="T7" fmla="*/ 303 h 323"/>
                <a:gd name="T8" fmla="*/ 224 w 326"/>
                <a:gd name="T9" fmla="*/ 283 h 323"/>
                <a:gd name="T10" fmla="*/ 224 w 326"/>
                <a:gd name="T11" fmla="*/ 266 h 323"/>
                <a:gd name="T12" fmla="*/ 210 w 326"/>
                <a:gd name="T13" fmla="*/ 266 h 323"/>
                <a:gd name="T14" fmla="*/ 210 w 326"/>
                <a:gd name="T15" fmla="*/ 233 h 323"/>
                <a:gd name="T16" fmla="*/ 196 w 326"/>
                <a:gd name="T17" fmla="*/ 219 h 323"/>
                <a:gd name="T18" fmla="*/ 242 w 326"/>
                <a:gd name="T19" fmla="*/ 219 h 323"/>
                <a:gd name="T20" fmla="*/ 258 w 326"/>
                <a:gd name="T21" fmla="*/ 203 h 323"/>
                <a:gd name="T22" fmla="*/ 285 w 326"/>
                <a:gd name="T23" fmla="*/ 203 h 323"/>
                <a:gd name="T24" fmla="*/ 303 w 326"/>
                <a:gd name="T25" fmla="*/ 185 h 323"/>
                <a:gd name="T26" fmla="*/ 281 w 326"/>
                <a:gd name="T27" fmla="*/ 166 h 323"/>
                <a:gd name="T28" fmla="*/ 281 w 326"/>
                <a:gd name="T29" fmla="*/ 139 h 323"/>
                <a:gd name="T30" fmla="*/ 292 w 326"/>
                <a:gd name="T31" fmla="*/ 139 h 323"/>
                <a:gd name="T32" fmla="*/ 326 w 326"/>
                <a:gd name="T33" fmla="*/ 105 h 323"/>
                <a:gd name="T34" fmla="*/ 321 w 326"/>
                <a:gd name="T35" fmla="*/ 100 h 323"/>
                <a:gd name="T36" fmla="*/ 290 w 326"/>
                <a:gd name="T37" fmla="*/ 100 h 323"/>
                <a:gd name="T38" fmla="*/ 278 w 326"/>
                <a:gd name="T39" fmla="*/ 89 h 323"/>
                <a:gd name="T40" fmla="*/ 299 w 326"/>
                <a:gd name="T41" fmla="*/ 68 h 323"/>
                <a:gd name="T42" fmla="*/ 281 w 326"/>
                <a:gd name="T43" fmla="*/ 50 h 323"/>
                <a:gd name="T44" fmla="*/ 258 w 326"/>
                <a:gd name="T45" fmla="*/ 50 h 323"/>
                <a:gd name="T46" fmla="*/ 233 w 326"/>
                <a:gd name="T47" fmla="*/ 25 h 323"/>
                <a:gd name="T48" fmla="*/ 206 w 326"/>
                <a:gd name="T49" fmla="*/ 25 h 323"/>
                <a:gd name="T50" fmla="*/ 174 w 326"/>
                <a:gd name="T51" fmla="*/ 59 h 323"/>
                <a:gd name="T52" fmla="*/ 149 w 326"/>
                <a:gd name="T53" fmla="*/ 34 h 323"/>
                <a:gd name="T54" fmla="*/ 117 w 326"/>
                <a:gd name="T55" fmla="*/ 34 h 323"/>
                <a:gd name="T56" fmla="*/ 92 w 326"/>
                <a:gd name="T57" fmla="*/ 9 h 323"/>
                <a:gd name="T58" fmla="*/ 74 w 326"/>
                <a:gd name="T59" fmla="*/ 9 h 323"/>
                <a:gd name="T60" fmla="*/ 32 w 326"/>
                <a:gd name="T61" fmla="*/ 9 h 323"/>
                <a:gd name="T62" fmla="*/ 32 w 326"/>
                <a:gd name="T63" fmla="*/ 0 h 323"/>
                <a:gd name="T64" fmla="*/ 0 w 326"/>
                <a:gd name="T65" fmla="*/ 34 h 323"/>
                <a:gd name="T66" fmla="*/ 0 w 326"/>
                <a:gd name="T67" fmla="*/ 59 h 323"/>
                <a:gd name="T68" fmla="*/ 0 w 326"/>
                <a:gd name="T69" fmla="*/ 87 h 323"/>
                <a:gd name="T70" fmla="*/ 0 w 326"/>
                <a:gd name="T71" fmla="*/ 114 h 323"/>
                <a:gd name="T72" fmla="*/ 21 w 326"/>
                <a:gd name="T73" fmla="*/ 135 h 323"/>
                <a:gd name="T74" fmla="*/ 39 w 326"/>
                <a:gd name="T75" fmla="*/ 135 h 323"/>
                <a:gd name="T76" fmla="*/ 64 w 326"/>
                <a:gd name="T77" fmla="*/ 135 h 323"/>
                <a:gd name="T78" fmla="*/ 85 w 326"/>
                <a:gd name="T79" fmla="*/ 159 h 323"/>
                <a:gd name="T80" fmla="*/ 135 w 326"/>
                <a:gd name="T81" fmla="*/ 159 h 323"/>
                <a:gd name="T82" fmla="*/ 114 w 326"/>
                <a:gd name="T83" fmla="*/ 180 h 323"/>
                <a:gd name="T84" fmla="*/ 114 w 326"/>
                <a:gd name="T85" fmla="*/ 208 h 323"/>
                <a:gd name="T86" fmla="*/ 124 w 326"/>
                <a:gd name="T87" fmla="*/ 219 h 323"/>
                <a:gd name="T88" fmla="*/ 124 w 326"/>
                <a:gd name="T89" fmla="*/ 237 h 323"/>
                <a:gd name="T90" fmla="*/ 114 w 326"/>
                <a:gd name="T91" fmla="*/ 249 h 323"/>
                <a:gd name="T92" fmla="*/ 133 w 326"/>
                <a:gd name="T93" fmla="*/ 267 h 323"/>
                <a:gd name="T94" fmla="*/ 133 w 326"/>
                <a:gd name="T95" fmla="*/ 296 h 323"/>
                <a:gd name="T96" fmla="*/ 148 w 326"/>
                <a:gd name="T97" fmla="*/ 31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6" h="323">
                  <a:moveTo>
                    <a:pt x="148" y="310"/>
                  </a:moveTo>
                  <a:lnTo>
                    <a:pt x="160" y="323"/>
                  </a:lnTo>
                  <a:lnTo>
                    <a:pt x="181" y="303"/>
                  </a:lnTo>
                  <a:lnTo>
                    <a:pt x="206" y="303"/>
                  </a:lnTo>
                  <a:lnTo>
                    <a:pt x="224" y="283"/>
                  </a:lnTo>
                  <a:lnTo>
                    <a:pt x="224" y="266"/>
                  </a:lnTo>
                  <a:lnTo>
                    <a:pt x="210" y="266"/>
                  </a:lnTo>
                  <a:lnTo>
                    <a:pt x="210" y="233"/>
                  </a:lnTo>
                  <a:lnTo>
                    <a:pt x="196" y="219"/>
                  </a:lnTo>
                  <a:lnTo>
                    <a:pt x="242" y="219"/>
                  </a:lnTo>
                  <a:lnTo>
                    <a:pt x="258" y="203"/>
                  </a:lnTo>
                  <a:lnTo>
                    <a:pt x="285" y="203"/>
                  </a:lnTo>
                  <a:lnTo>
                    <a:pt x="303" y="185"/>
                  </a:lnTo>
                  <a:lnTo>
                    <a:pt x="281" y="166"/>
                  </a:lnTo>
                  <a:lnTo>
                    <a:pt x="281" y="139"/>
                  </a:lnTo>
                  <a:lnTo>
                    <a:pt x="292" y="139"/>
                  </a:lnTo>
                  <a:lnTo>
                    <a:pt x="326" y="105"/>
                  </a:lnTo>
                  <a:lnTo>
                    <a:pt x="321" y="100"/>
                  </a:lnTo>
                  <a:lnTo>
                    <a:pt x="290" y="100"/>
                  </a:lnTo>
                  <a:lnTo>
                    <a:pt x="278" y="89"/>
                  </a:lnTo>
                  <a:lnTo>
                    <a:pt x="299" y="68"/>
                  </a:lnTo>
                  <a:lnTo>
                    <a:pt x="281" y="50"/>
                  </a:lnTo>
                  <a:lnTo>
                    <a:pt x="258" y="50"/>
                  </a:lnTo>
                  <a:lnTo>
                    <a:pt x="233" y="25"/>
                  </a:lnTo>
                  <a:lnTo>
                    <a:pt x="206" y="25"/>
                  </a:lnTo>
                  <a:lnTo>
                    <a:pt x="174" y="59"/>
                  </a:lnTo>
                  <a:lnTo>
                    <a:pt x="149" y="34"/>
                  </a:lnTo>
                  <a:lnTo>
                    <a:pt x="117" y="34"/>
                  </a:lnTo>
                  <a:lnTo>
                    <a:pt x="92" y="9"/>
                  </a:lnTo>
                  <a:lnTo>
                    <a:pt x="74" y="9"/>
                  </a:lnTo>
                  <a:lnTo>
                    <a:pt x="32" y="9"/>
                  </a:lnTo>
                  <a:lnTo>
                    <a:pt x="32" y="0"/>
                  </a:lnTo>
                  <a:lnTo>
                    <a:pt x="0" y="34"/>
                  </a:lnTo>
                  <a:lnTo>
                    <a:pt x="0" y="59"/>
                  </a:lnTo>
                  <a:lnTo>
                    <a:pt x="0" y="87"/>
                  </a:lnTo>
                  <a:lnTo>
                    <a:pt x="0" y="114"/>
                  </a:lnTo>
                  <a:lnTo>
                    <a:pt x="21" y="135"/>
                  </a:lnTo>
                  <a:lnTo>
                    <a:pt x="39" y="135"/>
                  </a:lnTo>
                  <a:lnTo>
                    <a:pt x="64" y="135"/>
                  </a:lnTo>
                  <a:lnTo>
                    <a:pt x="85" y="159"/>
                  </a:lnTo>
                  <a:lnTo>
                    <a:pt x="135" y="159"/>
                  </a:lnTo>
                  <a:lnTo>
                    <a:pt x="114" y="180"/>
                  </a:lnTo>
                  <a:lnTo>
                    <a:pt x="114" y="208"/>
                  </a:lnTo>
                  <a:lnTo>
                    <a:pt x="124" y="219"/>
                  </a:lnTo>
                  <a:lnTo>
                    <a:pt x="124" y="237"/>
                  </a:lnTo>
                  <a:lnTo>
                    <a:pt x="114" y="249"/>
                  </a:lnTo>
                  <a:lnTo>
                    <a:pt x="133" y="267"/>
                  </a:lnTo>
                  <a:lnTo>
                    <a:pt x="133" y="296"/>
                  </a:lnTo>
                  <a:lnTo>
                    <a:pt x="148" y="31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274">
              <a:extLst>
                <a:ext uri="{FF2B5EF4-FFF2-40B4-BE49-F238E27FC236}">
                  <a16:creationId xmlns:a16="http://schemas.microsoft.com/office/drawing/2014/main" id="{99D7D478-21CD-403F-AA2D-5EB403F70877}"/>
                </a:ext>
              </a:extLst>
            </p:cNvPr>
            <p:cNvSpPr>
              <a:spLocks/>
            </p:cNvSpPr>
            <p:nvPr/>
          </p:nvSpPr>
          <p:spPr bwMode="auto">
            <a:xfrm>
              <a:off x="3227388" y="3641725"/>
              <a:ext cx="65088" cy="82550"/>
            </a:xfrm>
            <a:custGeom>
              <a:avLst/>
              <a:gdLst>
                <a:gd name="T0" fmla="*/ 34 w 82"/>
                <a:gd name="T1" fmla="*/ 0 h 103"/>
                <a:gd name="T2" fmla="*/ 0 w 82"/>
                <a:gd name="T3" fmla="*/ 0 h 103"/>
                <a:gd name="T4" fmla="*/ 0 w 82"/>
                <a:gd name="T5" fmla="*/ 26 h 103"/>
                <a:gd name="T6" fmla="*/ 14 w 82"/>
                <a:gd name="T7" fmla="*/ 26 h 103"/>
                <a:gd name="T8" fmla="*/ 14 w 82"/>
                <a:gd name="T9" fmla="*/ 66 h 103"/>
                <a:gd name="T10" fmla="*/ 3 w 82"/>
                <a:gd name="T11" fmla="*/ 76 h 103"/>
                <a:gd name="T12" fmla="*/ 3 w 82"/>
                <a:gd name="T13" fmla="*/ 103 h 103"/>
                <a:gd name="T14" fmla="*/ 14 w 82"/>
                <a:gd name="T15" fmla="*/ 103 h 103"/>
                <a:gd name="T16" fmla="*/ 44 w 82"/>
                <a:gd name="T17" fmla="*/ 103 h 103"/>
                <a:gd name="T18" fmla="*/ 64 w 82"/>
                <a:gd name="T19" fmla="*/ 85 h 103"/>
                <a:gd name="T20" fmla="*/ 64 w 82"/>
                <a:gd name="T21" fmla="*/ 64 h 103"/>
                <a:gd name="T22" fmla="*/ 82 w 82"/>
                <a:gd name="T23" fmla="*/ 46 h 103"/>
                <a:gd name="T24" fmla="*/ 34 w 82"/>
                <a:gd name="T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03">
                  <a:moveTo>
                    <a:pt x="34" y="0"/>
                  </a:moveTo>
                  <a:lnTo>
                    <a:pt x="0" y="0"/>
                  </a:lnTo>
                  <a:lnTo>
                    <a:pt x="0" y="26"/>
                  </a:lnTo>
                  <a:lnTo>
                    <a:pt x="14" y="26"/>
                  </a:lnTo>
                  <a:lnTo>
                    <a:pt x="14" y="66"/>
                  </a:lnTo>
                  <a:lnTo>
                    <a:pt x="3" y="76"/>
                  </a:lnTo>
                  <a:lnTo>
                    <a:pt x="3" y="103"/>
                  </a:lnTo>
                  <a:lnTo>
                    <a:pt x="14" y="103"/>
                  </a:lnTo>
                  <a:lnTo>
                    <a:pt x="44" y="103"/>
                  </a:lnTo>
                  <a:lnTo>
                    <a:pt x="64" y="85"/>
                  </a:lnTo>
                  <a:lnTo>
                    <a:pt x="64" y="64"/>
                  </a:lnTo>
                  <a:lnTo>
                    <a:pt x="82" y="46"/>
                  </a:lnTo>
                  <a:lnTo>
                    <a:pt x="34"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275">
              <a:extLst>
                <a:ext uri="{FF2B5EF4-FFF2-40B4-BE49-F238E27FC236}">
                  <a16:creationId xmlns:a16="http://schemas.microsoft.com/office/drawing/2014/main" id="{CA51CC2B-0A98-4C5D-A6BF-8BF580477826}"/>
                </a:ext>
              </a:extLst>
            </p:cNvPr>
            <p:cNvSpPr>
              <a:spLocks/>
            </p:cNvSpPr>
            <p:nvPr/>
          </p:nvSpPr>
          <p:spPr bwMode="auto">
            <a:xfrm>
              <a:off x="3092451" y="3594100"/>
              <a:ext cx="82550" cy="153988"/>
            </a:xfrm>
            <a:custGeom>
              <a:avLst/>
              <a:gdLst>
                <a:gd name="T0" fmla="*/ 91 w 104"/>
                <a:gd name="T1" fmla="*/ 134 h 194"/>
                <a:gd name="T2" fmla="*/ 91 w 104"/>
                <a:gd name="T3" fmla="*/ 111 h 194"/>
                <a:gd name="T4" fmla="*/ 79 w 104"/>
                <a:gd name="T5" fmla="*/ 111 h 194"/>
                <a:gd name="T6" fmla="*/ 79 w 104"/>
                <a:gd name="T7" fmla="*/ 87 h 194"/>
                <a:gd name="T8" fmla="*/ 97 w 104"/>
                <a:gd name="T9" fmla="*/ 70 h 194"/>
                <a:gd name="T10" fmla="*/ 97 w 104"/>
                <a:gd name="T11" fmla="*/ 52 h 194"/>
                <a:gd name="T12" fmla="*/ 45 w 104"/>
                <a:gd name="T13" fmla="*/ 0 h 194"/>
                <a:gd name="T14" fmla="*/ 11 w 104"/>
                <a:gd name="T15" fmla="*/ 34 h 194"/>
                <a:gd name="T16" fmla="*/ 0 w 104"/>
                <a:gd name="T17" fmla="*/ 34 h 194"/>
                <a:gd name="T18" fmla="*/ 0 w 104"/>
                <a:gd name="T19" fmla="*/ 61 h 194"/>
                <a:gd name="T20" fmla="*/ 22 w 104"/>
                <a:gd name="T21" fmla="*/ 80 h 194"/>
                <a:gd name="T22" fmla="*/ 38 w 104"/>
                <a:gd name="T23" fmla="*/ 80 h 194"/>
                <a:gd name="T24" fmla="*/ 38 w 104"/>
                <a:gd name="T25" fmla="*/ 96 h 194"/>
                <a:gd name="T26" fmla="*/ 27 w 104"/>
                <a:gd name="T27" fmla="*/ 107 h 194"/>
                <a:gd name="T28" fmla="*/ 41 w 104"/>
                <a:gd name="T29" fmla="*/ 121 h 194"/>
                <a:gd name="T30" fmla="*/ 25 w 104"/>
                <a:gd name="T31" fmla="*/ 136 h 194"/>
                <a:gd name="T32" fmla="*/ 25 w 104"/>
                <a:gd name="T33" fmla="*/ 168 h 194"/>
                <a:gd name="T34" fmla="*/ 52 w 104"/>
                <a:gd name="T35" fmla="*/ 194 h 194"/>
                <a:gd name="T36" fmla="*/ 88 w 104"/>
                <a:gd name="T37" fmla="*/ 194 h 194"/>
                <a:gd name="T38" fmla="*/ 104 w 104"/>
                <a:gd name="T39" fmla="*/ 177 h 194"/>
                <a:gd name="T40" fmla="*/ 104 w 104"/>
                <a:gd name="T41" fmla="*/ 146 h 194"/>
                <a:gd name="T42" fmla="*/ 91 w 104"/>
                <a:gd name="T43" fmla="*/ 13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94">
                  <a:moveTo>
                    <a:pt x="91" y="134"/>
                  </a:moveTo>
                  <a:lnTo>
                    <a:pt x="91" y="111"/>
                  </a:lnTo>
                  <a:lnTo>
                    <a:pt x="79" y="111"/>
                  </a:lnTo>
                  <a:lnTo>
                    <a:pt x="79" y="87"/>
                  </a:lnTo>
                  <a:lnTo>
                    <a:pt x="97" y="70"/>
                  </a:lnTo>
                  <a:lnTo>
                    <a:pt x="97" y="52"/>
                  </a:lnTo>
                  <a:lnTo>
                    <a:pt x="45" y="0"/>
                  </a:lnTo>
                  <a:lnTo>
                    <a:pt x="11" y="34"/>
                  </a:lnTo>
                  <a:lnTo>
                    <a:pt x="0" y="34"/>
                  </a:lnTo>
                  <a:lnTo>
                    <a:pt x="0" y="61"/>
                  </a:lnTo>
                  <a:lnTo>
                    <a:pt x="22" y="80"/>
                  </a:lnTo>
                  <a:lnTo>
                    <a:pt x="38" y="80"/>
                  </a:lnTo>
                  <a:lnTo>
                    <a:pt x="38" y="96"/>
                  </a:lnTo>
                  <a:lnTo>
                    <a:pt x="27" y="107"/>
                  </a:lnTo>
                  <a:lnTo>
                    <a:pt x="41" y="121"/>
                  </a:lnTo>
                  <a:lnTo>
                    <a:pt x="25" y="136"/>
                  </a:lnTo>
                  <a:lnTo>
                    <a:pt x="25" y="168"/>
                  </a:lnTo>
                  <a:lnTo>
                    <a:pt x="52" y="194"/>
                  </a:lnTo>
                  <a:lnTo>
                    <a:pt x="88" y="194"/>
                  </a:lnTo>
                  <a:lnTo>
                    <a:pt x="104" y="177"/>
                  </a:lnTo>
                  <a:lnTo>
                    <a:pt x="104" y="146"/>
                  </a:lnTo>
                  <a:lnTo>
                    <a:pt x="91" y="13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Freeform 276">
              <a:extLst>
                <a:ext uri="{FF2B5EF4-FFF2-40B4-BE49-F238E27FC236}">
                  <a16:creationId xmlns:a16="http://schemas.microsoft.com/office/drawing/2014/main" id="{DEECBD01-D483-4830-AEA4-10A79DD80DB2}"/>
                </a:ext>
              </a:extLst>
            </p:cNvPr>
            <p:cNvSpPr>
              <a:spLocks/>
            </p:cNvSpPr>
            <p:nvPr/>
          </p:nvSpPr>
          <p:spPr bwMode="auto">
            <a:xfrm>
              <a:off x="3154363" y="3635375"/>
              <a:ext cx="84138" cy="98425"/>
            </a:xfrm>
            <a:custGeom>
              <a:avLst/>
              <a:gdLst>
                <a:gd name="T0" fmla="*/ 105 w 105"/>
                <a:gd name="T1" fmla="*/ 75 h 125"/>
                <a:gd name="T2" fmla="*/ 105 w 105"/>
                <a:gd name="T3" fmla="*/ 35 h 125"/>
                <a:gd name="T4" fmla="*/ 91 w 105"/>
                <a:gd name="T5" fmla="*/ 35 h 125"/>
                <a:gd name="T6" fmla="*/ 91 w 105"/>
                <a:gd name="T7" fmla="*/ 9 h 125"/>
                <a:gd name="T8" fmla="*/ 73 w 105"/>
                <a:gd name="T9" fmla="*/ 9 h 125"/>
                <a:gd name="T10" fmla="*/ 25 w 105"/>
                <a:gd name="T11" fmla="*/ 9 h 125"/>
                <a:gd name="T12" fmla="*/ 18 w 105"/>
                <a:gd name="T13" fmla="*/ 0 h 125"/>
                <a:gd name="T14" fmla="*/ 18 w 105"/>
                <a:gd name="T15" fmla="*/ 18 h 125"/>
                <a:gd name="T16" fmla="*/ 0 w 105"/>
                <a:gd name="T17" fmla="*/ 35 h 125"/>
                <a:gd name="T18" fmla="*/ 0 w 105"/>
                <a:gd name="T19" fmla="*/ 59 h 125"/>
                <a:gd name="T20" fmla="*/ 12 w 105"/>
                <a:gd name="T21" fmla="*/ 59 h 125"/>
                <a:gd name="T22" fmla="*/ 12 w 105"/>
                <a:gd name="T23" fmla="*/ 82 h 125"/>
                <a:gd name="T24" fmla="*/ 25 w 105"/>
                <a:gd name="T25" fmla="*/ 94 h 125"/>
                <a:gd name="T26" fmla="*/ 25 w 105"/>
                <a:gd name="T27" fmla="*/ 125 h 125"/>
                <a:gd name="T28" fmla="*/ 55 w 105"/>
                <a:gd name="T29" fmla="*/ 125 h 125"/>
                <a:gd name="T30" fmla="*/ 69 w 105"/>
                <a:gd name="T31" fmla="*/ 112 h 125"/>
                <a:gd name="T32" fmla="*/ 85 w 105"/>
                <a:gd name="T33" fmla="*/ 112 h 125"/>
                <a:gd name="T34" fmla="*/ 94 w 105"/>
                <a:gd name="T35" fmla="*/ 112 h 125"/>
                <a:gd name="T36" fmla="*/ 94 w 105"/>
                <a:gd name="T37" fmla="*/ 85 h 125"/>
                <a:gd name="T38" fmla="*/ 105 w 105"/>
                <a:gd name="T39" fmla="*/ 7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25">
                  <a:moveTo>
                    <a:pt x="105" y="75"/>
                  </a:moveTo>
                  <a:lnTo>
                    <a:pt x="105" y="35"/>
                  </a:lnTo>
                  <a:lnTo>
                    <a:pt x="91" y="35"/>
                  </a:lnTo>
                  <a:lnTo>
                    <a:pt x="91" y="9"/>
                  </a:lnTo>
                  <a:lnTo>
                    <a:pt x="73" y="9"/>
                  </a:lnTo>
                  <a:lnTo>
                    <a:pt x="25" y="9"/>
                  </a:lnTo>
                  <a:lnTo>
                    <a:pt x="18" y="0"/>
                  </a:lnTo>
                  <a:lnTo>
                    <a:pt x="18" y="18"/>
                  </a:lnTo>
                  <a:lnTo>
                    <a:pt x="0" y="35"/>
                  </a:lnTo>
                  <a:lnTo>
                    <a:pt x="0" y="59"/>
                  </a:lnTo>
                  <a:lnTo>
                    <a:pt x="12" y="59"/>
                  </a:lnTo>
                  <a:lnTo>
                    <a:pt x="12" y="82"/>
                  </a:lnTo>
                  <a:lnTo>
                    <a:pt x="25" y="94"/>
                  </a:lnTo>
                  <a:lnTo>
                    <a:pt x="25" y="125"/>
                  </a:lnTo>
                  <a:lnTo>
                    <a:pt x="55" y="125"/>
                  </a:lnTo>
                  <a:lnTo>
                    <a:pt x="69" y="112"/>
                  </a:lnTo>
                  <a:lnTo>
                    <a:pt x="85" y="112"/>
                  </a:lnTo>
                  <a:lnTo>
                    <a:pt x="94" y="112"/>
                  </a:lnTo>
                  <a:lnTo>
                    <a:pt x="94" y="85"/>
                  </a:lnTo>
                  <a:lnTo>
                    <a:pt x="105" y="7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277">
              <a:extLst>
                <a:ext uri="{FF2B5EF4-FFF2-40B4-BE49-F238E27FC236}">
                  <a16:creationId xmlns:a16="http://schemas.microsoft.com/office/drawing/2014/main" id="{E6E6A9BE-EA47-41B5-B94A-6757ED1A8068}"/>
                </a:ext>
              </a:extLst>
            </p:cNvPr>
            <p:cNvSpPr>
              <a:spLocks/>
            </p:cNvSpPr>
            <p:nvPr/>
          </p:nvSpPr>
          <p:spPr bwMode="auto">
            <a:xfrm>
              <a:off x="2835276" y="3657600"/>
              <a:ext cx="795338" cy="893763"/>
            </a:xfrm>
            <a:custGeom>
              <a:avLst/>
              <a:gdLst>
                <a:gd name="T0" fmla="*/ 934 w 1002"/>
                <a:gd name="T1" fmla="*/ 289 h 1127"/>
                <a:gd name="T2" fmla="*/ 745 w 1002"/>
                <a:gd name="T3" fmla="*/ 227 h 1127"/>
                <a:gd name="T4" fmla="*/ 663 w 1002"/>
                <a:gd name="T5" fmla="*/ 171 h 1127"/>
                <a:gd name="T6" fmla="*/ 576 w 1002"/>
                <a:gd name="T7" fmla="*/ 173 h 1127"/>
                <a:gd name="T8" fmla="*/ 617 w 1002"/>
                <a:gd name="T9" fmla="*/ 114 h 1127"/>
                <a:gd name="T10" fmla="*/ 576 w 1002"/>
                <a:gd name="T11" fmla="*/ 27 h 1127"/>
                <a:gd name="T12" fmla="*/ 538 w 1002"/>
                <a:gd name="T13" fmla="*/ 84 h 1127"/>
                <a:gd name="T14" fmla="*/ 472 w 1002"/>
                <a:gd name="T15" fmla="*/ 84 h 1127"/>
                <a:gd name="T16" fmla="*/ 412 w 1002"/>
                <a:gd name="T17" fmla="*/ 114 h 1127"/>
                <a:gd name="T18" fmla="*/ 349 w 1002"/>
                <a:gd name="T19" fmla="*/ 56 h 1127"/>
                <a:gd name="T20" fmla="*/ 362 w 1002"/>
                <a:gd name="T21" fmla="*/ 16 h 1127"/>
                <a:gd name="T22" fmla="*/ 328 w 1002"/>
                <a:gd name="T23" fmla="*/ 18 h 1127"/>
                <a:gd name="T24" fmla="*/ 239 w 1002"/>
                <a:gd name="T25" fmla="*/ 34 h 1127"/>
                <a:gd name="T26" fmla="*/ 267 w 1002"/>
                <a:gd name="T27" fmla="*/ 81 h 1127"/>
                <a:gd name="T28" fmla="*/ 224 w 1002"/>
                <a:gd name="T29" fmla="*/ 118 h 1127"/>
                <a:gd name="T30" fmla="*/ 176 w 1002"/>
                <a:gd name="T31" fmla="*/ 111 h 1127"/>
                <a:gd name="T32" fmla="*/ 132 w 1002"/>
                <a:gd name="T33" fmla="*/ 95 h 1127"/>
                <a:gd name="T34" fmla="*/ 116 w 1002"/>
                <a:gd name="T35" fmla="*/ 129 h 1127"/>
                <a:gd name="T36" fmla="*/ 125 w 1002"/>
                <a:gd name="T37" fmla="*/ 175 h 1127"/>
                <a:gd name="T38" fmla="*/ 89 w 1002"/>
                <a:gd name="T39" fmla="*/ 234 h 1127"/>
                <a:gd name="T40" fmla="*/ 59 w 1002"/>
                <a:gd name="T41" fmla="*/ 286 h 1127"/>
                <a:gd name="T42" fmla="*/ 9 w 1002"/>
                <a:gd name="T43" fmla="*/ 344 h 1127"/>
                <a:gd name="T44" fmla="*/ 23 w 1002"/>
                <a:gd name="T45" fmla="*/ 403 h 1127"/>
                <a:gd name="T46" fmla="*/ 78 w 1002"/>
                <a:gd name="T47" fmla="*/ 442 h 1127"/>
                <a:gd name="T48" fmla="*/ 121 w 1002"/>
                <a:gd name="T49" fmla="*/ 467 h 1127"/>
                <a:gd name="T50" fmla="*/ 157 w 1002"/>
                <a:gd name="T51" fmla="*/ 469 h 1127"/>
                <a:gd name="T52" fmla="*/ 216 w 1002"/>
                <a:gd name="T53" fmla="*/ 433 h 1127"/>
                <a:gd name="T54" fmla="*/ 228 w 1002"/>
                <a:gd name="T55" fmla="*/ 487 h 1127"/>
                <a:gd name="T56" fmla="*/ 285 w 1002"/>
                <a:gd name="T57" fmla="*/ 523 h 1127"/>
                <a:gd name="T58" fmla="*/ 356 w 1002"/>
                <a:gd name="T59" fmla="*/ 560 h 1127"/>
                <a:gd name="T60" fmla="*/ 351 w 1002"/>
                <a:gd name="T61" fmla="*/ 619 h 1127"/>
                <a:gd name="T62" fmla="*/ 431 w 1002"/>
                <a:gd name="T63" fmla="*/ 662 h 1127"/>
                <a:gd name="T64" fmla="*/ 438 w 1002"/>
                <a:gd name="T65" fmla="*/ 736 h 1127"/>
                <a:gd name="T66" fmla="*/ 481 w 1002"/>
                <a:gd name="T67" fmla="*/ 801 h 1127"/>
                <a:gd name="T68" fmla="*/ 515 w 1002"/>
                <a:gd name="T69" fmla="*/ 842 h 1127"/>
                <a:gd name="T70" fmla="*/ 542 w 1002"/>
                <a:gd name="T71" fmla="*/ 886 h 1127"/>
                <a:gd name="T72" fmla="*/ 531 w 1002"/>
                <a:gd name="T73" fmla="*/ 947 h 1127"/>
                <a:gd name="T74" fmla="*/ 503 w 1002"/>
                <a:gd name="T75" fmla="*/ 1040 h 1127"/>
                <a:gd name="T76" fmla="*/ 576 w 1002"/>
                <a:gd name="T77" fmla="*/ 1064 h 1127"/>
                <a:gd name="T78" fmla="*/ 597 w 1002"/>
                <a:gd name="T79" fmla="*/ 1127 h 1127"/>
                <a:gd name="T80" fmla="*/ 615 w 1002"/>
                <a:gd name="T81" fmla="*/ 1073 h 1127"/>
                <a:gd name="T82" fmla="*/ 640 w 1002"/>
                <a:gd name="T83" fmla="*/ 1040 h 1127"/>
                <a:gd name="T84" fmla="*/ 681 w 1002"/>
                <a:gd name="T85" fmla="*/ 884 h 1127"/>
                <a:gd name="T86" fmla="*/ 754 w 1002"/>
                <a:gd name="T87" fmla="*/ 833 h 1127"/>
                <a:gd name="T88" fmla="*/ 811 w 1002"/>
                <a:gd name="T89" fmla="*/ 815 h 1127"/>
                <a:gd name="T90" fmla="*/ 868 w 1002"/>
                <a:gd name="T91" fmla="*/ 769 h 1127"/>
                <a:gd name="T92" fmla="*/ 895 w 1002"/>
                <a:gd name="T93" fmla="*/ 662 h 1127"/>
                <a:gd name="T94" fmla="*/ 884 w 1002"/>
                <a:gd name="T95" fmla="*/ 572 h 1127"/>
                <a:gd name="T96" fmla="*/ 938 w 1002"/>
                <a:gd name="T97" fmla="*/ 494 h 1127"/>
                <a:gd name="T98" fmla="*/ 1002 w 1002"/>
                <a:gd name="T99" fmla="*/ 348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2" h="1127">
                  <a:moveTo>
                    <a:pt x="977" y="323"/>
                  </a:moveTo>
                  <a:lnTo>
                    <a:pt x="977" y="289"/>
                  </a:lnTo>
                  <a:lnTo>
                    <a:pt x="934" y="289"/>
                  </a:lnTo>
                  <a:lnTo>
                    <a:pt x="870" y="227"/>
                  </a:lnTo>
                  <a:lnTo>
                    <a:pt x="777" y="227"/>
                  </a:lnTo>
                  <a:lnTo>
                    <a:pt x="745" y="227"/>
                  </a:lnTo>
                  <a:lnTo>
                    <a:pt x="767" y="205"/>
                  </a:lnTo>
                  <a:lnTo>
                    <a:pt x="734" y="171"/>
                  </a:lnTo>
                  <a:lnTo>
                    <a:pt x="663" y="171"/>
                  </a:lnTo>
                  <a:lnTo>
                    <a:pt x="647" y="155"/>
                  </a:lnTo>
                  <a:lnTo>
                    <a:pt x="595" y="155"/>
                  </a:lnTo>
                  <a:lnTo>
                    <a:pt x="576" y="173"/>
                  </a:lnTo>
                  <a:lnTo>
                    <a:pt x="565" y="173"/>
                  </a:lnTo>
                  <a:lnTo>
                    <a:pt x="558" y="173"/>
                  </a:lnTo>
                  <a:lnTo>
                    <a:pt x="617" y="114"/>
                  </a:lnTo>
                  <a:lnTo>
                    <a:pt x="579" y="77"/>
                  </a:lnTo>
                  <a:lnTo>
                    <a:pt x="579" y="31"/>
                  </a:lnTo>
                  <a:lnTo>
                    <a:pt x="576" y="27"/>
                  </a:lnTo>
                  <a:lnTo>
                    <a:pt x="558" y="45"/>
                  </a:lnTo>
                  <a:lnTo>
                    <a:pt x="558" y="66"/>
                  </a:lnTo>
                  <a:lnTo>
                    <a:pt x="538" y="84"/>
                  </a:lnTo>
                  <a:lnTo>
                    <a:pt x="508" y="84"/>
                  </a:lnTo>
                  <a:lnTo>
                    <a:pt x="488" y="84"/>
                  </a:lnTo>
                  <a:lnTo>
                    <a:pt x="472" y="84"/>
                  </a:lnTo>
                  <a:lnTo>
                    <a:pt x="458" y="97"/>
                  </a:lnTo>
                  <a:lnTo>
                    <a:pt x="428" y="97"/>
                  </a:lnTo>
                  <a:lnTo>
                    <a:pt x="412" y="114"/>
                  </a:lnTo>
                  <a:lnTo>
                    <a:pt x="376" y="114"/>
                  </a:lnTo>
                  <a:lnTo>
                    <a:pt x="349" y="88"/>
                  </a:lnTo>
                  <a:lnTo>
                    <a:pt x="349" y="56"/>
                  </a:lnTo>
                  <a:lnTo>
                    <a:pt x="365" y="41"/>
                  </a:lnTo>
                  <a:lnTo>
                    <a:pt x="351" y="27"/>
                  </a:lnTo>
                  <a:lnTo>
                    <a:pt x="362" y="16"/>
                  </a:lnTo>
                  <a:lnTo>
                    <a:pt x="362" y="0"/>
                  </a:lnTo>
                  <a:lnTo>
                    <a:pt x="346" y="0"/>
                  </a:lnTo>
                  <a:lnTo>
                    <a:pt x="328" y="18"/>
                  </a:lnTo>
                  <a:lnTo>
                    <a:pt x="301" y="18"/>
                  </a:lnTo>
                  <a:lnTo>
                    <a:pt x="285" y="34"/>
                  </a:lnTo>
                  <a:lnTo>
                    <a:pt x="239" y="34"/>
                  </a:lnTo>
                  <a:lnTo>
                    <a:pt x="253" y="48"/>
                  </a:lnTo>
                  <a:lnTo>
                    <a:pt x="253" y="81"/>
                  </a:lnTo>
                  <a:lnTo>
                    <a:pt x="267" y="81"/>
                  </a:lnTo>
                  <a:lnTo>
                    <a:pt x="267" y="98"/>
                  </a:lnTo>
                  <a:lnTo>
                    <a:pt x="249" y="118"/>
                  </a:lnTo>
                  <a:lnTo>
                    <a:pt x="224" y="118"/>
                  </a:lnTo>
                  <a:lnTo>
                    <a:pt x="203" y="138"/>
                  </a:lnTo>
                  <a:lnTo>
                    <a:pt x="191" y="125"/>
                  </a:lnTo>
                  <a:lnTo>
                    <a:pt x="176" y="111"/>
                  </a:lnTo>
                  <a:lnTo>
                    <a:pt x="176" y="82"/>
                  </a:lnTo>
                  <a:lnTo>
                    <a:pt x="144" y="82"/>
                  </a:lnTo>
                  <a:lnTo>
                    <a:pt x="132" y="95"/>
                  </a:lnTo>
                  <a:lnTo>
                    <a:pt x="100" y="95"/>
                  </a:lnTo>
                  <a:lnTo>
                    <a:pt x="100" y="113"/>
                  </a:lnTo>
                  <a:lnTo>
                    <a:pt x="116" y="129"/>
                  </a:lnTo>
                  <a:lnTo>
                    <a:pt x="101" y="129"/>
                  </a:lnTo>
                  <a:lnTo>
                    <a:pt x="101" y="152"/>
                  </a:lnTo>
                  <a:lnTo>
                    <a:pt x="125" y="175"/>
                  </a:lnTo>
                  <a:lnTo>
                    <a:pt x="125" y="216"/>
                  </a:lnTo>
                  <a:lnTo>
                    <a:pt x="107" y="234"/>
                  </a:lnTo>
                  <a:lnTo>
                    <a:pt x="89" y="234"/>
                  </a:lnTo>
                  <a:lnTo>
                    <a:pt x="89" y="278"/>
                  </a:lnTo>
                  <a:lnTo>
                    <a:pt x="78" y="268"/>
                  </a:lnTo>
                  <a:lnTo>
                    <a:pt x="59" y="286"/>
                  </a:lnTo>
                  <a:lnTo>
                    <a:pt x="37" y="286"/>
                  </a:lnTo>
                  <a:lnTo>
                    <a:pt x="9" y="314"/>
                  </a:lnTo>
                  <a:lnTo>
                    <a:pt x="9" y="344"/>
                  </a:lnTo>
                  <a:lnTo>
                    <a:pt x="0" y="355"/>
                  </a:lnTo>
                  <a:lnTo>
                    <a:pt x="0" y="403"/>
                  </a:lnTo>
                  <a:lnTo>
                    <a:pt x="23" y="403"/>
                  </a:lnTo>
                  <a:lnTo>
                    <a:pt x="41" y="421"/>
                  </a:lnTo>
                  <a:lnTo>
                    <a:pt x="41" y="442"/>
                  </a:lnTo>
                  <a:lnTo>
                    <a:pt x="78" y="442"/>
                  </a:lnTo>
                  <a:lnTo>
                    <a:pt x="93" y="428"/>
                  </a:lnTo>
                  <a:lnTo>
                    <a:pt x="93" y="467"/>
                  </a:lnTo>
                  <a:lnTo>
                    <a:pt x="121" y="467"/>
                  </a:lnTo>
                  <a:lnTo>
                    <a:pt x="134" y="455"/>
                  </a:lnTo>
                  <a:lnTo>
                    <a:pt x="146" y="469"/>
                  </a:lnTo>
                  <a:lnTo>
                    <a:pt x="157" y="469"/>
                  </a:lnTo>
                  <a:lnTo>
                    <a:pt x="171" y="455"/>
                  </a:lnTo>
                  <a:lnTo>
                    <a:pt x="192" y="433"/>
                  </a:lnTo>
                  <a:lnTo>
                    <a:pt x="216" y="433"/>
                  </a:lnTo>
                  <a:lnTo>
                    <a:pt x="228" y="448"/>
                  </a:lnTo>
                  <a:lnTo>
                    <a:pt x="228" y="467"/>
                  </a:lnTo>
                  <a:lnTo>
                    <a:pt x="228" y="487"/>
                  </a:lnTo>
                  <a:lnTo>
                    <a:pt x="246" y="505"/>
                  </a:lnTo>
                  <a:lnTo>
                    <a:pt x="267" y="505"/>
                  </a:lnTo>
                  <a:lnTo>
                    <a:pt x="285" y="523"/>
                  </a:lnTo>
                  <a:lnTo>
                    <a:pt x="305" y="542"/>
                  </a:lnTo>
                  <a:lnTo>
                    <a:pt x="339" y="542"/>
                  </a:lnTo>
                  <a:lnTo>
                    <a:pt x="356" y="560"/>
                  </a:lnTo>
                  <a:lnTo>
                    <a:pt x="356" y="583"/>
                  </a:lnTo>
                  <a:lnTo>
                    <a:pt x="351" y="590"/>
                  </a:lnTo>
                  <a:lnTo>
                    <a:pt x="351" y="619"/>
                  </a:lnTo>
                  <a:lnTo>
                    <a:pt x="413" y="619"/>
                  </a:lnTo>
                  <a:lnTo>
                    <a:pt x="413" y="644"/>
                  </a:lnTo>
                  <a:lnTo>
                    <a:pt x="431" y="662"/>
                  </a:lnTo>
                  <a:lnTo>
                    <a:pt x="431" y="710"/>
                  </a:lnTo>
                  <a:lnTo>
                    <a:pt x="422" y="720"/>
                  </a:lnTo>
                  <a:lnTo>
                    <a:pt x="438" y="736"/>
                  </a:lnTo>
                  <a:lnTo>
                    <a:pt x="438" y="785"/>
                  </a:lnTo>
                  <a:lnTo>
                    <a:pt x="467" y="785"/>
                  </a:lnTo>
                  <a:lnTo>
                    <a:pt x="481" y="801"/>
                  </a:lnTo>
                  <a:lnTo>
                    <a:pt x="501" y="801"/>
                  </a:lnTo>
                  <a:lnTo>
                    <a:pt x="501" y="842"/>
                  </a:lnTo>
                  <a:lnTo>
                    <a:pt x="515" y="842"/>
                  </a:lnTo>
                  <a:lnTo>
                    <a:pt x="529" y="829"/>
                  </a:lnTo>
                  <a:lnTo>
                    <a:pt x="542" y="829"/>
                  </a:lnTo>
                  <a:lnTo>
                    <a:pt x="542" y="886"/>
                  </a:lnTo>
                  <a:lnTo>
                    <a:pt x="553" y="897"/>
                  </a:lnTo>
                  <a:lnTo>
                    <a:pt x="553" y="925"/>
                  </a:lnTo>
                  <a:lnTo>
                    <a:pt x="531" y="947"/>
                  </a:lnTo>
                  <a:lnTo>
                    <a:pt x="478" y="1000"/>
                  </a:lnTo>
                  <a:lnTo>
                    <a:pt x="478" y="1016"/>
                  </a:lnTo>
                  <a:lnTo>
                    <a:pt x="503" y="1040"/>
                  </a:lnTo>
                  <a:lnTo>
                    <a:pt x="529" y="1040"/>
                  </a:lnTo>
                  <a:lnTo>
                    <a:pt x="553" y="1064"/>
                  </a:lnTo>
                  <a:lnTo>
                    <a:pt x="576" y="1064"/>
                  </a:lnTo>
                  <a:lnTo>
                    <a:pt x="597" y="1084"/>
                  </a:lnTo>
                  <a:lnTo>
                    <a:pt x="597" y="1104"/>
                  </a:lnTo>
                  <a:lnTo>
                    <a:pt x="597" y="1127"/>
                  </a:lnTo>
                  <a:lnTo>
                    <a:pt x="597" y="1127"/>
                  </a:lnTo>
                  <a:lnTo>
                    <a:pt x="615" y="1109"/>
                  </a:lnTo>
                  <a:lnTo>
                    <a:pt x="615" y="1073"/>
                  </a:lnTo>
                  <a:lnTo>
                    <a:pt x="615" y="1048"/>
                  </a:lnTo>
                  <a:lnTo>
                    <a:pt x="640" y="1022"/>
                  </a:lnTo>
                  <a:lnTo>
                    <a:pt x="640" y="1040"/>
                  </a:lnTo>
                  <a:lnTo>
                    <a:pt x="681" y="999"/>
                  </a:lnTo>
                  <a:lnTo>
                    <a:pt x="681" y="958"/>
                  </a:lnTo>
                  <a:lnTo>
                    <a:pt x="681" y="884"/>
                  </a:lnTo>
                  <a:lnTo>
                    <a:pt x="715" y="851"/>
                  </a:lnTo>
                  <a:lnTo>
                    <a:pt x="733" y="833"/>
                  </a:lnTo>
                  <a:lnTo>
                    <a:pt x="754" y="833"/>
                  </a:lnTo>
                  <a:lnTo>
                    <a:pt x="754" y="815"/>
                  </a:lnTo>
                  <a:lnTo>
                    <a:pt x="781" y="815"/>
                  </a:lnTo>
                  <a:lnTo>
                    <a:pt x="811" y="815"/>
                  </a:lnTo>
                  <a:lnTo>
                    <a:pt x="831" y="794"/>
                  </a:lnTo>
                  <a:lnTo>
                    <a:pt x="843" y="794"/>
                  </a:lnTo>
                  <a:lnTo>
                    <a:pt x="868" y="769"/>
                  </a:lnTo>
                  <a:lnTo>
                    <a:pt x="868" y="742"/>
                  </a:lnTo>
                  <a:lnTo>
                    <a:pt x="895" y="715"/>
                  </a:lnTo>
                  <a:lnTo>
                    <a:pt x="895" y="662"/>
                  </a:lnTo>
                  <a:lnTo>
                    <a:pt x="895" y="613"/>
                  </a:lnTo>
                  <a:lnTo>
                    <a:pt x="895" y="583"/>
                  </a:lnTo>
                  <a:lnTo>
                    <a:pt x="884" y="572"/>
                  </a:lnTo>
                  <a:lnTo>
                    <a:pt x="884" y="524"/>
                  </a:lnTo>
                  <a:lnTo>
                    <a:pt x="907" y="524"/>
                  </a:lnTo>
                  <a:lnTo>
                    <a:pt x="938" y="494"/>
                  </a:lnTo>
                  <a:lnTo>
                    <a:pt x="938" y="464"/>
                  </a:lnTo>
                  <a:lnTo>
                    <a:pt x="1002" y="400"/>
                  </a:lnTo>
                  <a:lnTo>
                    <a:pt x="1002" y="348"/>
                  </a:lnTo>
                  <a:lnTo>
                    <a:pt x="977" y="323"/>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Freeform 278">
              <a:extLst>
                <a:ext uri="{FF2B5EF4-FFF2-40B4-BE49-F238E27FC236}">
                  <a16:creationId xmlns:a16="http://schemas.microsoft.com/office/drawing/2014/main" id="{4AC34E7F-5CE2-40B4-A0E3-E15DE0BD37CF}"/>
                </a:ext>
              </a:extLst>
            </p:cNvPr>
            <p:cNvSpPr>
              <a:spLocks/>
            </p:cNvSpPr>
            <p:nvPr/>
          </p:nvSpPr>
          <p:spPr bwMode="auto">
            <a:xfrm>
              <a:off x="3160713" y="4975225"/>
              <a:ext cx="63500" cy="50800"/>
            </a:xfrm>
            <a:custGeom>
              <a:avLst/>
              <a:gdLst>
                <a:gd name="T0" fmla="*/ 14 w 80"/>
                <a:gd name="T1" fmla="*/ 64 h 64"/>
                <a:gd name="T2" fmla="*/ 62 w 80"/>
                <a:gd name="T3" fmla="*/ 64 h 64"/>
                <a:gd name="T4" fmla="*/ 80 w 80"/>
                <a:gd name="T5" fmla="*/ 46 h 64"/>
                <a:gd name="T6" fmla="*/ 57 w 80"/>
                <a:gd name="T7" fmla="*/ 25 h 64"/>
                <a:gd name="T8" fmla="*/ 25 w 80"/>
                <a:gd name="T9" fmla="*/ 25 h 64"/>
                <a:gd name="T10" fmla="*/ 0 w 80"/>
                <a:gd name="T11" fmla="*/ 0 h 64"/>
                <a:gd name="T12" fmla="*/ 0 w 80"/>
                <a:gd name="T13" fmla="*/ 64 h 64"/>
                <a:gd name="T14" fmla="*/ 14 w 80"/>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64">
                  <a:moveTo>
                    <a:pt x="14" y="64"/>
                  </a:moveTo>
                  <a:lnTo>
                    <a:pt x="62" y="64"/>
                  </a:lnTo>
                  <a:lnTo>
                    <a:pt x="80" y="46"/>
                  </a:lnTo>
                  <a:lnTo>
                    <a:pt x="57" y="25"/>
                  </a:lnTo>
                  <a:lnTo>
                    <a:pt x="25" y="25"/>
                  </a:lnTo>
                  <a:lnTo>
                    <a:pt x="0" y="0"/>
                  </a:lnTo>
                  <a:lnTo>
                    <a:pt x="0" y="64"/>
                  </a:lnTo>
                  <a:lnTo>
                    <a:pt x="14" y="6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Freeform 279">
              <a:extLst>
                <a:ext uri="{FF2B5EF4-FFF2-40B4-BE49-F238E27FC236}">
                  <a16:creationId xmlns:a16="http://schemas.microsoft.com/office/drawing/2014/main" id="{6DE20AF4-A204-4DA2-9144-D080AE255BE6}"/>
                </a:ext>
              </a:extLst>
            </p:cNvPr>
            <p:cNvSpPr>
              <a:spLocks/>
            </p:cNvSpPr>
            <p:nvPr/>
          </p:nvSpPr>
          <p:spPr bwMode="auto">
            <a:xfrm>
              <a:off x="2922588" y="4181475"/>
              <a:ext cx="238125" cy="844550"/>
            </a:xfrm>
            <a:custGeom>
              <a:avLst/>
              <a:gdLst>
                <a:gd name="T0" fmla="*/ 164 w 300"/>
                <a:gd name="T1" fmla="*/ 952 h 1064"/>
                <a:gd name="T2" fmla="*/ 138 w 300"/>
                <a:gd name="T3" fmla="*/ 905 h 1064"/>
                <a:gd name="T4" fmla="*/ 155 w 300"/>
                <a:gd name="T5" fmla="*/ 866 h 1064"/>
                <a:gd name="T6" fmla="*/ 143 w 300"/>
                <a:gd name="T7" fmla="*/ 823 h 1064"/>
                <a:gd name="T8" fmla="*/ 127 w 300"/>
                <a:gd name="T9" fmla="*/ 772 h 1064"/>
                <a:gd name="T10" fmla="*/ 93 w 300"/>
                <a:gd name="T11" fmla="*/ 716 h 1064"/>
                <a:gd name="T12" fmla="*/ 93 w 300"/>
                <a:gd name="T13" fmla="*/ 654 h 1064"/>
                <a:gd name="T14" fmla="*/ 102 w 300"/>
                <a:gd name="T15" fmla="*/ 601 h 1064"/>
                <a:gd name="T16" fmla="*/ 81 w 300"/>
                <a:gd name="T17" fmla="*/ 545 h 1064"/>
                <a:gd name="T18" fmla="*/ 91 w 300"/>
                <a:gd name="T19" fmla="*/ 511 h 1064"/>
                <a:gd name="T20" fmla="*/ 82 w 300"/>
                <a:gd name="T21" fmla="*/ 462 h 1064"/>
                <a:gd name="T22" fmla="*/ 48 w 300"/>
                <a:gd name="T23" fmla="*/ 404 h 1064"/>
                <a:gd name="T24" fmla="*/ 70 w 300"/>
                <a:gd name="T25" fmla="*/ 356 h 1064"/>
                <a:gd name="T26" fmla="*/ 59 w 300"/>
                <a:gd name="T27" fmla="*/ 321 h 1064"/>
                <a:gd name="T28" fmla="*/ 84 w 300"/>
                <a:gd name="T29" fmla="*/ 269 h 1064"/>
                <a:gd name="T30" fmla="*/ 79 w 300"/>
                <a:gd name="T31" fmla="*/ 246 h 1064"/>
                <a:gd name="T32" fmla="*/ 72 w 300"/>
                <a:gd name="T33" fmla="*/ 194 h 1064"/>
                <a:gd name="T34" fmla="*/ 104 w 300"/>
                <a:gd name="T35" fmla="*/ 164 h 1064"/>
                <a:gd name="T36" fmla="*/ 81 w 300"/>
                <a:gd name="T37" fmla="*/ 141 h 1064"/>
                <a:gd name="T38" fmla="*/ 52 w 300"/>
                <a:gd name="T39" fmla="*/ 96 h 1064"/>
                <a:gd name="T40" fmla="*/ 52 w 300"/>
                <a:gd name="T41" fmla="*/ 50 h 1064"/>
                <a:gd name="T42" fmla="*/ 20 w 300"/>
                <a:gd name="T43" fmla="*/ 0 h 1064"/>
                <a:gd name="T44" fmla="*/ 0 w 300"/>
                <a:gd name="T45" fmla="*/ 43 h 1064"/>
                <a:gd name="T46" fmla="*/ 20 w 300"/>
                <a:gd name="T47" fmla="*/ 87 h 1064"/>
                <a:gd name="T48" fmla="*/ 20 w 300"/>
                <a:gd name="T49" fmla="*/ 175 h 1064"/>
                <a:gd name="T50" fmla="*/ 36 w 300"/>
                <a:gd name="T51" fmla="*/ 248 h 1064"/>
                <a:gd name="T52" fmla="*/ 18 w 300"/>
                <a:gd name="T53" fmla="*/ 331 h 1064"/>
                <a:gd name="T54" fmla="*/ 32 w 300"/>
                <a:gd name="T55" fmla="*/ 367 h 1064"/>
                <a:gd name="T56" fmla="*/ 22 w 300"/>
                <a:gd name="T57" fmla="*/ 406 h 1064"/>
                <a:gd name="T58" fmla="*/ 36 w 300"/>
                <a:gd name="T59" fmla="*/ 488 h 1064"/>
                <a:gd name="T60" fmla="*/ 36 w 300"/>
                <a:gd name="T61" fmla="*/ 567 h 1064"/>
                <a:gd name="T62" fmla="*/ 20 w 300"/>
                <a:gd name="T63" fmla="*/ 599 h 1064"/>
                <a:gd name="T64" fmla="*/ 41 w 300"/>
                <a:gd name="T65" fmla="*/ 640 h 1064"/>
                <a:gd name="T66" fmla="*/ 41 w 300"/>
                <a:gd name="T67" fmla="*/ 688 h 1064"/>
                <a:gd name="T68" fmla="*/ 63 w 300"/>
                <a:gd name="T69" fmla="*/ 715 h 1064"/>
                <a:gd name="T70" fmla="*/ 88 w 300"/>
                <a:gd name="T71" fmla="*/ 782 h 1064"/>
                <a:gd name="T72" fmla="*/ 66 w 300"/>
                <a:gd name="T73" fmla="*/ 830 h 1064"/>
                <a:gd name="T74" fmla="*/ 104 w 300"/>
                <a:gd name="T75" fmla="*/ 882 h 1064"/>
                <a:gd name="T76" fmla="*/ 129 w 300"/>
                <a:gd name="T77" fmla="*/ 936 h 1064"/>
                <a:gd name="T78" fmla="*/ 155 w 300"/>
                <a:gd name="T79" fmla="*/ 996 h 1064"/>
                <a:gd name="T80" fmla="*/ 207 w 300"/>
                <a:gd name="T81" fmla="*/ 1019 h 1064"/>
                <a:gd name="T82" fmla="*/ 252 w 300"/>
                <a:gd name="T83" fmla="*/ 1064 h 1064"/>
                <a:gd name="T84" fmla="*/ 300 w 300"/>
                <a:gd name="T85" fmla="*/ 1064 h 1064"/>
                <a:gd name="T86" fmla="*/ 298 w 300"/>
                <a:gd name="T87" fmla="*/ 998 h 1064"/>
                <a:gd name="T88" fmla="*/ 280 w 300"/>
                <a:gd name="T89" fmla="*/ 980 h 1064"/>
                <a:gd name="T90" fmla="*/ 175 w 300"/>
                <a:gd name="T91" fmla="*/ 952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1064">
                  <a:moveTo>
                    <a:pt x="175" y="952"/>
                  </a:moveTo>
                  <a:lnTo>
                    <a:pt x="164" y="952"/>
                  </a:lnTo>
                  <a:lnTo>
                    <a:pt x="138" y="925"/>
                  </a:lnTo>
                  <a:lnTo>
                    <a:pt x="138" y="905"/>
                  </a:lnTo>
                  <a:lnTo>
                    <a:pt x="155" y="886"/>
                  </a:lnTo>
                  <a:lnTo>
                    <a:pt x="155" y="866"/>
                  </a:lnTo>
                  <a:lnTo>
                    <a:pt x="143" y="854"/>
                  </a:lnTo>
                  <a:lnTo>
                    <a:pt x="143" y="823"/>
                  </a:lnTo>
                  <a:lnTo>
                    <a:pt x="143" y="789"/>
                  </a:lnTo>
                  <a:lnTo>
                    <a:pt x="127" y="772"/>
                  </a:lnTo>
                  <a:lnTo>
                    <a:pt x="127" y="748"/>
                  </a:lnTo>
                  <a:lnTo>
                    <a:pt x="93" y="716"/>
                  </a:lnTo>
                  <a:lnTo>
                    <a:pt x="93" y="672"/>
                  </a:lnTo>
                  <a:lnTo>
                    <a:pt x="93" y="654"/>
                  </a:lnTo>
                  <a:lnTo>
                    <a:pt x="93" y="609"/>
                  </a:lnTo>
                  <a:lnTo>
                    <a:pt x="102" y="601"/>
                  </a:lnTo>
                  <a:lnTo>
                    <a:pt x="81" y="577"/>
                  </a:lnTo>
                  <a:lnTo>
                    <a:pt x="81" y="545"/>
                  </a:lnTo>
                  <a:lnTo>
                    <a:pt x="91" y="535"/>
                  </a:lnTo>
                  <a:lnTo>
                    <a:pt x="91" y="511"/>
                  </a:lnTo>
                  <a:lnTo>
                    <a:pt x="82" y="503"/>
                  </a:lnTo>
                  <a:lnTo>
                    <a:pt x="82" y="462"/>
                  </a:lnTo>
                  <a:lnTo>
                    <a:pt x="82" y="438"/>
                  </a:lnTo>
                  <a:lnTo>
                    <a:pt x="48" y="404"/>
                  </a:lnTo>
                  <a:lnTo>
                    <a:pt x="48" y="378"/>
                  </a:lnTo>
                  <a:lnTo>
                    <a:pt x="70" y="356"/>
                  </a:lnTo>
                  <a:lnTo>
                    <a:pt x="70" y="331"/>
                  </a:lnTo>
                  <a:lnTo>
                    <a:pt x="59" y="321"/>
                  </a:lnTo>
                  <a:lnTo>
                    <a:pt x="59" y="269"/>
                  </a:lnTo>
                  <a:lnTo>
                    <a:pt x="84" y="269"/>
                  </a:lnTo>
                  <a:lnTo>
                    <a:pt x="95" y="260"/>
                  </a:lnTo>
                  <a:lnTo>
                    <a:pt x="79" y="246"/>
                  </a:lnTo>
                  <a:lnTo>
                    <a:pt x="79" y="201"/>
                  </a:lnTo>
                  <a:lnTo>
                    <a:pt x="72" y="194"/>
                  </a:lnTo>
                  <a:lnTo>
                    <a:pt x="90" y="176"/>
                  </a:lnTo>
                  <a:lnTo>
                    <a:pt x="104" y="164"/>
                  </a:lnTo>
                  <a:lnTo>
                    <a:pt x="104" y="141"/>
                  </a:lnTo>
                  <a:lnTo>
                    <a:pt x="81" y="141"/>
                  </a:lnTo>
                  <a:lnTo>
                    <a:pt x="81" y="125"/>
                  </a:lnTo>
                  <a:lnTo>
                    <a:pt x="52" y="96"/>
                  </a:lnTo>
                  <a:lnTo>
                    <a:pt x="52" y="69"/>
                  </a:lnTo>
                  <a:lnTo>
                    <a:pt x="52" y="50"/>
                  </a:lnTo>
                  <a:lnTo>
                    <a:pt x="52" y="28"/>
                  </a:lnTo>
                  <a:lnTo>
                    <a:pt x="20" y="0"/>
                  </a:lnTo>
                  <a:lnTo>
                    <a:pt x="0" y="19"/>
                  </a:lnTo>
                  <a:lnTo>
                    <a:pt x="0" y="43"/>
                  </a:lnTo>
                  <a:lnTo>
                    <a:pt x="0" y="68"/>
                  </a:lnTo>
                  <a:lnTo>
                    <a:pt x="20" y="87"/>
                  </a:lnTo>
                  <a:lnTo>
                    <a:pt x="20" y="116"/>
                  </a:lnTo>
                  <a:lnTo>
                    <a:pt x="20" y="175"/>
                  </a:lnTo>
                  <a:lnTo>
                    <a:pt x="36" y="189"/>
                  </a:lnTo>
                  <a:lnTo>
                    <a:pt x="36" y="248"/>
                  </a:lnTo>
                  <a:lnTo>
                    <a:pt x="18" y="264"/>
                  </a:lnTo>
                  <a:lnTo>
                    <a:pt x="18" y="331"/>
                  </a:lnTo>
                  <a:lnTo>
                    <a:pt x="32" y="346"/>
                  </a:lnTo>
                  <a:lnTo>
                    <a:pt x="32" y="367"/>
                  </a:lnTo>
                  <a:lnTo>
                    <a:pt x="22" y="378"/>
                  </a:lnTo>
                  <a:lnTo>
                    <a:pt x="22" y="406"/>
                  </a:lnTo>
                  <a:lnTo>
                    <a:pt x="36" y="421"/>
                  </a:lnTo>
                  <a:lnTo>
                    <a:pt x="36" y="488"/>
                  </a:lnTo>
                  <a:lnTo>
                    <a:pt x="36" y="531"/>
                  </a:lnTo>
                  <a:lnTo>
                    <a:pt x="36" y="567"/>
                  </a:lnTo>
                  <a:lnTo>
                    <a:pt x="20" y="567"/>
                  </a:lnTo>
                  <a:lnTo>
                    <a:pt x="20" y="599"/>
                  </a:lnTo>
                  <a:lnTo>
                    <a:pt x="41" y="622"/>
                  </a:lnTo>
                  <a:lnTo>
                    <a:pt x="41" y="640"/>
                  </a:lnTo>
                  <a:lnTo>
                    <a:pt x="41" y="656"/>
                  </a:lnTo>
                  <a:lnTo>
                    <a:pt x="41" y="688"/>
                  </a:lnTo>
                  <a:lnTo>
                    <a:pt x="63" y="688"/>
                  </a:lnTo>
                  <a:lnTo>
                    <a:pt x="63" y="715"/>
                  </a:lnTo>
                  <a:lnTo>
                    <a:pt x="88" y="740"/>
                  </a:lnTo>
                  <a:lnTo>
                    <a:pt x="88" y="782"/>
                  </a:lnTo>
                  <a:lnTo>
                    <a:pt x="66" y="806"/>
                  </a:lnTo>
                  <a:lnTo>
                    <a:pt x="66" y="830"/>
                  </a:lnTo>
                  <a:lnTo>
                    <a:pt x="66" y="845"/>
                  </a:lnTo>
                  <a:lnTo>
                    <a:pt x="104" y="882"/>
                  </a:lnTo>
                  <a:lnTo>
                    <a:pt x="104" y="911"/>
                  </a:lnTo>
                  <a:lnTo>
                    <a:pt x="129" y="936"/>
                  </a:lnTo>
                  <a:lnTo>
                    <a:pt x="129" y="970"/>
                  </a:lnTo>
                  <a:lnTo>
                    <a:pt x="155" y="996"/>
                  </a:lnTo>
                  <a:lnTo>
                    <a:pt x="179" y="1019"/>
                  </a:lnTo>
                  <a:lnTo>
                    <a:pt x="207" y="1019"/>
                  </a:lnTo>
                  <a:lnTo>
                    <a:pt x="225" y="1035"/>
                  </a:lnTo>
                  <a:lnTo>
                    <a:pt x="252" y="1064"/>
                  </a:lnTo>
                  <a:lnTo>
                    <a:pt x="291" y="1064"/>
                  </a:lnTo>
                  <a:lnTo>
                    <a:pt x="300" y="1064"/>
                  </a:lnTo>
                  <a:lnTo>
                    <a:pt x="300" y="1000"/>
                  </a:lnTo>
                  <a:lnTo>
                    <a:pt x="298" y="998"/>
                  </a:lnTo>
                  <a:lnTo>
                    <a:pt x="282" y="982"/>
                  </a:lnTo>
                  <a:lnTo>
                    <a:pt x="280" y="980"/>
                  </a:lnTo>
                  <a:lnTo>
                    <a:pt x="204" y="980"/>
                  </a:lnTo>
                  <a:lnTo>
                    <a:pt x="175" y="952"/>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Freeform 280">
              <a:extLst>
                <a:ext uri="{FF2B5EF4-FFF2-40B4-BE49-F238E27FC236}">
                  <a16:creationId xmlns:a16="http://schemas.microsoft.com/office/drawing/2014/main" id="{6392D971-D569-42E0-8249-3FE5E935B2DF}"/>
                </a:ext>
              </a:extLst>
            </p:cNvPr>
            <p:cNvSpPr>
              <a:spLocks/>
            </p:cNvSpPr>
            <p:nvPr/>
          </p:nvSpPr>
          <p:spPr bwMode="auto">
            <a:xfrm>
              <a:off x="3201988" y="4464050"/>
              <a:ext cx="107950" cy="111125"/>
            </a:xfrm>
            <a:custGeom>
              <a:avLst/>
              <a:gdLst>
                <a:gd name="T0" fmla="*/ 114 w 135"/>
                <a:gd name="T1" fmla="*/ 48 h 139"/>
                <a:gd name="T2" fmla="*/ 91 w 135"/>
                <a:gd name="T3" fmla="*/ 48 h 139"/>
                <a:gd name="T4" fmla="*/ 67 w 135"/>
                <a:gd name="T5" fmla="*/ 24 h 139"/>
                <a:gd name="T6" fmla="*/ 41 w 135"/>
                <a:gd name="T7" fmla="*/ 24 h 139"/>
                <a:gd name="T8" fmla="*/ 16 w 135"/>
                <a:gd name="T9" fmla="*/ 0 h 139"/>
                <a:gd name="T10" fmla="*/ 0 w 135"/>
                <a:gd name="T11" fmla="*/ 16 h 139"/>
                <a:gd name="T12" fmla="*/ 0 w 135"/>
                <a:gd name="T13" fmla="*/ 50 h 139"/>
                <a:gd name="T14" fmla="*/ 17 w 135"/>
                <a:gd name="T15" fmla="*/ 66 h 139"/>
                <a:gd name="T16" fmla="*/ 17 w 135"/>
                <a:gd name="T17" fmla="*/ 88 h 139"/>
                <a:gd name="T18" fmla="*/ 7 w 135"/>
                <a:gd name="T19" fmla="*/ 98 h 139"/>
                <a:gd name="T20" fmla="*/ 26 w 135"/>
                <a:gd name="T21" fmla="*/ 118 h 139"/>
                <a:gd name="T22" fmla="*/ 58 w 135"/>
                <a:gd name="T23" fmla="*/ 118 h 139"/>
                <a:gd name="T24" fmla="*/ 80 w 135"/>
                <a:gd name="T25" fmla="*/ 139 h 139"/>
                <a:gd name="T26" fmla="*/ 107 w 135"/>
                <a:gd name="T27" fmla="*/ 139 h 139"/>
                <a:gd name="T28" fmla="*/ 135 w 135"/>
                <a:gd name="T29" fmla="*/ 111 h 139"/>
                <a:gd name="T30" fmla="*/ 135 w 135"/>
                <a:gd name="T31" fmla="*/ 88 h 139"/>
                <a:gd name="T32" fmla="*/ 135 w 135"/>
                <a:gd name="T33" fmla="*/ 68 h 139"/>
                <a:gd name="T34" fmla="*/ 114 w 135"/>
                <a:gd name="T35" fmla="*/ 4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39">
                  <a:moveTo>
                    <a:pt x="114" y="48"/>
                  </a:moveTo>
                  <a:lnTo>
                    <a:pt x="91" y="48"/>
                  </a:lnTo>
                  <a:lnTo>
                    <a:pt x="67" y="24"/>
                  </a:lnTo>
                  <a:lnTo>
                    <a:pt x="41" y="24"/>
                  </a:lnTo>
                  <a:lnTo>
                    <a:pt x="16" y="0"/>
                  </a:lnTo>
                  <a:lnTo>
                    <a:pt x="0" y="16"/>
                  </a:lnTo>
                  <a:lnTo>
                    <a:pt x="0" y="50"/>
                  </a:lnTo>
                  <a:lnTo>
                    <a:pt x="17" y="66"/>
                  </a:lnTo>
                  <a:lnTo>
                    <a:pt x="17" y="88"/>
                  </a:lnTo>
                  <a:lnTo>
                    <a:pt x="7" y="98"/>
                  </a:lnTo>
                  <a:lnTo>
                    <a:pt x="26" y="118"/>
                  </a:lnTo>
                  <a:lnTo>
                    <a:pt x="58" y="118"/>
                  </a:lnTo>
                  <a:lnTo>
                    <a:pt x="80" y="139"/>
                  </a:lnTo>
                  <a:lnTo>
                    <a:pt x="107" y="139"/>
                  </a:lnTo>
                  <a:lnTo>
                    <a:pt x="135" y="111"/>
                  </a:lnTo>
                  <a:lnTo>
                    <a:pt x="135" y="88"/>
                  </a:lnTo>
                  <a:lnTo>
                    <a:pt x="135" y="68"/>
                  </a:lnTo>
                  <a:lnTo>
                    <a:pt x="114" y="4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281">
              <a:extLst>
                <a:ext uri="{FF2B5EF4-FFF2-40B4-BE49-F238E27FC236}">
                  <a16:creationId xmlns:a16="http://schemas.microsoft.com/office/drawing/2014/main" id="{960D0968-197B-4176-880D-FF1C2A2B8177}"/>
                </a:ext>
              </a:extLst>
            </p:cNvPr>
            <p:cNvSpPr>
              <a:spLocks/>
            </p:cNvSpPr>
            <p:nvPr/>
          </p:nvSpPr>
          <p:spPr bwMode="auto">
            <a:xfrm>
              <a:off x="3090863" y="4214813"/>
              <a:ext cx="174625" cy="195263"/>
            </a:xfrm>
            <a:custGeom>
              <a:avLst/>
              <a:gdLst>
                <a:gd name="T0" fmla="*/ 28 w 219"/>
                <a:gd name="T1" fmla="*/ 0 h 246"/>
                <a:gd name="T2" fmla="*/ 0 w 219"/>
                <a:gd name="T3" fmla="*/ 28 h 246"/>
                <a:gd name="T4" fmla="*/ 0 w 219"/>
                <a:gd name="T5" fmla="*/ 74 h 246"/>
                <a:gd name="T6" fmla="*/ 76 w 219"/>
                <a:gd name="T7" fmla="*/ 140 h 246"/>
                <a:gd name="T8" fmla="*/ 99 w 219"/>
                <a:gd name="T9" fmla="*/ 140 h 246"/>
                <a:gd name="T10" fmla="*/ 133 w 219"/>
                <a:gd name="T11" fmla="*/ 174 h 246"/>
                <a:gd name="T12" fmla="*/ 112 w 219"/>
                <a:gd name="T13" fmla="*/ 197 h 246"/>
                <a:gd name="T14" fmla="*/ 112 w 219"/>
                <a:gd name="T15" fmla="*/ 228 h 246"/>
                <a:gd name="T16" fmla="*/ 151 w 219"/>
                <a:gd name="T17" fmla="*/ 228 h 246"/>
                <a:gd name="T18" fmla="*/ 169 w 219"/>
                <a:gd name="T19" fmla="*/ 246 h 246"/>
                <a:gd name="T20" fmla="*/ 194 w 219"/>
                <a:gd name="T21" fmla="*/ 222 h 246"/>
                <a:gd name="T22" fmla="*/ 194 w 219"/>
                <a:gd name="T23" fmla="*/ 210 h 246"/>
                <a:gd name="T24" fmla="*/ 219 w 219"/>
                <a:gd name="T25" fmla="*/ 183 h 246"/>
                <a:gd name="T26" fmla="*/ 219 w 219"/>
                <a:gd name="T27" fmla="*/ 126 h 246"/>
                <a:gd name="T28" fmla="*/ 206 w 219"/>
                <a:gd name="T29" fmla="*/ 126 h 246"/>
                <a:gd name="T30" fmla="*/ 192 w 219"/>
                <a:gd name="T31" fmla="*/ 139 h 246"/>
                <a:gd name="T32" fmla="*/ 178 w 219"/>
                <a:gd name="T33" fmla="*/ 139 h 246"/>
                <a:gd name="T34" fmla="*/ 178 w 219"/>
                <a:gd name="T35" fmla="*/ 98 h 246"/>
                <a:gd name="T36" fmla="*/ 158 w 219"/>
                <a:gd name="T37" fmla="*/ 98 h 246"/>
                <a:gd name="T38" fmla="*/ 144 w 219"/>
                <a:gd name="T39" fmla="*/ 82 h 246"/>
                <a:gd name="T40" fmla="*/ 115 w 219"/>
                <a:gd name="T41" fmla="*/ 82 h 246"/>
                <a:gd name="T42" fmla="*/ 115 w 219"/>
                <a:gd name="T43" fmla="*/ 33 h 246"/>
                <a:gd name="T44" fmla="*/ 99 w 219"/>
                <a:gd name="T45" fmla="*/ 17 h 246"/>
                <a:gd name="T46" fmla="*/ 74 w 219"/>
                <a:gd name="T47" fmla="*/ 0 h 246"/>
                <a:gd name="T48" fmla="*/ 28 w 219"/>
                <a:gd name="T49"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246">
                  <a:moveTo>
                    <a:pt x="28" y="0"/>
                  </a:moveTo>
                  <a:lnTo>
                    <a:pt x="0" y="28"/>
                  </a:lnTo>
                  <a:lnTo>
                    <a:pt x="0" y="74"/>
                  </a:lnTo>
                  <a:lnTo>
                    <a:pt x="76" y="140"/>
                  </a:lnTo>
                  <a:lnTo>
                    <a:pt x="99" y="140"/>
                  </a:lnTo>
                  <a:lnTo>
                    <a:pt x="133" y="174"/>
                  </a:lnTo>
                  <a:lnTo>
                    <a:pt x="112" y="197"/>
                  </a:lnTo>
                  <a:lnTo>
                    <a:pt x="112" y="228"/>
                  </a:lnTo>
                  <a:lnTo>
                    <a:pt x="151" y="228"/>
                  </a:lnTo>
                  <a:lnTo>
                    <a:pt x="169" y="246"/>
                  </a:lnTo>
                  <a:lnTo>
                    <a:pt x="194" y="222"/>
                  </a:lnTo>
                  <a:lnTo>
                    <a:pt x="194" y="210"/>
                  </a:lnTo>
                  <a:lnTo>
                    <a:pt x="219" y="183"/>
                  </a:lnTo>
                  <a:lnTo>
                    <a:pt x="219" y="126"/>
                  </a:lnTo>
                  <a:lnTo>
                    <a:pt x="206" y="126"/>
                  </a:lnTo>
                  <a:lnTo>
                    <a:pt x="192" y="139"/>
                  </a:lnTo>
                  <a:lnTo>
                    <a:pt x="178" y="139"/>
                  </a:lnTo>
                  <a:lnTo>
                    <a:pt x="178" y="98"/>
                  </a:lnTo>
                  <a:lnTo>
                    <a:pt x="158" y="98"/>
                  </a:lnTo>
                  <a:lnTo>
                    <a:pt x="144" y="82"/>
                  </a:lnTo>
                  <a:lnTo>
                    <a:pt x="115" y="82"/>
                  </a:lnTo>
                  <a:lnTo>
                    <a:pt x="115" y="33"/>
                  </a:lnTo>
                  <a:lnTo>
                    <a:pt x="99" y="17"/>
                  </a:lnTo>
                  <a:lnTo>
                    <a:pt x="74" y="0"/>
                  </a:lnTo>
                  <a:lnTo>
                    <a:pt x="28"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282">
              <a:extLst>
                <a:ext uri="{FF2B5EF4-FFF2-40B4-BE49-F238E27FC236}">
                  <a16:creationId xmlns:a16="http://schemas.microsoft.com/office/drawing/2014/main" id="{9C7079BE-0FF0-4D49-A460-7D56982D10F2}"/>
                </a:ext>
              </a:extLst>
            </p:cNvPr>
            <p:cNvSpPr>
              <a:spLocks/>
            </p:cNvSpPr>
            <p:nvPr/>
          </p:nvSpPr>
          <p:spPr bwMode="auto">
            <a:xfrm>
              <a:off x="2960688" y="4275138"/>
              <a:ext cx="312738" cy="684213"/>
            </a:xfrm>
            <a:custGeom>
              <a:avLst/>
              <a:gdLst>
                <a:gd name="T0" fmla="*/ 320 w 395"/>
                <a:gd name="T1" fmla="*/ 223 h 863"/>
                <a:gd name="T2" fmla="*/ 395 w 395"/>
                <a:gd name="T3" fmla="*/ 148 h 863"/>
                <a:gd name="T4" fmla="*/ 384 w 395"/>
                <a:gd name="T5" fmla="*/ 109 h 863"/>
                <a:gd name="T6" fmla="*/ 359 w 395"/>
                <a:gd name="T7" fmla="*/ 148 h 863"/>
                <a:gd name="T8" fmla="*/ 316 w 395"/>
                <a:gd name="T9" fmla="*/ 154 h 863"/>
                <a:gd name="T10" fmla="*/ 277 w 395"/>
                <a:gd name="T11" fmla="*/ 123 h 863"/>
                <a:gd name="T12" fmla="*/ 264 w 395"/>
                <a:gd name="T13" fmla="*/ 66 h 863"/>
                <a:gd name="T14" fmla="*/ 165 w 395"/>
                <a:gd name="T15" fmla="*/ 0 h 863"/>
                <a:gd name="T16" fmla="*/ 131 w 395"/>
                <a:gd name="T17" fmla="*/ 20 h 863"/>
                <a:gd name="T18" fmla="*/ 79 w 395"/>
                <a:gd name="T19" fmla="*/ 0 h 863"/>
                <a:gd name="T20" fmla="*/ 56 w 395"/>
                <a:gd name="T21" fmla="*/ 47 h 863"/>
                <a:gd name="T22" fmla="*/ 24 w 395"/>
                <a:gd name="T23" fmla="*/ 77 h 863"/>
                <a:gd name="T24" fmla="*/ 31 w 395"/>
                <a:gd name="T25" fmla="*/ 129 h 863"/>
                <a:gd name="T26" fmla="*/ 36 w 395"/>
                <a:gd name="T27" fmla="*/ 152 h 863"/>
                <a:gd name="T28" fmla="*/ 11 w 395"/>
                <a:gd name="T29" fmla="*/ 204 h 863"/>
                <a:gd name="T30" fmla="*/ 22 w 395"/>
                <a:gd name="T31" fmla="*/ 239 h 863"/>
                <a:gd name="T32" fmla="*/ 0 w 395"/>
                <a:gd name="T33" fmla="*/ 287 h 863"/>
                <a:gd name="T34" fmla="*/ 34 w 395"/>
                <a:gd name="T35" fmla="*/ 345 h 863"/>
                <a:gd name="T36" fmla="*/ 43 w 395"/>
                <a:gd name="T37" fmla="*/ 394 h 863"/>
                <a:gd name="T38" fmla="*/ 33 w 395"/>
                <a:gd name="T39" fmla="*/ 428 h 863"/>
                <a:gd name="T40" fmla="*/ 54 w 395"/>
                <a:gd name="T41" fmla="*/ 484 h 863"/>
                <a:gd name="T42" fmla="*/ 45 w 395"/>
                <a:gd name="T43" fmla="*/ 537 h 863"/>
                <a:gd name="T44" fmla="*/ 45 w 395"/>
                <a:gd name="T45" fmla="*/ 599 h 863"/>
                <a:gd name="T46" fmla="*/ 79 w 395"/>
                <a:gd name="T47" fmla="*/ 655 h 863"/>
                <a:gd name="T48" fmla="*/ 95 w 395"/>
                <a:gd name="T49" fmla="*/ 706 h 863"/>
                <a:gd name="T50" fmla="*/ 107 w 395"/>
                <a:gd name="T51" fmla="*/ 749 h 863"/>
                <a:gd name="T52" fmla="*/ 90 w 395"/>
                <a:gd name="T53" fmla="*/ 788 h 863"/>
                <a:gd name="T54" fmla="*/ 116 w 395"/>
                <a:gd name="T55" fmla="*/ 835 h 863"/>
                <a:gd name="T56" fmla="*/ 156 w 395"/>
                <a:gd name="T57" fmla="*/ 863 h 863"/>
                <a:gd name="T58" fmla="*/ 193 w 395"/>
                <a:gd name="T59" fmla="*/ 824 h 863"/>
                <a:gd name="T60" fmla="*/ 232 w 395"/>
                <a:gd name="T61" fmla="*/ 804 h 863"/>
                <a:gd name="T62" fmla="*/ 255 w 395"/>
                <a:gd name="T63" fmla="*/ 747 h 863"/>
                <a:gd name="T64" fmla="*/ 225 w 395"/>
                <a:gd name="T65" fmla="*/ 726 h 863"/>
                <a:gd name="T66" fmla="*/ 191 w 395"/>
                <a:gd name="T67" fmla="*/ 665 h 863"/>
                <a:gd name="T68" fmla="*/ 223 w 395"/>
                <a:gd name="T69" fmla="*/ 631 h 863"/>
                <a:gd name="T70" fmla="*/ 234 w 395"/>
                <a:gd name="T71" fmla="*/ 599 h 863"/>
                <a:gd name="T72" fmla="*/ 214 w 395"/>
                <a:gd name="T73" fmla="*/ 546 h 863"/>
                <a:gd name="T74" fmla="*/ 255 w 395"/>
                <a:gd name="T75" fmla="*/ 519 h 863"/>
                <a:gd name="T76" fmla="*/ 284 w 395"/>
                <a:gd name="T77" fmla="*/ 491 h 863"/>
                <a:gd name="T78" fmla="*/ 352 w 395"/>
                <a:gd name="T79" fmla="*/ 460 h 863"/>
                <a:gd name="T80" fmla="*/ 348 w 395"/>
                <a:gd name="T81" fmla="*/ 402 h 863"/>
                <a:gd name="T82" fmla="*/ 321 w 395"/>
                <a:gd name="T83" fmla="*/ 357 h 863"/>
                <a:gd name="T84" fmla="*/ 311 w 395"/>
                <a:gd name="T85" fmla="*/ 337 h 863"/>
                <a:gd name="T86" fmla="*/ 321 w 395"/>
                <a:gd name="T87" fmla="*/ 305 h 863"/>
                <a:gd name="T88" fmla="*/ 304 w 395"/>
                <a:gd name="T89" fmla="*/ 255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5" h="863">
                  <a:moveTo>
                    <a:pt x="320" y="239"/>
                  </a:moveTo>
                  <a:lnTo>
                    <a:pt x="320" y="223"/>
                  </a:lnTo>
                  <a:lnTo>
                    <a:pt x="373" y="170"/>
                  </a:lnTo>
                  <a:lnTo>
                    <a:pt x="395" y="148"/>
                  </a:lnTo>
                  <a:lnTo>
                    <a:pt x="395" y="120"/>
                  </a:lnTo>
                  <a:lnTo>
                    <a:pt x="384" y="109"/>
                  </a:lnTo>
                  <a:lnTo>
                    <a:pt x="359" y="136"/>
                  </a:lnTo>
                  <a:lnTo>
                    <a:pt x="359" y="148"/>
                  </a:lnTo>
                  <a:lnTo>
                    <a:pt x="334" y="172"/>
                  </a:lnTo>
                  <a:lnTo>
                    <a:pt x="316" y="154"/>
                  </a:lnTo>
                  <a:lnTo>
                    <a:pt x="277" y="154"/>
                  </a:lnTo>
                  <a:lnTo>
                    <a:pt x="277" y="123"/>
                  </a:lnTo>
                  <a:lnTo>
                    <a:pt x="298" y="100"/>
                  </a:lnTo>
                  <a:lnTo>
                    <a:pt x="264" y="66"/>
                  </a:lnTo>
                  <a:lnTo>
                    <a:pt x="241" y="66"/>
                  </a:lnTo>
                  <a:lnTo>
                    <a:pt x="165" y="0"/>
                  </a:lnTo>
                  <a:lnTo>
                    <a:pt x="131" y="0"/>
                  </a:lnTo>
                  <a:lnTo>
                    <a:pt x="131" y="20"/>
                  </a:lnTo>
                  <a:lnTo>
                    <a:pt x="111" y="0"/>
                  </a:lnTo>
                  <a:lnTo>
                    <a:pt x="79" y="0"/>
                  </a:lnTo>
                  <a:lnTo>
                    <a:pt x="56" y="24"/>
                  </a:lnTo>
                  <a:lnTo>
                    <a:pt x="56" y="47"/>
                  </a:lnTo>
                  <a:lnTo>
                    <a:pt x="42" y="59"/>
                  </a:lnTo>
                  <a:lnTo>
                    <a:pt x="24" y="77"/>
                  </a:lnTo>
                  <a:lnTo>
                    <a:pt x="31" y="84"/>
                  </a:lnTo>
                  <a:lnTo>
                    <a:pt x="31" y="129"/>
                  </a:lnTo>
                  <a:lnTo>
                    <a:pt x="47" y="143"/>
                  </a:lnTo>
                  <a:lnTo>
                    <a:pt x="36" y="152"/>
                  </a:lnTo>
                  <a:lnTo>
                    <a:pt x="11" y="152"/>
                  </a:lnTo>
                  <a:lnTo>
                    <a:pt x="11" y="204"/>
                  </a:lnTo>
                  <a:lnTo>
                    <a:pt x="22" y="214"/>
                  </a:lnTo>
                  <a:lnTo>
                    <a:pt x="22" y="239"/>
                  </a:lnTo>
                  <a:lnTo>
                    <a:pt x="0" y="261"/>
                  </a:lnTo>
                  <a:lnTo>
                    <a:pt x="0" y="287"/>
                  </a:lnTo>
                  <a:lnTo>
                    <a:pt x="34" y="321"/>
                  </a:lnTo>
                  <a:lnTo>
                    <a:pt x="34" y="345"/>
                  </a:lnTo>
                  <a:lnTo>
                    <a:pt x="34" y="386"/>
                  </a:lnTo>
                  <a:lnTo>
                    <a:pt x="43" y="394"/>
                  </a:lnTo>
                  <a:lnTo>
                    <a:pt x="43" y="418"/>
                  </a:lnTo>
                  <a:lnTo>
                    <a:pt x="33" y="428"/>
                  </a:lnTo>
                  <a:lnTo>
                    <a:pt x="33" y="460"/>
                  </a:lnTo>
                  <a:lnTo>
                    <a:pt x="54" y="484"/>
                  </a:lnTo>
                  <a:lnTo>
                    <a:pt x="45" y="492"/>
                  </a:lnTo>
                  <a:lnTo>
                    <a:pt x="45" y="537"/>
                  </a:lnTo>
                  <a:lnTo>
                    <a:pt x="45" y="555"/>
                  </a:lnTo>
                  <a:lnTo>
                    <a:pt x="45" y="599"/>
                  </a:lnTo>
                  <a:lnTo>
                    <a:pt x="79" y="631"/>
                  </a:lnTo>
                  <a:lnTo>
                    <a:pt x="79" y="655"/>
                  </a:lnTo>
                  <a:lnTo>
                    <a:pt x="95" y="672"/>
                  </a:lnTo>
                  <a:lnTo>
                    <a:pt x="95" y="706"/>
                  </a:lnTo>
                  <a:lnTo>
                    <a:pt x="95" y="737"/>
                  </a:lnTo>
                  <a:lnTo>
                    <a:pt x="107" y="749"/>
                  </a:lnTo>
                  <a:lnTo>
                    <a:pt x="107" y="769"/>
                  </a:lnTo>
                  <a:lnTo>
                    <a:pt x="90" y="788"/>
                  </a:lnTo>
                  <a:lnTo>
                    <a:pt x="90" y="808"/>
                  </a:lnTo>
                  <a:lnTo>
                    <a:pt x="116" y="835"/>
                  </a:lnTo>
                  <a:lnTo>
                    <a:pt x="127" y="835"/>
                  </a:lnTo>
                  <a:lnTo>
                    <a:pt x="156" y="863"/>
                  </a:lnTo>
                  <a:lnTo>
                    <a:pt x="232" y="863"/>
                  </a:lnTo>
                  <a:lnTo>
                    <a:pt x="193" y="824"/>
                  </a:lnTo>
                  <a:lnTo>
                    <a:pt x="214" y="804"/>
                  </a:lnTo>
                  <a:lnTo>
                    <a:pt x="232" y="804"/>
                  </a:lnTo>
                  <a:lnTo>
                    <a:pt x="232" y="772"/>
                  </a:lnTo>
                  <a:lnTo>
                    <a:pt x="255" y="747"/>
                  </a:lnTo>
                  <a:lnTo>
                    <a:pt x="255" y="726"/>
                  </a:lnTo>
                  <a:lnTo>
                    <a:pt x="225" y="726"/>
                  </a:lnTo>
                  <a:lnTo>
                    <a:pt x="191" y="694"/>
                  </a:lnTo>
                  <a:lnTo>
                    <a:pt x="191" y="665"/>
                  </a:lnTo>
                  <a:lnTo>
                    <a:pt x="223" y="665"/>
                  </a:lnTo>
                  <a:lnTo>
                    <a:pt x="223" y="631"/>
                  </a:lnTo>
                  <a:lnTo>
                    <a:pt x="245" y="610"/>
                  </a:lnTo>
                  <a:lnTo>
                    <a:pt x="234" y="599"/>
                  </a:lnTo>
                  <a:lnTo>
                    <a:pt x="214" y="580"/>
                  </a:lnTo>
                  <a:lnTo>
                    <a:pt x="214" y="546"/>
                  </a:lnTo>
                  <a:lnTo>
                    <a:pt x="255" y="546"/>
                  </a:lnTo>
                  <a:lnTo>
                    <a:pt x="255" y="519"/>
                  </a:lnTo>
                  <a:lnTo>
                    <a:pt x="273" y="501"/>
                  </a:lnTo>
                  <a:lnTo>
                    <a:pt x="284" y="491"/>
                  </a:lnTo>
                  <a:lnTo>
                    <a:pt x="320" y="491"/>
                  </a:lnTo>
                  <a:lnTo>
                    <a:pt x="352" y="460"/>
                  </a:lnTo>
                  <a:lnTo>
                    <a:pt x="379" y="432"/>
                  </a:lnTo>
                  <a:lnTo>
                    <a:pt x="348" y="402"/>
                  </a:lnTo>
                  <a:lnTo>
                    <a:pt x="348" y="384"/>
                  </a:lnTo>
                  <a:lnTo>
                    <a:pt x="321" y="357"/>
                  </a:lnTo>
                  <a:lnTo>
                    <a:pt x="330" y="357"/>
                  </a:lnTo>
                  <a:lnTo>
                    <a:pt x="311" y="337"/>
                  </a:lnTo>
                  <a:lnTo>
                    <a:pt x="321" y="327"/>
                  </a:lnTo>
                  <a:lnTo>
                    <a:pt x="321" y="305"/>
                  </a:lnTo>
                  <a:lnTo>
                    <a:pt x="304" y="289"/>
                  </a:lnTo>
                  <a:lnTo>
                    <a:pt x="304" y="255"/>
                  </a:lnTo>
                  <a:lnTo>
                    <a:pt x="320" y="23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283">
              <a:extLst>
                <a:ext uri="{FF2B5EF4-FFF2-40B4-BE49-F238E27FC236}">
                  <a16:creationId xmlns:a16="http://schemas.microsoft.com/office/drawing/2014/main" id="{9F654146-141B-482B-9D1F-EC9992D0C4E6}"/>
                </a:ext>
              </a:extLst>
            </p:cNvPr>
            <p:cNvSpPr>
              <a:spLocks/>
            </p:cNvSpPr>
            <p:nvPr/>
          </p:nvSpPr>
          <p:spPr bwMode="auto">
            <a:xfrm>
              <a:off x="2932113" y="4002088"/>
              <a:ext cx="246063" cy="290513"/>
            </a:xfrm>
            <a:custGeom>
              <a:avLst/>
              <a:gdLst>
                <a:gd name="T0" fmla="*/ 148 w 310"/>
                <a:gd name="T1" fmla="*/ 344 h 368"/>
                <a:gd name="T2" fmla="*/ 168 w 310"/>
                <a:gd name="T3" fmla="*/ 364 h 368"/>
                <a:gd name="T4" fmla="*/ 168 w 310"/>
                <a:gd name="T5" fmla="*/ 344 h 368"/>
                <a:gd name="T6" fmla="*/ 202 w 310"/>
                <a:gd name="T7" fmla="*/ 344 h 368"/>
                <a:gd name="T8" fmla="*/ 202 w 310"/>
                <a:gd name="T9" fmla="*/ 298 h 368"/>
                <a:gd name="T10" fmla="*/ 230 w 310"/>
                <a:gd name="T11" fmla="*/ 270 h 368"/>
                <a:gd name="T12" fmla="*/ 276 w 310"/>
                <a:gd name="T13" fmla="*/ 270 h 368"/>
                <a:gd name="T14" fmla="*/ 301 w 310"/>
                <a:gd name="T15" fmla="*/ 287 h 368"/>
                <a:gd name="T16" fmla="*/ 310 w 310"/>
                <a:gd name="T17" fmla="*/ 277 h 368"/>
                <a:gd name="T18" fmla="*/ 310 w 310"/>
                <a:gd name="T19" fmla="*/ 229 h 368"/>
                <a:gd name="T20" fmla="*/ 292 w 310"/>
                <a:gd name="T21" fmla="*/ 211 h 368"/>
                <a:gd name="T22" fmla="*/ 292 w 310"/>
                <a:gd name="T23" fmla="*/ 186 h 368"/>
                <a:gd name="T24" fmla="*/ 230 w 310"/>
                <a:gd name="T25" fmla="*/ 186 h 368"/>
                <a:gd name="T26" fmla="*/ 230 w 310"/>
                <a:gd name="T27" fmla="*/ 157 h 368"/>
                <a:gd name="T28" fmla="*/ 235 w 310"/>
                <a:gd name="T29" fmla="*/ 150 h 368"/>
                <a:gd name="T30" fmla="*/ 235 w 310"/>
                <a:gd name="T31" fmla="*/ 127 h 368"/>
                <a:gd name="T32" fmla="*/ 218 w 310"/>
                <a:gd name="T33" fmla="*/ 109 h 368"/>
                <a:gd name="T34" fmla="*/ 184 w 310"/>
                <a:gd name="T35" fmla="*/ 109 h 368"/>
                <a:gd name="T36" fmla="*/ 164 w 310"/>
                <a:gd name="T37" fmla="*/ 90 h 368"/>
                <a:gd name="T38" fmla="*/ 146 w 310"/>
                <a:gd name="T39" fmla="*/ 72 h 368"/>
                <a:gd name="T40" fmla="*/ 125 w 310"/>
                <a:gd name="T41" fmla="*/ 72 h 368"/>
                <a:gd name="T42" fmla="*/ 107 w 310"/>
                <a:gd name="T43" fmla="*/ 54 h 368"/>
                <a:gd name="T44" fmla="*/ 107 w 310"/>
                <a:gd name="T45" fmla="*/ 34 h 368"/>
                <a:gd name="T46" fmla="*/ 107 w 310"/>
                <a:gd name="T47" fmla="*/ 15 h 368"/>
                <a:gd name="T48" fmla="*/ 95 w 310"/>
                <a:gd name="T49" fmla="*/ 0 h 368"/>
                <a:gd name="T50" fmla="*/ 71 w 310"/>
                <a:gd name="T51" fmla="*/ 0 h 368"/>
                <a:gd name="T52" fmla="*/ 50 w 310"/>
                <a:gd name="T53" fmla="*/ 22 h 368"/>
                <a:gd name="T54" fmla="*/ 36 w 310"/>
                <a:gd name="T55" fmla="*/ 36 h 368"/>
                <a:gd name="T56" fmla="*/ 25 w 310"/>
                <a:gd name="T57" fmla="*/ 36 h 368"/>
                <a:gd name="T58" fmla="*/ 13 w 310"/>
                <a:gd name="T59" fmla="*/ 22 h 368"/>
                <a:gd name="T60" fmla="*/ 0 w 310"/>
                <a:gd name="T61" fmla="*/ 34 h 368"/>
                <a:gd name="T62" fmla="*/ 0 w 310"/>
                <a:gd name="T63" fmla="*/ 58 h 368"/>
                <a:gd name="T64" fmla="*/ 23 w 310"/>
                <a:gd name="T65" fmla="*/ 81 h 368"/>
                <a:gd name="T66" fmla="*/ 23 w 310"/>
                <a:gd name="T67" fmla="*/ 107 h 368"/>
                <a:gd name="T68" fmla="*/ 23 w 310"/>
                <a:gd name="T69" fmla="*/ 127 h 368"/>
                <a:gd name="T70" fmla="*/ 7 w 310"/>
                <a:gd name="T71" fmla="*/ 141 h 368"/>
                <a:gd name="T72" fmla="*/ 7 w 310"/>
                <a:gd name="T73" fmla="*/ 159 h 368"/>
                <a:gd name="T74" fmla="*/ 25 w 310"/>
                <a:gd name="T75" fmla="*/ 175 h 368"/>
                <a:gd name="T76" fmla="*/ 25 w 310"/>
                <a:gd name="T77" fmla="*/ 211 h 368"/>
                <a:gd name="T78" fmla="*/ 9 w 310"/>
                <a:gd name="T79" fmla="*/ 227 h 368"/>
                <a:gd name="T80" fmla="*/ 41 w 310"/>
                <a:gd name="T81" fmla="*/ 255 h 368"/>
                <a:gd name="T82" fmla="*/ 41 w 310"/>
                <a:gd name="T83" fmla="*/ 277 h 368"/>
                <a:gd name="T84" fmla="*/ 41 w 310"/>
                <a:gd name="T85" fmla="*/ 296 h 368"/>
                <a:gd name="T86" fmla="*/ 41 w 310"/>
                <a:gd name="T87" fmla="*/ 323 h 368"/>
                <a:gd name="T88" fmla="*/ 70 w 310"/>
                <a:gd name="T89" fmla="*/ 352 h 368"/>
                <a:gd name="T90" fmla="*/ 70 w 310"/>
                <a:gd name="T91" fmla="*/ 368 h 368"/>
                <a:gd name="T92" fmla="*/ 93 w 310"/>
                <a:gd name="T93" fmla="*/ 368 h 368"/>
                <a:gd name="T94" fmla="*/ 116 w 310"/>
                <a:gd name="T95" fmla="*/ 344 h 368"/>
                <a:gd name="T96" fmla="*/ 148 w 310"/>
                <a:gd name="T97" fmla="*/ 3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0" h="368">
                  <a:moveTo>
                    <a:pt x="148" y="344"/>
                  </a:moveTo>
                  <a:lnTo>
                    <a:pt x="168" y="364"/>
                  </a:lnTo>
                  <a:lnTo>
                    <a:pt x="168" y="344"/>
                  </a:lnTo>
                  <a:lnTo>
                    <a:pt x="202" y="344"/>
                  </a:lnTo>
                  <a:lnTo>
                    <a:pt x="202" y="298"/>
                  </a:lnTo>
                  <a:lnTo>
                    <a:pt x="230" y="270"/>
                  </a:lnTo>
                  <a:lnTo>
                    <a:pt x="276" y="270"/>
                  </a:lnTo>
                  <a:lnTo>
                    <a:pt x="301" y="287"/>
                  </a:lnTo>
                  <a:lnTo>
                    <a:pt x="310" y="277"/>
                  </a:lnTo>
                  <a:lnTo>
                    <a:pt x="310" y="229"/>
                  </a:lnTo>
                  <a:lnTo>
                    <a:pt x="292" y="211"/>
                  </a:lnTo>
                  <a:lnTo>
                    <a:pt x="292" y="186"/>
                  </a:lnTo>
                  <a:lnTo>
                    <a:pt x="230" y="186"/>
                  </a:lnTo>
                  <a:lnTo>
                    <a:pt x="230" y="157"/>
                  </a:lnTo>
                  <a:lnTo>
                    <a:pt x="235" y="150"/>
                  </a:lnTo>
                  <a:lnTo>
                    <a:pt x="235" y="127"/>
                  </a:lnTo>
                  <a:lnTo>
                    <a:pt x="218" y="109"/>
                  </a:lnTo>
                  <a:lnTo>
                    <a:pt x="184" y="109"/>
                  </a:lnTo>
                  <a:lnTo>
                    <a:pt x="164" y="90"/>
                  </a:lnTo>
                  <a:lnTo>
                    <a:pt x="146" y="72"/>
                  </a:lnTo>
                  <a:lnTo>
                    <a:pt x="125" y="72"/>
                  </a:lnTo>
                  <a:lnTo>
                    <a:pt x="107" y="54"/>
                  </a:lnTo>
                  <a:lnTo>
                    <a:pt x="107" y="34"/>
                  </a:lnTo>
                  <a:lnTo>
                    <a:pt x="107" y="15"/>
                  </a:lnTo>
                  <a:lnTo>
                    <a:pt x="95" y="0"/>
                  </a:lnTo>
                  <a:lnTo>
                    <a:pt x="71" y="0"/>
                  </a:lnTo>
                  <a:lnTo>
                    <a:pt x="50" y="22"/>
                  </a:lnTo>
                  <a:lnTo>
                    <a:pt x="36" y="36"/>
                  </a:lnTo>
                  <a:lnTo>
                    <a:pt x="25" y="36"/>
                  </a:lnTo>
                  <a:lnTo>
                    <a:pt x="13" y="22"/>
                  </a:lnTo>
                  <a:lnTo>
                    <a:pt x="0" y="34"/>
                  </a:lnTo>
                  <a:lnTo>
                    <a:pt x="0" y="58"/>
                  </a:lnTo>
                  <a:lnTo>
                    <a:pt x="23" y="81"/>
                  </a:lnTo>
                  <a:lnTo>
                    <a:pt x="23" y="107"/>
                  </a:lnTo>
                  <a:lnTo>
                    <a:pt x="23" y="127"/>
                  </a:lnTo>
                  <a:lnTo>
                    <a:pt x="7" y="141"/>
                  </a:lnTo>
                  <a:lnTo>
                    <a:pt x="7" y="159"/>
                  </a:lnTo>
                  <a:lnTo>
                    <a:pt x="25" y="175"/>
                  </a:lnTo>
                  <a:lnTo>
                    <a:pt x="25" y="211"/>
                  </a:lnTo>
                  <a:lnTo>
                    <a:pt x="9" y="227"/>
                  </a:lnTo>
                  <a:lnTo>
                    <a:pt x="41" y="255"/>
                  </a:lnTo>
                  <a:lnTo>
                    <a:pt x="41" y="277"/>
                  </a:lnTo>
                  <a:lnTo>
                    <a:pt x="41" y="296"/>
                  </a:lnTo>
                  <a:lnTo>
                    <a:pt x="41" y="323"/>
                  </a:lnTo>
                  <a:lnTo>
                    <a:pt x="70" y="352"/>
                  </a:lnTo>
                  <a:lnTo>
                    <a:pt x="70" y="368"/>
                  </a:lnTo>
                  <a:lnTo>
                    <a:pt x="93" y="368"/>
                  </a:lnTo>
                  <a:lnTo>
                    <a:pt x="116" y="344"/>
                  </a:lnTo>
                  <a:lnTo>
                    <a:pt x="148" y="34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Freeform 284">
              <a:extLst>
                <a:ext uri="{FF2B5EF4-FFF2-40B4-BE49-F238E27FC236}">
                  <a16:creationId xmlns:a16="http://schemas.microsoft.com/office/drawing/2014/main" id="{53DF468D-AF02-4BA0-85DF-CC3573DB3B54}"/>
                </a:ext>
              </a:extLst>
            </p:cNvPr>
            <p:cNvSpPr>
              <a:spLocks/>
            </p:cNvSpPr>
            <p:nvPr/>
          </p:nvSpPr>
          <p:spPr bwMode="auto">
            <a:xfrm>
              <a:off x="5180013" y="2770188"/>
              <a:ext cx="455613" cy="466725"/>
            </a:xfrm>
            <a:custGeom>
              <a:avLst/>
              <a:gdLst>
                <a:gd name="T0" fmla="*/ 574 w 574"/>
                <a:gd name="T1" fmla="*/ 554 h 586"/>
                <a:gd name="T2" fmla="*/ 574 w 574"/>
                <a:gd name="T3" fmla="*/ 517 h 586"/>
                <a:gd name="T4" fmla="*/ 544 w 574"/>
                <a:gd name="T5" fmla="*/ 485 h 586"/>
                <a:gd name="T6" fmla="*/ 544 w 574"/>
                <a:gd name="T7" fmla="*/ 447 h 586"/>
                <a:gd name="T8" fmla="*/ 544 w 574"/>
                <a:gd name="T9" fmla="*/ 420 h 586"/>
                <a:gd name="T10" fmla="*/ 527 w 574"/>
                <a:gd name="T11" fmla="*/ 406 h 586"/>
                <a:gd name="T12" fmla="*/ 527 w 574"/>
                <a:gd name="T13" fmla="*/ 378 h 586"/>
                <a:gd name="T14" fmla="*/ 527 w 574"/>
                <a:gd name="T15" fmla="*/ 351 h 586"/>
                <a:gd name="T16" fmla="*/ 547 w 574"/>
                <a:gd name="T17" fmla="*/ 331 h 586"/>
                <a:gd name="T18" fmla="*/ 547 w 574"/>
                <a:gd name="T19" fmla="*/ 294 h 586"/>
                <a:gd name="T20" fmla="*/ 547 w 574"/>
                <a:gd name="T21" fmla="*/ 240 h 586"/>
                <a:gd name="T22" fmla="*/ 513 w 574"/>
                <a:gd name="T23" fmla="*/ 240 h 586"/>
                <a:gd name="T24" fmla="*/ 490 w 574"/>
                <a:gd name="T25" fmla="*/ 219 h 586"/>
                <a:gd name="T26" fmla="*/ 470 w 574"/>
                <a:gd name="T27" fmla="*/ 198 h 586"/>
                <a:gd name="T28" fmla="*/ 419 w 574"/>
                <a:gd name="T29" fmla="*/ 198 h 586"/>
                <a:gd name="T30" fmla="*/ 396 w 574"/>
                <a:gd name="T31" fmla="*/ 221 h 586"/>
                <a:gd name="T32" fmla="*/ 363 w 574"/>
                <a:gd name="T33" fmla="*/ 221 h 586"/>
                <a:gd name="T34" fmla="*/ 363 w 574"/>
                <a:gd name="T35" fmla="*/ 258 h 586"/>
                <a:gd name="T36" fmla="*/ 346 w 574"/>
                <a:gd name="T37" fmla="*/ 242 h 586"/>
                <a:gd name="T38" fmla="*/ 331 w 574"/>
                <a:gd name="T39" fmla="*/ 256 h 586"/>
                <a:gd name="T40" fmla="*/ 292 w 574"/>
                <a:gd name="T41" fmla="*/ 256 h 586"/>
                <a:gd name="T42" fmla="*/ 267 w 574"/>
                <a:gd name="T43" fmla="*/ 231 h 586"/>
                <a:gd name="T44" fmla="*/ 237 w 574"/>
                <a:gd name="T45" fmla="*/ 231 h 586"/>
                <a:gd name="T46" fmla="*/ 237 w 574"/>
                <a:gd name="T47" fmla="*/ 162 h 586"/>
                <a:gd name="T48" fmla="*/ 271 w 574"/>
                <a:gd name="T49" fmla="*/ 128 h 586"/>
                <a:gd name="T50" fmla="*/ 221 w 574"/>
                <a:gd name="T51" fmla="*/ 78 h 586"/>
                <a:gd name="T52" fmla="*/ 196 w 574"/>
                <a:gd name="T53" fmla="*/ 105 h 586"/>
                <a:gd name="T54" fmla="*/ 151 w 574"/>
                <a:gd name="T55" fmla="*/ 60 h 586"/>
                <a:gd name="T56" fmla="*/ 110 w 574"/>
                <a:gd name="T57" fmla="*/ 60 h 586"/>
                <a:gd name="T58" fmla="*/ 73 w 574"/>
                <a:gd name="T59" fmla="*/ 23 h 586"/>
                <a:gd name="T60" fmla="*/ 41 w 574"/>
                <a:gd name="T61" fmla="*/ 23 h 586"/>
                <a:gd name="T62" fmla="*/ 17 w 574"/>
                <a:gd name="T63" fmla="*/ 0 h 586"/>
                <a:gd name="T64" fmla="*/ 0 w 574"/>
                <a:gd name="T65" fmla="*/ 17 h 586"/>
                <a:gd name="T66" fmla="*/ 0 w 574"/>
                <a:gd name="T67" fmla="*/ 57 h 586"/>
                <a:gd name="T68" fmla="*/ 41 w 574"/>
                <a:gd name="T69" fmla="*/ 57 h 586"/>
                <a:gd name="T70" fmla="*/ 41 w 574"/>
                <a:gd name="T71" fmla="*/ 89 h 586"/>
                <a:gd name="T72" fmla="*/ 71 w 574"/>
                <a:gd name="T73" fmla="*/ 89 h 586"/>
                <a:gd name="T74" fmla="*/ 98 w 574"/>
                <a:gd name="T75" fmla="*/ 114 h 586"/>
                <a:gd name="T76" fmla="*/ 98 w 574"/>
                <a:gd name="T77" fmla="*/ 137 h 586"/>
                <a:gd name="T78" fmla="*/ 121 w 574"/>
                <a:gd name="T79" fmla="*/ 158 h 586"/>
                <a:gd name="T80" fmla="*/ 121 w 574"/>
                <a:gd name="T81" fmla="*/ 239 h 586"/>
                <a:gd name="T82" fmla="*/ 164 w 574"/>
                <a:gd name="T83" fmla="*/ 281 h 586"/>
                <a:gd name="T84" fmla="*/ 121 w 574"/>
                <a:gd name="T85" fmla="*/ 324 h 586"/>
                <a:gd name="T86" fmla="*/ 137 w 574"/>
                <a:gd name="T87" fmla="*/ 342 h 586"/>
                <a:gd name="T88" fmla="*/ 164 w 574"/>
                <a:gd name="T89" fmla="*/ 369 h 586"/>
                <a:gd name="T90" fmla="*/ 183 w 574"/>
                <a:gd name="T91" fmla="*/ 388 h 586"/>
                <a:gd name="T92" fmla="*/ 183 w 574"/>
                <a:gd name="T93" fmla="*/ 415 h 586"/>
                <a:gd name="T94" fmla="*/ 223 w 574"/>
                <a:gd name="T95" fmla="*/ 454 h 586"/>
                <a:gd name="T96" fmla="*/ 237 w 574"/>
                <a:gd name="T97" fmla="*/ 442 h 586"/>
                <a:gd name="T98" fmla="*/ 338 w 574"/>
                <a:gd name="T99" fmla="*/ 543 h 586"/>
                <a:gd name="T100" fmla="*/ 435 w 574"/>
                <a:gd name="T101" fmla="*/ 543 h 586"/>
                <a:gd name="T102" fmla="*/ 463 w 574"/>
                <a:gd name="T103" fmla="*/ 572 h 586"/>
                <a:gd name="T104" fmla="*/ 478 w 574"/>
                <a:gd name="T105" fmla="*/ 586 h 586"/>
                <a:gd name="T106" fmla="*/ 554 w 574"/>
                <a:gd name="T107" fmla="*/ 586 h 586"/>
                <a:gd name="T108" fmla="*/ 554 w 574"/>
                <a:gd name="T109" fmla="*/ 574 h 586"/>
                <a:gd name="T110" fmla="*/ 574 w 574"/>
                <a:gd name="T111" fmla="*/ 55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4" h="586">
                  <a:moveTo>
                    <a:pt x="574" y="554"/>
                  </a:moveTo>
                  <a:lnTo>
                    <a:pt x="574" y="517"/>
                  </a:lnTo>
                  <a:lnTo>
                    <a:pt x="544" y="485"/>
                  </a:lnTo>
                  <a:lnTo>
                    <a:pt x="544" y="447"/>
                  </a:lnTo>
                  <a:lnTo>
                    <a:pt x="544" y="420"/>
                  </a:lnTo>
                  <a:lnTo>
                    <a:pt x="527" y="406"/>
                  </a:lnTo>
                  <a:lnTo>
                    <a:pt x="527" y="378"/>
                  </a:lnTo>
                  <a:lnTo>
                    <a:pt x="527" y="351"/>
                  </a:lnTo>
                  <a:lnTo>
                    <a:pt x="547" y="331"/>
                  </a:lnTo>
                  <a:lnTo>
                    <a:pt x="547" y="294"/>
                  </a:lnTo>
                  <a:lnTo>
                    <a:pt x="547" y="240"/>
                  </a:lnTo>
                  <a:lnTo>
                    <a:pt x="513" y="240"/>
                  </a:lnTo>
                  <a:lnTo>
                    <a:pt x="490" y="219"/>
                  </a:lnTo>
                  <a:lnTo>
                    <a:pt x="470" y="198"/>
                  </a:lnTo>
                  <a:lnTo>
                    <a:pt x="419" y="198"/>
                  </a:lnTo>
                  <a:lnTo>
                    <a:pt x="396" y="221"/>
                  </a:lnTo>
                  <a:lnTo>
                    <a:pt x="363" y="221"/>
                  </a:lnTo>
                  <a:lnTo>
                    <a:pt x="363" y="258"/>
                  </a:lnTo>
                  <a:lnTo>
                    <a:pt x="346" y="242"/>
                  </a:lnTo>
                  <a:lnTo>
                    <a:pt x="331" y="256"/>
                  </a:lnTo>
                  <a:lnTo>
                    <a:pt x="292" y="256"/>
                  </a:lnTo>
                  <a:lnTo>
                    <a:pt x="267" y="231"/>
                  </a:lnTo>
                  <a:lnTo>
                    <a:pt x="237" y="231"/>
                  </a:lnTo>
                  <a:lnTo>
                    <a:pt x="237" y="162"/>
                  </a:lnTo>
                  <a:lnTo>
                    <a:pt x="271" y="128"/>
                  </a:lnTo>
                  <a:lnTo>
                    <a:pt x="221" y="78"/>
                  </a:lnTo>
                  <a:lnTo>
                    <a:pt x="196" y="105"/>
                  </a:lnTo>
                  <a:lnTo>
                    <a:pt x="151" y="60"/>
                  </a:lnTo>
                  <a:lnTo>
                    <a:pt x="110" y="60"/>
                  </a:lnTo>
                  <a:lnTo>
                    <a:pt x="73" y="23"/>
                  </a:lnTo>
                  <a:lnTo>
                    <a:pt x="41" y="23"/>
                  </a:lnTo>
                  <a:lnTo>
                    <a:pt x="17" y="0"/>
                  </a:lnTo>
                  <a:lnTo>
                    <a:pt x="0" y="17"/>
                  </a:lnTo>
                  <a:lnTo>
                    <a:pt x="0" y="57"/>
                  </a:lnTo>
                  <a:lnTo>
                    <a:pt x="41" y="57"/>
                  </a:lnTo>
                  <a:lnTo>
                    <a:pt x="41" y="89"/>
                  </a:lnTo>
                  <a:lnTo>
                    <a:pt x="71" y="89"/>
                  </a:lnTo>
                  <a:lnTo>
                    <a:pt x="98" y="114"/>
                  </a:lnTo>
                  <a:lnTo>
                    <a:pt x="98" y="137"/>
                  </a:lnTo>
                  <a:lnTo>
                    <a:pt x="121" y="158"/>
                  </a:lnTo>
                  <a:lnTo>
                    <a:pt x="121" y="239"/>
                  </a:lnTo>
                  <a:lnTo>
                    <a:pt x="164" y="281"/>
                  </a:lnTo>
                  <a:lnTo>
                    <a:pt x="121" y="324"/>
                  </a:lnTo>
                  <a:lnTo>
                    <a:pt x="137" y="342"/>
                  </a:lnTo>
                  <a:lnTo>
                    <a:pt x="164" y="369"/>
                  </a:lnTo>
                  <a:lnTo>
                    <a:pt x="183" y="388"/>
                  </a:lnTo>
                  <a:lnTo>
                    <a:pt x="183" y="415"/>
                  </a:lnTo>
                  <a:lnTo>
                    <a:pt x="223" y="454"/>
                  </a:lnTo>
                  <a:lnTo>
                    <a:pt x="237" y="442"/>
                  </a:lnTo>
                  <a:lnTo>
                    <a:pt x="338" y="543"/>
                  </a:lnTo>
                  <a:lnTo>
                    <a:pt x="435" y="543"/>
                  </a:lnTo>
                  <a:lnTo>
                    <a:pt x="463" y="572"/>
                  </a:lnTo>
                  <a:lnTo>
                    <a:pt x="478" y="586"/>
                  </a:lnTo>
                  <a:lnTo>
                    <a:pt x="554" y="586"/>
                  </a:lnTo>
                  <a:lnTo>
                    <a:pt x="554" y="574"/>
                  </a:lnTo>
                  <a:lnTo>
                    <a:pt x="574" y="55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Freeform 285">
              <a:extLst>
                <a:ext uri="{FF2B5EF4-FFF2-40B4-BE49-F238E27FC236}">
                  <a16:creationId xmlns:a16="http://schemas.microsoft.com/office/drawing/2014/main" id="{DE419F64-CF9E-4AF0-97BB-5F83E827799F}"/>
                </a:ext>
              </a:extLst>
            </p:cNvPr>
            <p:cNvSpPr>
              <a:spLocks/>
            </p:cNvSpPr>
            <p:nvPr/>
          </p:nvSpPr>
          <p:spPr bwMode="auto">
            <a:xfrm>
              <a:off x="6180138" y="2525713"/>
              <a:ext cx="644525" cy="307975"/>
            </a:xfrm>
            <a:custGeom>
              <a:avLst/>
              <a:gdLst>
                <a:gd name="T0" fmla="*/ 19 w 811"/>
                <a:gd name="T1" fmla="*/ 168 h 387"/>
                <a:gd name="T2" fmla="*/ 44 w 811"/>
                <a:gd name="T3" fmla="*/ 168 h 387"/>
                <a:gd name="T4" fmla="*/ 66 w 811"/>
                <a:gd name="T5" fmla="*/ 189 h 387"/>
                <a:gd name="T6" fmla="*/ 66 w 811"/>
                <a:gd name="T7" fmla="*/ 234 h 387"/>
                <a:gd name="T8" fmla="*/ 66 w 811"/>
                <a:gd name="T9" fmla="*/ 271 h 387"/>
                <a:gd name="T10" fmla="*/ 80 w 811"/>
                <a:gd name="T11" fmla="*/ 286 h 387"/>
                <a:gd name="T12" fmla="*/ 137 w 811"/>
                <a:gd name="T13" fmla="*/ 286 h 387"/>
                <a:gd name="T14" fmla="*/ 148 w 811"/>
                <a:gd name="T15" fmla="*/ 296 h 387"/>
                <a:gd name="T16" fmla="*/ 178 w 811"/>
                <a:gd name="T17" fmla="*/ 296 h 387"/>
                <a:gd name="T18" fmla="*/ 226 w 811"/>
                <a:gd name="T19" fmla="*/ 346 h 387"/>
                <a:gd name="T20" fmla="*/ 237 w 811"/>
                <a:gd name="T21" fmla="*/ 357 h 387"/>
                <a:gd name="T22" fmla="*/ 272 w 811"/>
                <a:gd name="T23" fmla="*/ 357 h 387"/>
                <a:gd name="T24" fmla="*/ 310 w 811"/>
                <a:gd name="T25" fmla="*/ 357 h 387"/>
                <a:gd name="T26" fmla="*/ 330 w 811"/>
                <a:gd name="T27" fmla="*/ 376 h 387"/>
                <a:gd name="T28" fmla="*/ 358 w 811"/>
                <a:gd name="T29" fmla="*/ 376 h 387"/>
                <a:gd name="T30" fmla="*/ 369 w 811"/>
                <a:gd name="T31" fmla="*/ 387 h 387"/>
                <a:gd name="T32" fmla="*/ 437 w 811"/>
                <a:gd name="T33" fmla="*/ 387 h 387"/>
                <a:gd name="T34" fmla="*/ 453 w 811"/>
                <a:gd name="T35" fmla="*/ 371 h 387"/>
                <a:gd name="T36" fmla="*/ 533 w 811"/>
                <a:gd name="T37" fmla="*/ 371 h 387"/>
                <a:gd name="T38" fmla="*/ 558 w 811"/>
                <a:gd name="T39" fmla="*/ 371 h 387"/>
                <a:gd name="T40" fmla="*/ 581 w 811"/>
                <a:gd name="T41" fmla="*/ 348 h 387"/>
                <a:gd name="T42" fmla="*/ 606 w 811"/>
                <a:gd name="T43" fmla="*/ 323 h 387"/>
                <a:gd name="T44" fmla="*/ 606 w 811"/>
                <a:gd name="T45" fmla="*/ 291 h 387"/>
                <a:gd name="T46" fmla="*/ 627 w 811"/>
                <a:gd name="T47" fmla="*/ 271 h 387"/>
                <a:gd name="T48" fmla="*/ 642 w 811"/>
                <a:gd name="T49" fmla="*/ 271 h 387"/>
                <a:gd name="T50" fmla="*/ 642 w 811"/>
                <a:gd name="T51" fmla="*/ 287 h 387"/>
                <a:gd name="T52" fmla="*/ 661 w 811"/>
                <a:gd name="T53" fmla="*/ 287 h 387"/>
                <a:gd name="T54" fmla="*/ 690 w 811"/>
                <a:gd name="T55" fmla="*/ 257 h 387"/>
                <a:gd name="T56" fmla="*/ 738 w 811"/>
                <a:gd name="T57" fmla="*/ 211 h 387"/>
                <a:gd name="T58" fmla="*/ 775 w 811"/>
                <a:gd name="T59" fmla="*/ 211 h 387"/>
                <a:gd name="T60" fmla="*/ 799 w 811"/>
                <a:gd name="T61" fmla="*/ 211 h 387"/>
                <a:gd name="T62" fmla="*/ 811 w 811"/>
                <a:gd name="T63" fmla="*/ 198 h 387"/>
                <a:gd name="T64" fmla="*/ 775 w 811"/>
                <a:gd name="T65" fmla="*/ 161 h 387"/>
                <a:gd name="T66" fmla="*/ 765 w 811"/>
                <a:gd name="T67" fmla="*/ 173 h 387"/>
                <a:gd name="T68" fmla="*/ 741 w 811"/>
                <a:gd name="T69" fmla="*/ 173 h 387"/>
                <a:gd name="T70" fmla="*/ 720 w 811"/>
                <a:gd name="T71" fmla="*/ 195 h 387"/>
                <a:gd name="T72" fmla="*/ 706 w 811"/>
                <a:gd name="T73" fmla="*/ 182 h 387"/>
                <a:gd name="T74" fmla="*/ 706 w 811"/>
                <a:gd name="T75" fmla="*/ 141 h 387"/>
                <a:gd name="T76" fmla="*/ 718 w 811"/>
                <a:gd name="T77" fmla="*/ 130 h 387"/>
                <a:gd name="T78" fmla="*/ 718 w 811"/>
                <a:gd name="T79" fmla="*/ 104 h 387"/>
                <a:gd name="T80" fmla="*/ 729 w 811"/>
                <a:gd name="T81" fmla="*/ 88 h 387"/>
                <a:gd name="T82" fmla="*/ 667 w 811"/>
                <a:gd name="T83" fmla="*/ 88 h 387"/>
                <a:gd name="T84" fmla="*/ 636 w 811"/>
                <a:gd name="T85" fmla="*/ 120 h 387"/>
                <a:gd name="T86" fmla="*/ 531 w 811"/>
                <a:gd name="T87" fmla="*/ 120 h 387"/>
                <a:gd name="T88" fmla="*/ 503 w 811"/>
                <a:gd name="T89" fmla="*/ 91 h 387"/>
                <a:gd name="T90" fmla="*/ 460 w 811"/>
                <a:gd name="T91" fmla="*/ 48 h 387"/>
                <a:gd name="T92" fmla="*/ 408 w 811"/>
                <a:gd name="T93" fmla="*/ 48 h 387"/>
                <a:gd name="T94" fmla="*/ 349 w 811"/>
                <a:gd name="T95" fmla="*/ 48 h 387"/>
                <a:gd name="T96" fmla="*/ 349 w 811"/>
                <a:gd name="T97" fmla="*/ 0 h 387"/>
                <a:gd name="T98" fmla="*/ 297 w 811"/>
                <a:gd name="T99" fmla="*/ 0 h 387"/>
                <a:gd name="T100" fmla="*/ 248 w 811"/>
                <a:gd name="T101" fmla="*/ 50 h 387"/>
                <a:gd name="T102" fmla="*/ 248 w 811"/>
                <a:gd name="T103" fmla="*/ 95 h 387"/>
                <a:gd name="T104" fmla="*/ 196 w 811"/>
                <a:gd name="T105" fmla="*/ 95 h 387"/>
                <a:gd name="T106" fmla="*/ 151 w 811"/>
                <a:gd name="T107" fmla="*/ 52 h 387"/>
                <a:gd name="T108" fmla="*/ 76 w 811"/>
                <a:gd name="T109" fmla="*/ 52 h 387"/>
                <a:gd name="T110" fmla="*/ 0 w 811"/>
                <a:gd name="T111" fmla="*/ 127 h 387"/>
                <a:gd name="T112" fmla="*/ 0 w 811"/>
                <a:gd name="T113" fmla="*/ 148 h 387"/>
                <a:gd name="T114" fmla="*/ 19 w 811"/>
                <a:gd name="T115" fmla="*/ 16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1" h="387">
                  <a:moveTo>
                    <a:pt x="19" y="168"/>
                  </a:moveTo>
                  <a:lnTo>
                    <a:pt x="44" y="168"/>
                  </a:lnTo>
                  <a:lnTo>
                    <a:pt x="66" y="189"/>
                  </a:lnTo>
                  <a:lnTo>
                    <a:pt x="66" y="234"/>
                  </a:lnTo>
                  <a:lnTo>
                    <a:pt x="66" y="271"/>
                  </a:lnTo>
                  <a:lnTo>
                    <a:pt x="80" y="286"/>
                  </a:lnTo>
                  <a:lnTo>
                    <a:pt x="137" y="286"/>
                  </a:lnTo>
                  <a:lnTo>
                    <a:pt x="148" y="296"/>
                  </a:lnTo>
                  <a:lnTo>
                    <a:pt x="178" y="296"/>
                  </a:lnTo>
                  <a:lnTo>
                    <a:pt x="226" y="346"/>
                  </a:lnTo>
                  <a:lnTo>
                    <a:pt x="237" y="357"/>
                  </a:lnTo>
                  <a:lnTo>
                    <a:pt x="272" y="357"/>
                  </a:lnTo>
                  <a:lnTo>
                    <a:pt x="310" y="357"/>
                  </a:lnTo>
                  <a:lnTo>
                    <a:pt x="330" y="376"/>
                  </a:lnTo>
                  <a:lnTo>
                    <a:pt x="358" y="376"/>
                  </a:lnTo>
                  <a:lnTo>
                    <a:pt x="369" y="387"/>
                  </a:lnTo>
                  <a:lnTo>
                    <a:pt x="437" y="387"/>
                  </a:lnTo>
                  <a:lnTo>
                    <a:pt x="453" y="371"/>
                  </a:lnTo>
                  <a:lnTo>
                    <a:pt x="533" y="371"/>
                  </a:lnTo>
                  <a:lnTo>
                    <a:pt x="558" y="371"/>
                  </a:lnTo>
                  <a:lnTo>
                    <a:pt x="581" y="348"/>
                  </a:lnTo>
                  <a:lnTo>
                    <a:pt x="606" y="323"/>
                  </a:lnTo>
                  <a:lnTo>
                    <a:pt x="606" y="291"/>
                  </a:lnTo>
                  <a:lnTo>
                    <a:pt x="627" y="271"/>
                  </a:lnTo>
                  <a:lnTo>
                    <a:pt x="642" y="271"/>
                  </a:lnTo>
                  <a:lnTo>
                    <a:pt x="642" y="287"/>
                  </a:lnTo>
                  <a:lnTo>
                    <a:pt x="661" y="287"/>
                  </a:lnTo>
                  <a:lnTo>
                    <a:pt x="690" y="257"/>
                  </a:lnTo>
                  <a:lnTo>
                    <a:pt x="738" y="211"/>
                  </a:lnTo>
                  <a:lnTo>
                    <a:pt x="775" y="211"/>
                  </a:lnTo>
                  <a:lnTo>
                    <a:pt x="799" y="211"/>
                  </a:lnTo>
                  <a:lnTo>
                    <a:pt x="811" y="198"/>
                  </a:lnTo>
                  <a:lnTo>
                    <a:pt x="775" y="161"/>
                  </a:lnTo>
                  <a:lnTo>
                    <a:pt x="765" y="173"/>
                  </a:lnTo>
                  <a:lnTo>
                    <a:pt x="741" y="173"/>
                  </a:lnTo>
                  <a:lnTo>
                    <a:pt x="720" y="195"/>
                  </a:lnTo>
                  <a:lnTo>
                    <a:pt x="706" y="182"/>
                  </a:lnTo>
                  <a:lnTo>
                    <a:pt x="706" y="141"/>
                  </a:lnTo>
                  <a:lnTo>
                    <a:pt x="718" y="130"/>
                  </a:lnTo>
                  <a:lnTo>
                    <a:pt x="718" y="104"/>
                  </a:lnTo>
                  <a:lnTo>
                    <a:pt x="729" y="88"/>
                  </a:lnTo>
                  <a:lnTo>
                    <a:pt x="667" y="88"/>
                  </a:lnTo>
                  <a:lnTo>
                    <a:pt x="636" y="120"/>
                  </a:lnTo>
                  <a:lnTo>
                    <a:pt x="531" y="120"/>
                  </a:lnTo>
                  <a:lnTo>
                    <a:pt x="503" y="91"/>
                  </a:lnTo>
                  <a:lnTo>
                    <a:pt x="460" y="48"/>
                  </a:lnTo>
                  <a:lnTo>
                    <a:pt x="408" y="48"/>
                  </a:lnTo>
                  <a:lnTo>
                    <a:pt x="349" y="48"/>
                  </a:lnTo>
                  <a:lnTo>
                    <a:pt x="349" y="0"/>
                  </a:lnTo>
                  <a:lnTo>
                    <a:pt x="297" y="0"/>
                  </a:lnTo>
                  <a:lnTo>
                    <a:pt x="248" y="50"/>
                  </a:lnTo>
                  <a:lnTo>
                    <a:pt x="248" y="95"/>
                  </a:lnTo>
                  <a:lnTo>
                    <a:pt x="196" y="95"/>
                  </a:lnTo>
                  <a:lnTo>
                    <a:pt x="151" y="52"/>
                  </a:lnTo>
                  <a:lnTo>
                    <a:pt x="76" y="52"/>
                  </a:lnTo>
                  <a:lnTo>
                    <a:pt x="0" y="127"/>
                  </a:lnTo>
                  <a:lnTo>
                    <a:pt x="0" y="148"/>
                  </a:lnTo>
                  <a:lnTo>
                    <a:pt x="19" y="16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286">
              <a:extLst>
                <a:ext uri="{FF2B5EF4-FFF2-40B4-BE49-F238E27FC236}">
                  <a16:creationId xmlns:a16="http://schemas.microsoft.com/office/drawing/2014/main" id="{F251BBF7-E621-4538-AF21-81B88EFFD05C}"/>
                </a:ext>
              </a:extLst>
            </p:cNvPr>
            <p:cNvSpPr>
              <a:spLocks/>
            </p:cNvSpPr>
            <p:nvPr/>
          </p:nvSpPr>
          <p:spPr bwMode="auto">
            <a:xfrm>
              <a:off x="5988051" y="3141663"/>
              <a:ext cx="220663" cy="128588"/>
            </a:xfrm>
            <a:custGeom>
              <a:avLst/>
              <a:gdLst>
                <a:gd name="T0" fmla="*/ 21 w 276"/>
                <a:gd name="T1" fmla="*/ 51 h 162"/>
                <a:gd name="T2" fmla="*/ 50 w 276"/>
                <a:gd name="T3" fmla="*/ 51 h 162"/>
                <a:gd name="T4" fmla="*/ 73 w 276"/>
                <a:gd name="T5" fmla="*/ 76 h 162"/>
                <a:gd name="T6" fmla="*/ 114 w 276"/>
                <a:gd name="T7" fmla="*/ 76 h 162"/>
                <a:gd name="T8" fmla="*/ 150 w 276"/>
                <a:gd name="T9" fmla="*/ 112 h 162"/>
                <a:gd name="T10" fmla="*/ 185 w 276"/>
                <a:gd name="T11" fmla="*/ 112 h 162"/>
                <a:gd name="T12" fmla="*/ 216 w 276"/>
                <a:gd name="T13" fmla="*/ 112 h 162"/>
                <a:gd name="T14" fmla="*/ 232 w 276"/>
                <a:gd name="T15" fmla="*/ 128 h 162"/>
                <a:gd name="T16" fmla="*/ 266 w 276"/>
                <a:gd name="T17" fmla="*/ 162 h 162"/>
                <a:gd name="T18" fmla="*/ 276 w 276"/>
                <a:gd name="T19" fmla="*/ 151 h 162"/>
                <a:gd name="T20" fmla="*/ 276 w 276"/>
                <a:gd name="T21" fmla="*/ 128 h 162"/>
                <a:gd name="T22" fmla="*/ 250 w 276"/>
                <a:gd name="T23" fmla="*/ 101 h 162"/>
                <a:gd name="T24" fmla="*/ 230 w 276"/>
                <a:gd name="T25" fmla="*/ 101 h 162"/>
                <a:gd name="T26" fmla="*/ 226 w 276"/>
                <a:gd name="T27" fmla="*/ 55 h 162"/>
                <a:gd name="T28" fmla="*/ 200 w 276"/>
                <a:gd name="T29" fmla="*/ 55 h 162"/>
                <a:gd name="T30" fmla="*/ 171 w 276"/>
                <a:gd name="T31" fmla="*/ 55 h 162"/>
                <a:gd name="T32" fmla="*/ 144 w 276"/>
                <a:gd name="T33" fmla="*/ 30 h 162"/>
                <a:gd name="T34" fmla="*/ 114 w 276"/>
                <a:gd name="T35" fmla="*/ 0 h 162"/>
                <a:gd name="T36" fmla="*/ 82 w 276"/>
                <a:gd name="T37" fmla="*/ 0 h 162"/>
                <a:gd name="T38" fmla="*/ 30 w 276"/>
                <a:gd name="T39" fmla="*/ 0 h 162"/>
                <a:gd name="T40" fmla="*/ 0 w 276"/>
                <a:gd name="T41" fmla="*/ 30 h 162"/>
                <a:gd name="T42" fmla="*/ 21 w 276"/>
                <a:gd name="T43" fmla="*/ 5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6" h="162">
                  <a:moveTo>
                    <a:pt x="21" y="51"/>
                  </a:moveTo>
                  <a:lnTo>
                    <a:pt x="50" y="51"/>
                  </a:lnTo>
                  <a:lnTo>
                    <a:pt x="73" y="76"/>
                  </a:lnTo>
                  <a:lnTo>
                    <a:pt x="114" y="76"/>
                  </a:lnTo>
                  <a:lnTo>
                    <a:pt x="150" y="112"/>
                  </a:lnTo>
                  <a:lnTo>
                    <a:pt x="185" y="112"/>
                  </a:lnTo>
                  <a:lnTo>
                    <a:pt x="216" y="112"/>
                  </a:lnTo>
                  <a:lnTo>
                    <a:pt x="232" y="128"/>
                  </a:lnTo>
                  <a:lnTo>
                    <a:pt x="266" y="162"/>
                  </a:lnTo>
                  <a:lnTo>
                    <a:pt x="276" y="151"/>
                  </a:lnTo>
                  <a:lnTo>
                    <a:pt x="276" y="128"/>
                  </a:lnTo>
                  <a:lnTo>
                    <a:pt x="250" y="101"/>
                  </a:lnTo>
                  <a:lnTo>
                    <a:pt x="230" y="101"/>
                  </a:lnTo>
                  <a:lnTo>
                    <a:pt x="226" y="55"/>
                  </a:lnTo>
                  <a:lnTo>
                    <a:pt x="200" y="55"/>
                  </a:lnTo>
                  <a:lnTo>
                    <a:pt x="171" y="55"/>
                  </a:lnTo>
                  <a:lnTo>
                    <a:pt x="144" y="30"/>
                  </a:lnTo>
                  <a:lnTo>
                    <a:pt x="114" y="0"/>
                  </a:lnTo>
                  <a:lnTo>
                    <a:pt x="82" y="0"/>
                  </a:lnTo>
                  <a:lnTo>
                    <a:pt x="30" y="0"/>
                  </a:lnTo>
                  <a:lnTo>
                    <a:pt x="0" y="30"/>
                  </a:lnTo>
                  <a:lnTo>
                    <a:pt x="21" y="51"/>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287">
              <a:extLst>
                <a:ext uri="{FF2B5EF4-FFF2-40B4-BE49-F238E27FC236}">
                  <a16:creationId xmlns:a16="http://schemas.microsoft.com/office/drawing/2014/main" id="{C3948A47-AB80-4CBE-8487-9122C253459D}"/>
                </a:ext>
              </a:extLst>
            </p:cNvPr>
            <p:cNvSpPr>
              <a:spLocks/>
            </p:cNvSpPr>
            <p:nvPr/>
          </p:nvSpPr>
          <p:spPr bwMode="auto">
            <a:xfrm>
              <a:off x="6608763" y="3640138"/>
              <a:ext cx="201613" cy="157163"/>
            </a:xfrm>
            <a:custGeom>
              <a:avLst/>
              <a:gdLst>
                <a:gd name="T0" fmla="*/ 86 w 253"/>
                <a:gd name="T1" fmla="*/ 143 h 198"/>
                <a:gd name="T2" fmla="*/ 103 w 253"/>
                <a:gd name="T3" fmla="*/ 143 h 198"/>
                <a:gd name="T4" fmla="*/ 128 w 253"/>
                <a:gd name="T5" fmla="*/ 143 h 198"/>
                <a:gd name="T6" fmla="*/ 150 w 253"/>
                <a:gd name="T7" fmla="*/ 143 h 198"/>
                <a:gd name="T8" fmla="*/ 150 w 253"/>
                <a:gd name="T9" fmla="*/ 109 h 198"/>
                <a:gd name="T10" fmla="*/ 166 w 253"/>
                <a:gd name="T11" fmla="*/ 94 h 198"/>
                <a:gd name="T12" fmla="*/ 185 w 253"/>
                <a:gd name="T13" fmla="*/ 73 h 198"/>
                <a:gd name="T14" fmla="*/ 228 w 253"/>
                <a:gd name="T15" fmla="*/ 73 h 198"/>
                <a:gd name="T16" fmla="*/ 253 w 253"/>
                <a:gd name="T17" fmla="*/ 48 h 198"/>
                <a:gd name="T18" fmla="*/ 207 w 253"/>
                <a:gd name="T19" fmla="*/ 0 h 198"/>
                <a:gd name="T20" fmla="*/ 105 w 253"/>
                <a:gd name="T21" fmla="*/ 102 h 198"/>
                <a:gd name="T22" fmla="*/ 78 w 253"/>
                <a:gd name="T23" fmla="*/ 102 h 198"/>
                <a:gd name="T24" fmla="*/ 57 w 253"/>
                <a:gd name="T25" fmla="*/ 123 h 198"/>
                <a:gd name="T26" fmla="*/ 18 w 253"/>
                <a:gd name="T27" fmla="*/ 123 h 198"/>
                <a:gd name="T28" fmla="*/ 0 w 253"/>
                <a:gd name="T29" fmla="*/ 125 h 198"/>
                <a:gd name="T30" fmla="*/ 0 w 253"/>
                <a:gd name="T31" fmla="*/ 198 h 198"/>
                <a:gd name="T32" fmla="*/ 30 w 253"/>
                <a:gd name="T33" fmla="*/ 198 h 198"/>
                <a:gd name="T34" fmla="*/ 30 w 253"/>
                <a:gd name="T35" fmla="*/ 198 h 198"/>
                <a:gd name="T36" fmla="*/ 64 w 253"/>
                <a:gd name="T37" fmla="*/ 164 h 198"/>
                <a:gd name="T38" fmla="*/ 86 w 253"/>
                <a:gd name="T39" fmla="*/ 14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3" h="198">
                  <a:moveTo>
                    <a:pt x="86" y="143"/>
                  </a:moveTo>
                  <a:lnTo>
                    <a:pt x="103" y="143"/>
                  </a:lnTo>
                  <a:lnTo>
                    <a:pt x="128" y="143"/>
                  </a:lnTo>
                  <a:lnTo>
                    <a:pt x="150" y="143"/>
                  </a:lnTo>
                  <a:lnTo>
                    <a:pt x="150" y="109"/>
                  </a:lnTo>
                  <a:lnTo>
                    <a:pt x="166" y="94"/>
                  </a:lnTo>
                  <a:lnTo>
                    <a:pt x="185" y="73"/>
                  </a:lnTo>
                  <a:lnTo>
                    <a:pt x="228" y="73"/>
                  </a:lnTo>
                  <a:lnTo>
                    <a:pt x="253" y="48"/>
                  </a:lnTo>
                  <a:lnTo>
                    <a:pt x="207" y="0"/>
                  </a:lnTo>
                  <a:lnTo>
                    <a:pt x="105" y="102"/>
                  </a:lnTo>
                  <a:lnTo>
                    <a:pt x="78" y="102"/>
                  </a:lnTo>
                  <a:lnTo>
                    <a:pt x="57" y="123"/>
                  </a:lnTo>
                  <a:lnTo>
                    <a:pt x="18" y="123"/>
                  </a:lnTo>
                  <a:lnTo>
                    <a:pt x="0" y="125"/>
                  </a:lnTo>
                  <a:lnTo>
                    <a:pt x="0" y="198"/>
                  </a:lnTo>
                  <a:lnTo>
                    <a:pt x="30" y="198"/>
                  </a:lnTo>
                  <a:lnTo>
                    <a:pt x="30" y="198"/>
                  </a:lnTo>
                  <a:lnTo>
                    <a:pt x="64" y="164"/>
                  </a:lnTo>
                  <a:lnTo>
                    <a:pt x="86" y="14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288">
              <a:extLst>
                <a:ext uri="{FF2B5EF4-FFF2-40B4-BE49-F238E27FC236}">
                  <a16:creationId xmlns:a16="http://schemas.microsoft.com/office/drawing/2014/main" id="{BEB76520-03F8-4151-9525-D461B56BD058}"/>
                </a:ext>
              </a:extLst>
            </p:cNvPr>
            <p:cNvSpPr>
              <a:spLocks/>
            </p:cNvSpPr>
            <p:nvPr/>
          </p:nvSpPr>
          <p:spPr bwMode="auto">
            <a:xfrm>
              <a:off x="6632576" y="3698875"/>
              <a:ext cx="179388" cy="157163"/>
            </a:xfrm>
            <a:custGeom>
              <a:avLst/>
              <a:gdLst>
                <a:gd name="T0" fmla="*/ 227 w 227"/>
                <a:gd name="T1" fmla="*/ 71 h 198"/>
                <a:gd name="T2" fmla="*/ 204 w 227"/>
                <a:gd name="T3" fmla="*/ 50 h 198"/>
                <a:gd name="T4" fmla="*/ 204 w 227"/>
                <a:gd name="T5" fmla="*/ 27 h 198"/>
                <a:gd name="T6" fmla="*/ 188 w 227"/>
                <a:gd name="T7" fmla="*/ 11 h 198"/>
                <a:gd name="T8" fmla="*/ 198 w 227"/>
                <a:gd name="T9" fmla="*/ 0 h 198"/>
                <a:gd name="T10" fmla="*/ 155 w 227"/>
                <a:gd name="T11" fmla="*/ 0 h 198"/>
                <a:gd name="T12" fmla="*/ 136 w 227"/>
                <a:gd name="T13" fmla="*/ 21 h 198"/>
                <a:gd name="T14" fmla="*/ 120 w 227"/>
                <a:gd name="T15" fmla="*/ 36 h 198"/>
                <a:gd name="T16" fmla="*/ 120 w 227"/>
                <a:gd name="T17" fmla="*/ 70 h 198"/>
                <a:gd name="T18" fmla="*/ 98 w 227"/>
                <a:gd name="T19" fmla="*/ 70 h 198"/>
                <a:gd name="T20" fmla="*/ 73 w 227"/>
                <a:gd name="T21" fmla="*/ 70 h 198"/>
                <a:gd name="T22" fmla="*/ 56 w 227"/>
                <a:gd name="T23" fmla="*/ 70 h 198"/>
                <a:gd name="T24" fmla="*/ 34 w 227"/>
                <a:gd name="T25" fmla="*/ 91 h 198"/>
                <a:gd name="T26" fmla="*/ 0 w 227"/>
                <a:gd name="T27" fmla="*/ 125 h 198"/>
                <a:gd name="T28" fmla="*/ 0 w 227"/>
                <a:gd name="T29" fmla="*/ 182 h 198"/>
                <a:gd name="T30" fmla="*/ 32 w 227"/>
                <a:gd name="T31" fmla="*/ 182 h 198"/>
                <a:gd name="T32" fmla="*/ 50 w 227"/>
                <a:gd name="T33" fmla="*/ 198 h 198"/>
                <a:gd name="T34" fmla="*/ 66 w 227"/>
                <a:gd name="T35" fmla="*/ 182 h 198"/>
                <a:gd name="T36" fmla="*/ 79 w 227"/>
                <a:gd name="T37" fmla="*/ 194 h 198"/>
                <a:gd name="T38" fmla="*/ 166 w 227"/>
                <a:gd name="T39" fmla="*/ 194 h 198"/>
                <a:gd name="T40" fmla="*/ 166 w 227"/>
                <a:gd name="T41" fmla="*/ 159 h 198"/>
                <a:gd name="T42" fmla="*/ 152 w 227"/>
                <a:gd name="T43" fmla="*/ 146 h 198"/>
                <a:gd name="T44" fmla="*/ 227 w 227"/>
                <a:gd name="T45" fmla="*/ 7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198">
                  <a:moveTo>
                    <a:pt x="227" y="71"/>
                  </a:moveTo>
                  <a:lnTo>
                    <a:pt x="204" y="50"/>
                  </a:lnTo>
                  <a:lnTo>
                    <a:pt x="204" y="27"/>
                  </a:lnTo>
                  <a:lnTo>
                    <a:pt x="188" y="11"/>
                  </a:lnTo>
                  <a:lnTo>
                    <a:pt x="198" y="0"/>
                  </a:lnTo>
                  <a:lnTo>
                    <a:pt x="155" y="0"/>
                  </a:lnTo>
                  <a:lnTo>
                    <a:pt x="136" y="21"/>
                  </a:lnTo>
                  <a:lnTo>
                    <a:pt x="120" y="36"/>
                  </a:lnTo>
                  <a:lnTo>
                    <a:pt x="120" y="70"/>
                  </a:lnTo>
                  <a:lnTo>
                    <a:pt x="98" y="70"/>
                  </a:lnTo>
                  <a:lnTo>
                    <a:pt x="73" y="70"/>
                  </a:lnTo>
                  <a:lnTo>
                    <a:pt x="56" y="70"/>
                  </a:lnTo>
                  <a:lnTo>
                    <a:pt x="34" y="91"/>
                  </a:lnTo>
                  <a:lnTo>
                    <a:pt x="0" y="125"/>
                  </a:lnTo>
                  <a:lnTo>
                    <a:pt x="0" y="182"/>
                  </a:lnTo>
                  <a:lnTo>
                    <a:pt x="32" y="182"/>
                  </a:lnTo>
                  <a:lnTo>
                    <a:pt x="50" y="198"/>
                  </a:lnTo>
                  <a:lnTo>
                    <a:pt x="66" y="182"/>
                  </a:lnTo>
                  <a:lnTo>
                    <a:pt x="79" y="194"/>
                  </a:lnTo>
                  <a:lnTo>
                    <a:pt x="166" y="194"/>
                  </a:lnTo>
                  <a:lnTo>
                    <a:pt x="166" y="159"/>
                  </a:lnTo>
                  <a:lnTo>
                    <a:pt x="152" y="146"/>
                  </a:lnTo>
                  <a:lnTo>
                    <a:pt x="227" y="7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289">
              <a:extLst>
                <a:ext uri="{FF2B5EF4-FFF2-40B4-BE49-F238E27FC236}">
                  <a16:creationId xmlns:a16="http://schemas.microsoft.com/office/drawing/2014/main" id="{3BC14EA9-8602-48E0-8F0E-E30F7C70FC31}"/>
                </a:ext>
              </a:extLst>
            </p:cNvPr>
            <p:cNvSpPr>
              <a:spLocks/>
            </p:cNvSpPr>
            <p:nvPr/>
          </p:nvSpPr>
          <p:spPr bwMode="auto">
            <a:xfrm>
              <a:off x="5335588" y="2405063"/>
              <a:ext cx="833438" cy="463550"/>
            </a:xfrm>
            <a:custGeom>
              <a:avLst/>
              <a:gdLst>
                <a:gd name="T0" fmla="*/ 1040 w 1050"/>
                <a:gd name="T1" fmla="*/ 257 h 585"/>
                <a:gd name="T2" fmla="*/ 959 w 1050"/>
                <a:gd name="T3" fmla="*/ 209 h 585"/>
                <a:gd name="T4" fmla="*/ 779 w 1050"/>
                <a:gd name="T5" fmla="*/ 102 h 585"/>
                <a:gd name="T6" fmla="*/ 763 w 1050"/>
                <a:gd name="T7" fmla="*/ 43 h 585"/>
                <a:gd name="T8" fmla="*/ 674 w 1050"/>
                <a:gd name="T9" fmla="*/ 70 h 585"/>
                <a:gd name="T10" fmla="*/ 605 w 1050"/>
                <a:gd name="T11" fmla="*/ 0 h 585"/>
                <a:gd name="T12" fmla="*/ 442 w 1050"/>
                <a:gd name="T13" fmla="*/ 64 h 585"/>
                <a:gd name="T14" fmla="*/ 342 w 1050"/>
                <a:gd name="T15" fmla="*/ 148 h 585"/>
                <a:gd name="T16" fmla="*/ 358 w 1050"/>
                <a:gd name="T17" fmla="*/ 191 h 585"/>
                <a:gd name="T18" fmla="*/ 209 w 1050"/>
                <a:gd name="T19" fmla="*/ 191 h 585"/>
                <a:gd name="T20" fmla="*/ 86 w 1050"/>
                <a:gd name="T21" fmla="*/ 160 h 585"/>
                <a:gd name="T22" fmla="*/ 34 w 1050"/>
                <a:gd name="T23" fmla="*/ 241 h 585"/>
                <a:gd name="T24" fmla="*/ 0 w 1050"/>
                <a:gd name="T25" fmla="*/ 282 h 585"/>
                <a:gd name="T26" fmla="*/ 50 w 1050"/>
                <a:gd name="T27" fmla="*/ 351 h 585"/>
                <a:gd name="T28" fmla="*/ 98 w 1050"/>
                <a:gd name="T29" fmla="*/ 332 h 585"/>
                <a:gd name="T30" fmla="*/ 193 w 1050"/>
                <a:gd name="T31" fmla="*/ 369 h 585"/>
                <a:gd name="T32" fmla="*/ 161 w 1050"/>
                <a:gd name="T33" fmla="*/ 428 h 585"/>
                <a:gd name="T34" fmla="*/ 112 w 1050"/>
                <a:gd name="T35" fmla="*/ 410 h 585"/>
                <a:gd name="T36" fmla="*/ 102 w 1050"/>
                <a:gd name="T37" fmla="*/ 458 h 585"/>
                <a:gd name="T38" fmla="*/ 136 w 1050"/>
                <a:gd name="T39" fmla="*/ 517 h 585"/>
                <a:gd name="T40" fmla="*/ 164 w 1050"/>
                <a:gd name="T41" fmla="*/ 524 h 585"/>
                <a:gd name="T42" fmla="*/ 230 w 1050"/>
                <a:gd name="T43" fmla="*/ 563 h 585"/>
                <a:gd name="T44" fmla="*/ 230 w 1050"/>
                <a:gd name="T45" fmla="*/ 463 h 585"/>
                <a:gd name="T46" fmla="*/ 276 w 1050"/>
                <a:gd name="T47" fmla="*/ 417 h 585"/>
                <a:gd name="T48" fmla="*/ 342 w 1050"/>
                <a:gd name="T49" fmla="*/ 444 h 585"/>
                <a:gd name="T50" fmla="*/ 408 w 1050"/>
                <a:gd name="T51" fmla="*/ 474 h 585"/>
                <a:gd name="T52" fmla="*/ 483 w 1050"/>
                <a:gd name="T53" fmla="*/ 494 h 585"/>
                <a:gd name="T54" fmla="*/ 496 w 1050"/>
                <a:gd name="T55" fmla="*/ 538 h 585"/>
                <a:gd name="T56" fmla="*/ 521 w 1050"/>
                <a:gd name="T57" fmla="*/ 585 h 585"/>
                <a:gd name="T58" fmla="*/ 581 w 1050"/>
                <a:gd name="T59" fmla="*/ 561 h 585"/>
                <a:gd name="T60" fmla="*/ 601 w 1050"/>
                <a:gd name="T61" fmla="*/ 526 h 585"/>
                <a:gd name="T62" fmla="*/ 633 w 1050"/>
                <a:gd name="T63" fmla="*/ 510 h 585"/>
                <a:gd name="T64" fmla="*/ 674 w 1050"/>
                <a:gd name="T65" fmla="*/ 510 h 585"/>
                <a:gd name="T66" fmla="*/ 717 w 1050"/>
                <a:gd name="T67" fmla="*/ 488 h 585"/>
                <a:gd name="T68" fmla="*/ 778 w 1050"/>
                <a:gd name="T69" fmla="*/ 497 h 585"/>
                <a:gd name="T70" fmla="*/ 831 w 1050"/>
                <a:gd name="T71" fmla="*/ 506 h 585"/>
                <a:gd name="T72" fmla="*/ 868 w 1050"/>
                <a:gd name="T73" fmla="*/ 499 h 585"/>
                <a:gd name="T74" fmla="*/ 899 w 1050"/>
                <a:gd name="T75" fmla="*/ 433 h 585"/>
                <a:gd name="T76" fmla="*/ 918 w 1050"/>
                <a:gd name="T77" fmla="*/ 376 h 585"/>
                <a:gd name="T78" fmla="*/ 940 w 1050"/>
                <a:gd name="T79" fmla="*/ 349 h 585"/>
                <a:gd name="T80" fmla="*/ 992 w 1050"/>
                <a:gd name="T81" fmla="*/ 365 h 585"/>
                <a:gd name="T82" fmla="*/ 992 w 1050"/>
                <a:gd name="T83" fmla="*/ 321 h 585"/>
                <a:gd name="T84" fmla="*/ 1024 w 1050"/>
                <a:gd name="T85" fmla="*/ 303 h 585"/>
                <a:gd name="T86" fmla="*/ 1040 w 1050"/>
                <a:gd name="T87" fmla="*/ 28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50" h="585">
                  <a:moveTo>
                    <a:pt x="1040" y="280"/>
                  </a:moveTo>
                  <a:lnTo>
                    <a:pt x="1040" y="257"/>
                  </a:lnTo>
                  <a:lnTo>
                    <a:pt x="1008" y="257"/>
                  </a:lnTo>
                  <a:lnTo>
                    <a:pt x="959" y="209"/>
                  </a:lnTo>
                  <a:lnTo>
                    <a:pt x="886" y="209"/>
                  </a:lnTo>
                  <a:lnTo>
                    <a:pt x="779" y="102"/>
                  </a:lnTo>
                  <a:lnTo>
                    <a:pt x="779" y="59"/>
                  </a:lnTo>
                  <a:lnTo>
                    <a:pt x="763" y="43"/>
                  </a:lnTo>
                  <a:lnTo>
                    <a:pt x="735" y="70"/>
                  </a:lnTo>
                  <a:lnTo>
                    <a:pt x="674" y="70"/>
                  </a:lnTo>
                  <a:lnTo>
                    <a:pt x="642" y="39"/>
                  </a:lnTo>
                  <a:lnTo>
                    <a:pt x="605" y="0"/>
                  </a:lnTo>
                  <a:lnTo>
                    <a:pt x="505" y="0"/>
                  </a:lnTo>
                  <a:lnTo>
                    <a:pt x="442" y="64"/>
                  </a:lnTo>
                  <a:lnTo>
                    <a:pt x="342" y="64"/>
                  </a:lnTo>
                  <a:lnTo>
                    <a:pt x="342" y="148"/>
                  </a:lnTo>
                  <a:lnTo>
                    <a:pt x="373" y="178"/>
                  </a:lnTo>
                  <a:lnTo>
                    <a:pt x="358" y="191"/>
                  </a:lnTo>
                  <a:lnTo>
                    <a:pt x="257" y="191"/>
                  </a:lnTo>
                  <a:lnTo>
                    <a:pt x="209" y="191"/>
                  </a:lnTo>
                  <a:lnTo>
                    <a:pt x="178" y="160"/>
                  </a:lnTo>
                  <a:lnTo>
                    <a:pt x="86" y="160"/>
                  </a:lnTo>
                  <a:lnTo>
                    <a:pt x="34" y="210"/>
                  </a:lnTo>
                  <a:lnTo>
                    <a:pt x="34" y="241"/>
                  </a:lnTo>
                  <a:lnTo>
                    <a:pt x="0" y="205"/>
                  </a:lnTo>
                  <a:lnTo>
                    <a:pt x="0" y="282"/>
                  </a:lnTo>
                  <a:lnTo>
                    <a:pt x="50" y="333"/>
                  </a:lnTo>
                  <a:lnTo>
                    <a:pt x="50" y="351"/>
                  </a:lnTo>
                  <a:lnTo>
                    <a:pt x="78" y="351"/>
                  </a:lnTo>
                  <a:lnTo>
                    <a:pt x="98" y="332"/>
                  </a:lnTo>
                  <a:lnTo>
                    <a:pt x="155" y="332"/>
                  </a:lnTo>
                  <a:lnTo>
                    <a:pt x="193" y="369"/>
                  </a:lnTo>
                  <a:lnTo>
                    <a:pt x="193" y="428"/>
                  </a:lnTo>
                  <a:lnTo>
                    <a:pt x="161" y="428"/>
                  </a:lnTo>
                  <a:lnTo>
                    <a:pt x="143" y="410"/>
                  </a:lnTo>
                  <a:lnTo>
                    <a:pt x="112" y="410"/>
                  </a:lnTo>
                  <a:lnTo>
                    <a:pt x="82" y="439"/>
                  </a:lnTo>
                  <a:lnTo>
                    <a:pt x="102" y="458"/>
                  </a:lnTo>
                  <a:lnTo>
                    <a:pt x="102" y="483"/>
                  </a:lnTo>
                  <a:lnTo>
                    <a:pt x="136" y="517"/>
                  </a:lnTo>
                  <a:lnTo>
                    <a:pt x="136" y="540"/>
                  </a:lnTo>
                  <a:lnTo>
                    <a:pt x="164" y="524"/>
                  </a:lnTo>
                  <a:lnTo>
                    <a:pt x="191" y="524"/>
                  </a:lnTo>
                  <a:lnTo>
                    <a:pt x="230" y="563"/>
                  </a:lnTo>
                  <a:lnTo>
                    <a:pt x="230" y="537"/>
                  </a:lnTo>
                  <a:lnTo>
                    <a:pt x="230" y="463"/>
                  </a:lnTo>
                  <a:lnTo>
                    <a:pt x="246" y="447"/>
                  </a:lnTo>
                  <a:lnTo>
                    <a:pt x="276" y="417"/>
                  </a:lnTo>
                  <a:lnTo>
                    <a:pt x="317" y="417"/>
                  </a:lnTo>
                  <a:lnTo>
                    <a:pt x="342" y="444"/>
                  </a:lnTo>
                  <a:lnTo>
                    <a:pt x="392" y="492"/>
                  </a:lnTo>
                  <a:lnTo>
                    <a:pt x="408" y="474"/>
                  </a:lnTo>
                  <a:lnTo>
                    <a:pt x="464" y="474"/>
                  </a:lnTo>
                  <a:lnTo>
                    <a:pt x="483" y="494"/>
                  </a:lnTo>
                  <a:lnTo>
                    <a:pt x="483" y="526"/>
                  </a:lnTo>
                  <a:lnTo>
                    <a:pt x="496" y="538"/>
                  </a:lnTo>
                  <a:lnTo>
                    <a:pt x="496" y="560"/>
                  </a:lnTo>
                  <a:lnTo>
                    <a:pt x="521" y="585"/>
                  </a:lnTo>
                  <a:lnTo>
                    <a:pt x="560" y="585"/>
                  </a:lnTo>
                  <a:lnTo>
                    <a:pt x="581" y="561"/>
                  </a:lnTo>
                  <a:lnTo>
                    <a:pt x="581" y="545"/>
                  </a:lnTo>
                  <a:lnTo>
                    <a:pt x="601" y="526"/>
                  </a:lnTo>
                  <a:lnTo>
                    <a:pt x="619" y="526"/>
                  </a:lnTo>
                  <a:lnTo>
                    <a:pt x="633" y="510"/>
                  </a:lnTo>
                  <a:lnTo>
                    <a:pt x="653" y="510"/>
                  </a:lnTo>
                  <a:lnTo>
                    <a:pt x="674" y="510"/>
                  </a:lnTo>
                  <a:lnTo>
                    <a:pt x="697" y="488"/>
                  </a:lnTo>
                  <a:lnTo>
                    <a:pt x="717" y="488"/>
                  </a:lnTo>
                  <a:lnTo>
                    <a:pt x="728" y="497"/>
                  </a:lnTo>
                  <a:lnTo>
                    <a:pt x="778" y="497"/>
                  </a:lnTo>
                  <a:lnTo>
                    <a:pt x="785" y="506"/>
                  </a:lnTo>
                  <a:lnTo>
                    <a:pt x="831" y="506"/>
                  </a:lnTo>
                  <a:lnTo>
                    <a:pt x="845" y="520"/>
                  </a:lnTo>
                  <a:lnTo>
                    <a:pt x="868" y="499"/>
                  </a:lnTo>
                  <a:lnTo>
                    <a:pt x="868" y="433"/>
                  </a:lnTo>
                  <a:lnTo>
                    <a:pt x="899" y="433"/>
                  </a:lnTo>
                  <a:lnTo>
                    <a:pt x="918" y="414"/>
                  </a:lnTo>
                  <a:lnTo>
                    <a:pt x="918" y="376"/>
                  </a:lnTo>
                  <a:lnTo>
                    <a:pt x="918" y="349"/>
                  </a:lnTo>
                  <a:lnTo>
                    <a:pt x="940" y="349"/>
                  </a:lnTo>
                  <a:lnTo>
                    <a:pt x="956" y="365"/>
                  </a:lnTo>
                  <a:lnTo>
                    <a:pt x="992" y="365"/>
                  </a:lnTo>
                  <a:lnTo>
                    <a:pt x="992" y="340"/>
                  </a:lnTo>
                  <a:lnTo>
                    <a:pt x="992" y="321"/>
                  </a:lnTo>
                  <a:lnTo>
                    <a:pt x="1009" y="303"/>
                  </a:lnTo>
                  <a:lnTo>
                    <a:pt x="1024" y="303"/>
                  </a:lnTo>
                  <a:lnTo>
                    <a:pt x="1050" y="280"/>
                  </a:lnTo>
                  <a:lnTo>
                    <a:pt x="1040" y="28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290">
              <a:extLst>
                <a:ext uri="{FF2B5EF4-FFF2-40B4-BE49-F238E27FC236}">
                  <a16:creationId xmlns:a16="http://schemas.microsoft.com/office/drawing/2014/main" id="{53EED06F-B438-4E29-9F92-7B0CCF07C406}"/>
                </a:ext>
              </a:extLst>
            </p:cNvPr>
            <p:cNvSpPr>
              <a:spLocks/>
            </p:cNvSpPr>
            <p:nvPr/>
          </p:nvSpPr>
          <p:spPr bwMode="auto">
            <a:xfrm>
              <a:off x="5441951" y="2808288"/>
              <a:ext cx="258763" cy="207963"/>
            </a:xfrm>
            <a:custGeom>
              <a:avLst/>
              <a:gdLst>
                <a:gd name="T0" fmla="*/ 242 w 326"/>
                <a:gd name="T1" fmla="*/ 260 h 260"/>
                <a:gd name="T2" fmla="*/ 265 w 326"/>
                <a:gd name="T3" fmla="*/ 260 h 260"/>
                <a:gd name="T4" fmla="*/ 288 w 326"/>
                <a:gd name="T5" fmla="*/ 239 h 260"/>
                <a:gd name="T6" fmla="*/ 308 w 326"/>
                <a:gd name="T7" fmla="*/ 219 h 260"/>
                <a:gd name="T8" fmla="*/ 308 w 326"/>
                <a:gd name="T9" fmla="*/ 203 h 260"/>
                <a:gd name="T10" fmla="*/ 326 w 326"/>
                <a:gd name="T11" fmla="*/ 183 h 260"/>
                <a:gd name="T12" fmla="*/ 297 w 326"/>
                <a:gd name="T13" fmla="*/ 155 h 260"/>
                <a:gd name="T14" fmla="*/ 297 w 326"/>
                <a:gd name="T15" fmla="*/ 139 h 260"/>
                <a:gd name="T16" fmla="*/ 281 w 326"/>
                <a:gd name="T17" fmla="*/ 123 h 260"/>
                <a:gd name="T18" fmla="*/ 260 w 326"/>
                <a:gd name="T19" fmla="*/ 123 h 260"/>
                <a:gd name="T20" fmla="*/ 240 w 326"/>
                <a:gd name="T21" fmla="*/ 103 h 260"/>
                <a:gd name="T22" fmla="*/ 240 w 326"/>
                <a:gd name="T23" fmla="*/ 59 h 260"/>
                <a:gd name="T24" fmla="*/ 224 w 326"/>
                <a:gd name="T25" fmla="*/ 59 h 260"/>
                <a:gd name="T26" fmla="*/ 224 w 326"/>
                <a:gd name="T27" fmla="*/ 39 h 260"/>
                <a:gd name="T28" fmla="*/ 201 w 326"/>
                <a:gd name="T29" fmla="*/ 16 h 260"/>
                <a:gd name="T30" fmla="*/ 180 w 326"/>
                <a:gd name="T31" fmla="*/ 16 h 260"/>
                <a:gd name="T32" fmla="*/ 164 w 326"/>
                <a:gd name="T33" fmla="*/ 0 h 260"/>
                <a:gd name="T34" fmla="*/ 139 w 326"/>
                <a:gd name="T35" fmla="*/ 0 h 260"/>
                <a:gd name="T36" fmla="*/ 139 w 326"/>
                <a:gd name="T37" fmla="*/ 16 h 260"/>
                <a:gd name="T38" fmla="*/ 128 w 326"/>
                <a:gd name="T39" fmla="*/ 16 h 260"/>
                <a:gd name="T40" fmla="*/ 110 w 326"/>
                <a:gd name="T41" fmla="*/ 32 h 260"/>
                <a:gd name="T42" fmla="*/ 110 w 326"/>
                <a:gd name="T43" fmla="*/ 53 h 260"/>
                <a:gd name="T44" fmla="*/ 94 w 326"/>
                <a:gd name="T45" fmla="*/ 53 h 260"/>
                <a:gd name="T46" fmla="*/ 55 w 326"/>
                <a:gd name="T47" fmla="*/ 14 h 260"/>
                <a:gd name="T48" fmla="*/ 28 w 326"/>
                <a:gd name="T49" fmla="*/ 14 h 260"/>
                <a:gd name="T50" fmla="*/ 0 w 326"/>
                <a:gd name="T51" fmla="*/ 30 h 260"/>
                <a:gd name="T52" fmla="*/ 39 w 326"/>
                <a:gd name="T53" fmla="*/ 30 h 260"/>
                <a:gd name="T54" fmla="*/ 58 w 326"/>
                <a:gd name="T55" fmla="*/ 50 h 260"/>
                <a:gd name="T56" fmla="*/ 58 w 326"/>
                <a:gd name="T57" fmla="*/ 71 h 260"/>
                <a:gd name="T58" fmla="*/ 10 w 326"/>
                <a:gd name="T59" fmla="*/ 71 h 260"/>
                <a:gd name="T60" fmla="*/ 10 w 326"/>
                <a:gd name="T61" fmla="*/ 92 h 260"/>
                <a:gd name="T62" fmla="*/ 39 w 326"/>
                <a:gd name="T63" fmla="*/ 121 h 260"/>
                <a:gd name="T64" fmla="*/ 39 w 326"/>
                <a:gd name="T65" fmla="*/ 158 h 260"/>
                <a:gd name="T66" fmla="*/ 39 w 326"/>
                <a:gd name="T67" fmla="*/ 173 h 260"/>
                <a:gd name="T68" fmla="*/ 66 w 326"/>
                <a:gd name="T69" fmla="*/ 173 h 260"/>
                <a:gd name="T70" fmla="*/ 89 w 326"/>
                <a:gd name="T71" fmla="*/ 150 h 260"/>
                <a:gd name="T72" fmla="*/ 140 w 326"/>
                <a:gd name="T73" fmla="*/ 150 h 260"/>
                <a:gd name="T74" fmla="*/ 160 w 326"/>
                <a:gd name="T75" fmla="*/ 171 h 260"/>
                <a:gd name="T76" fmla="*/ 183 w 326"/>
                <a:gd name="T77" fmla="*/ 192 h 260"/>
                <a:gd name="T78" fmla="*/ 217 w 326"/>
                <a:gd name="T79" fmla="*/ 192 h 260"/>
                <a:gd name="T80" fmla="*/ 217 w 326"/>
                <a:gd name="T81" fmla="*/ 246 h 260"/>
                <a:gd name="T82" fmla="*/ 217 w 326"/>
                <a:gd name="T83" fmla="*/ 248 h 260"/>
                <a:gd name="T84" fmla="*/ 230 w 326"/>
                <a:gd name="T85" fmla="*/ 248 h 260"/>
                <a:gd name="T86" fmla="*/ 242 w 326"/>
                <a:gd name="T87"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6" h="260">
                  <a:moveTo>
                    <a:pt x="242" y="260"/>
                  </a:moveTo>
                  <a:lnTo>
                    <a:pt x="265" y="260"/>
                  </a:lnTo>
                  <a:lnTo>
                    <a:pt x="288" y="239"/>
                  </a:lnTo>
                  <a:lnTo>
                    <a:pt x="308" y="219"/>
                  </a:lnTo>
                  <a:lnTo>
                    <a:pt x="308" y="203"/>
                  </a:lnTo>
                  <a:lnTo>
                    <a:pt x="326" y="183"/>
                  </a:lnTo>
                  <a:lnTo>
                    <a:pt x="297" y="155"/>
                  </a:lnTo>
                  <a:lnTo>
                    <a:pt x="297" y="139"/>
                  </a:lnTo>
                  <a:lnTo>
                    <a:pt x="281" y="123"/>
                  </a:lnTo>
                  <a:lnTo>
                    <a:pt x="260" y="123"/>
                  </a:lnTo>
                  <a:lnTo>
                    <a:pt x="240" y="103"/>
                  </a:lnTo>
                  <a:lnTo>
                    <a:pt x="240" y="59"/>
                  </a:lnTo>
                  <a:lnTo>
                    <a:pt x="224" y="59"/>
                  </a:lnTo>
                  <a:lnTo>
                    <a:pt x="224" y="39"/>
                  </a:lnTo>
                  <a:lnTo>
                    <a:pt x="201" y="16"/>
                  </a:lnTo>
                  <a:lnTo>
                    <a:pt x="180" y="16"/>
                  </a:lnTo>
                  <a:lnTo>
                    <a:pt x="164" y="0"/>
                  </a:lnTo>
                  <a:lnTo>
                    <a:pt x="139" y="0"/>
                  </a:lnTo>
                  <a:lnTo>
                    <a:pt x="139" y="16"/>
                  </a:lnTo>
                  <a:lnTo>
                    <a:pt x="128" y="16"/>
                  </a:lnTo>
                  <a:lnTo>
                    <a:pt x="110" y="32"/>
                  </a:lnTo>
                  <a:lnTo>
                    <a:pt x="110" y="53"/>
                  </a:lnTo>
                  <a:lnTo>
                    <a:pt x="94" y="53"/>
                  </a:lnTo>
                  <a:lnTo>
                    <a:pt x="55" y="14"/>
                  </a:lnTo>
                  <a:lnTo>
                    <a:pt x="28" y="14"/>
                  </a:lnTo>
                  <a:lnTo>
                    <a:pt x="0" y="30"/>
                  </a:lnTo>
                  <a:lnTo>
                    <a:pt x="39" y="30"/>
                  </a:lnTo>
                  <a:lnTo>
                    <a:pt x="58" y="50"/>
                  </a:lnTo>
                  <a:lnTo>
                    <a:pt x="58" y="71"/>
                  </a:lnTo>
                  <a:lnTo>
                    <a:pt x="10" y="71"/>
                  </a:lnTo>
                  <a:lnTo>
                    <a:pt x="10" y="92"/>
                  </a:lnTo>
                  <a:lnTo>
                    <a:pt x="39" y="121"/>
                  </a:lnTo>
                  <a:lnTo>
                    <a:pt x="39" y="158"/>
                  </a:lnTo>
                  <a:lnTo>
                    <a:pt x="39" y="173"/>
                  </a:lnTo>
                  <a:lnTo>
                    <a:pt x="66" y="173"/>
                  </a:lnTo>
                  <a:lnTo>
                    <a:pt x="89" y="150"/>
                  </a:lnTo>
                  <a:lnTo>
                    <a:pt x="140" y="150"/>
                  </a:lnTo>
                  <a:lnTo>
                    <a:pt x="160" y="171"/>
                  </a:lnTo>
                  <a:lnTo>
                    <a:pt x="183" y="192"/>
                  </a:lnTo>
                  <a:lnTo>
                    <a:pt x="217" y="192"/>
                  </a:lnTo>
                  <a:lnTo>
                    <a:pt x="217" y="246"/>
                  </a:lnTo>
                  <a:lnTo>
                    <a:pt x="217" y="248"/>
                  </a:lnTo>
                  <a:lnTo>
                    <a:pt x="230" y="248"/>
                  </a:lnTo>
                  <a:lnTo>
                    <a:pt x="242" y="26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291">
              <a:extLst>
                <a:ext uri="{FF2B5EF4-FFF2-40B4-BE49-F238E27FC236}">
                  <a16:creationId xmlns:a16="http://schemas.microsoft.com/office/drawing/2014/main" id="{BF4776F6-F142-45AF-BEEE-9828661F40D0}"/>
                </a:ext>
              </a:extLst>
            </p:cNvPr>
            <p:cNvSpPr>
              <a:spLocks/>
            </p:cNvSpPr>
            <p:nvPr/>
          </p:nvSpPr>
          <p:spPr bwMode="auto">
            <a:xfrm>
              <a:off x="5086351" y="2957513"/>
              <a:ext cx="134938" cy="109538"/>
            </a:xfrm>
            <a:custGeom>
              <a:avLst/>
              <a:gdLst>
                <a:gd name="T0" fmla="*/ 93 w 171"/>
                <a:gd name="T1" fmla="*/ 137 h 137"/>
                <a:gd name="T2" fmla="*/ 98 w 171"/>
                <a:gd name="T3" fmla="*/ 132 h 137"/>
                <a:gd name="T4" fmla="*/ 136 w 171"/>
                <a:gd name="T5" fmla="*/ 94 h 137"/>
                <a:gd name="T6" fmla="*/ 136 w 171"/>
                <a:gd name="T7" fmla="*/ 86 h 137"/>
                <a:gd name="T8" fmla="*/ 161 w 171"/>
                <a:gd name="T9" fmla="*/ 59 h 137"/>
                <a:gd name="T10" fmla="*/ 161 w 171"/>
                <a:gd name="T11" fmla="*/ 37 h 137"/>
                <a:gd name="T12" fmla="*/ 171 w 171"/>
                <a:gd name="T13" fmla="*/ 27 h 137"/>
                <a:gd name="T14" fmla="*/ 171 w 171"/>
                <a:gd name="T15" fmla="*/ 11 h 137"/>
                <a:gd name="T16" fmla="*/ 159 w 171"/>
                <a:gd name="T17" fmla="*/ 11 h 137"/>
                <a:gd name="T18" fmla="*/ 148 w 171"/>
                <a:gd name="T19" fmla="*/ 0 h 137"/>
                <a:gd name="T20" fmla="*/ 132 w 171"/>
                <a:gd name="T21" fmla="*/ 0 h 137"/>
                <a:gd name="T22" fmla="*/ 118 w 171"/>
                <a:gd name="T23" fmla="*/ 14 h 137"/>
                <a:gd name="T24" fmla="*/ 86 w 171"/>
                <a:gd name="T25" fmla="*/ 14 h 137"/>
                <a:gd name="T26" fmla="*/ 43 w 171"/>
                <a:gd name="T27" fmla="*/ 14 h 137"/>
                <a:gd name="T28" fmla="*/ 20 w 171"/>
                <a:gd name="T29" fmla="*/ 14 h 137"/>
                <a:gd name="T30" fmla="*/ 20 w 171"/>
                <a:gd name="T31" fmla="*/ 77 h 137"/>
                <a:gd name="T32" fmla="*/ 0 w 171"/>
                <a:gd name="T33" fmla="*/ 94 h 137"/>
                <a:gd name="T34" fmla="*/ 45 w 171"/>
                <a:gd name="T35" fmla="*/ 137 h 137"/>
                <a:gd name="T36" fmla="*/ 93 w 171"/>
                <a:gd name="T3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137">
                  <a:moveTo>
                    <a:pt x="93" y="137"/>
                  </a:moveTo>
                  <a:lnTo>
                    <a:pt x="98" y="132"/>
                  </a:lnTo>
                  <a:lnTo>
                    <a:pt x="136" y="94"/>
                  </a:lnTo>
                  <a:lnTo>
                    <a:pt x="136" y="86"/>
                  </a:lnTo>
                  <a:lnTo>
                    <a:pt x="161" y="59"/>
                  </a:lnTo>
                  <a:lnTo>
                    <a:pt x="161" y="37"/>
                  </a:lnTo>
                  <a:lnTo>
                    <a:pt x="171" y="27"/>
                  </a:lnTo>
                  <a:lnTo>
                    <a:pt x="171" y="11"/>
                  </a:lnTo>
                  <a:lnTo>
                    <a:pt x="159" y="11"/>
                  </a:lnTo>
                  <a:lnTo>
                    <a:pt x="148" y="0"/>
                  </a:lnTo>
                  <a:lnTo>
                    <a:pt x="132" y="0"/>
                  </a:lnTo>
                  <a:lnTo>
                    <a:pt x="118" y="14"/>
                  </a:lnTo>
                  <a:lnTo>
                    <a:pt x="86" y="14"/>
                  </a:lnTo>
                  <a:lnTo>
                    <a:pt x="43" y="14"/>
                  </a:lnTo>
                  <a:lnTo>
                    <a:pt x="20" y="14"/>
                  </a:lnTo>
                  <a:lnTo>
                    <a:pt x="20" y="77"/>
                  </a:lnTo>
                  <a:lnTo>
                    <a:pt x="0" y="94"/>
                  </a:lnTo>
                  <a:lnTo>
                    <a:pt x="45" y="137"/>
                  </a:lnTo>
                  <a:lnTo>
                    <a:pt x="93" y="13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292">
              <a:extLst>
                <a:ext uri="{FF2B5EF4-FFF2-40B4-BE49-F238E27FC236}">
                  <a16:creationId xmlns:a16="http://schemas.microsoft.com/office/drawing/2014/main" id="{7FE47CCA-2428-44D5-A236-5AC54703C6E4}"/>
                </a:ext>
              </a:extLst>
            </p:cNvPr>
            <p:cNvSpPr>
              <a:spLocks/>
            </p:cNvSpPr>
            <p:nvPr/>
          </p:nvSpPr>
          <p:spPr bwMode="auto">
            <a:xfrm>
              <a:off x="5030788" y="3032125"/>
              <a:ext cx="125413" cy="104775"/>
            </a:xfrm>
            <a:custGeom>
              <a:avLst/>
              <a:gdLst>
                <a:gd name="T0" fmla="*/ 34 w 158"/>
                <a:gd name="T1" fmla="*/ 132 h 132"/>
                <a:gd name="T2" fmla="*/ 58 w 158"/>
                <a:gd name="T3" fmla="*/ 132 h 132"/>
                <a:gd name="T4" fmla="*/ 82 w 158"/>
                <a:gd name="T5" fmla="*/ 111 h 132"/>
                <a:gd name="T6" fmla="*/ 105 w 158"/>
                <a:gd name="T7" fmla="*/ 111 h 132"/>
                <a:gd name="T8" fmla="*/ 105 w 158"/>
                <a:gd name="T9" fmla="*/ 82 h 132"/>
                <a:gd name="T10" fmla="*/ 137 w 158"/>
                <a:gd name="T11" fmla="*/ 82 h 132"/>
                <a:gd name="T12" fmla="*/ 158 w 158"/>
                <a:gd name="T13" fmla="*/ 63 h 132"/>
                <a:gd name="T14" fmla="*/ 158 w 158"/>
                <a:gd name="T15" fmla="*/ 43 h 132"/>
                <a:gd name="T16" fmla="*/ 114 w 158"/>
                <a:gd name="T17" fmla="*/ 43 h 132"/>
                <a:gd name="T18" fmla="*/ 69 w 158"/>
                <a:gd name="T19" fmla="*/ 0 h 132"/>
                <a:gd name="T20" fmla="*/ 60 w 158"/>
                <a:gd name="T21" fmla="*/ 9 h 132"/>
                <a:gd name="T22" fmla="*/ 60 w 158"/>
                <a:gd name="T23" fmla="*/ 75 h 132"/>
                <a:gd name="T24" fmla="*/ 30 w 158"/>
                <a:gd name="T25" fmla="*/ 107 h 132"/>
                <a:gd name="T26" fmla="*/ 0 w 158"/>
                <a:gd name="T27" fmla="*/ 107 h 132"/>
                <a:gd name="T28" fmla="*/ 0 w 158"/>
                <a:gd name="T29" fmla="*/ 132 h 132"/>
                <a:gd name="T30" fmla="*/ 34 w 158"/>
                <a:gd name="T31"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132">
                  <a:moveTo>
                    <a:pt x="34" y="132"/>
                  </a:moveTo>
                  <a:lnTo>
                    <a:pt x="58" y="132"/>
                  </a:lnTo>
                  <a:lnTo>
                    <a:pt x="82" y="111"/>
                  </a:lnTo>
                  <a:lnTo>
                    <a:pt x="105" y="111"/>
                  </a:lnTo>
                  <a:lnTo>
                    <a:pt x="105" y="82"/>
                  </a:lnTo>
                  <a:lnTo>
                    <a:pt x="137" y="82"/>
                  </a:lnTo>
                  <a:lnTo>
                    <a:pt x="158" y="63"/>
                  </a:lnTo>
                  <a:lnTo>
                    <a:pt x="158" y="43"/>
                  </a:lnTo>
                  <a:lnTo>
                    <a:pt x="114" y="43"/>
                  </a:lnTo>
                  <a:lnTo>
                    <a:pt x="69" y="0"/>
                  </a:lnTo>
                  <a:lnTo>
                    <a:pt x="60" y="9"/>
                  </a:lnTo>
                  <a:lnTo>
                    <a:pt x="60" y="75"/>
                  </a:lnTo>
                  <a:lnTo>
                    <a:pt x="30" y="107"/>
                  </a:lnTo>
                  <a:lnTo>
                    <a:pt x="0" y="107"/>
                  </a:lnTo>
                  <a:lnTo>
                    <a:pt x="0" y="132"/>
                  </a:lnTo>
                  <a:lnTo>
                    <a:pt x="34" y="13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293">
              <a:extLst>
                <a:ext uri="{FF2B5EF4-FFF2-40B4-BE49-F238E27FC236}">
                  <a16:creationId xmlns:a16="http://schemas.microsoft.com/office/drawing/2014/main" id="{454A6093-276F-4391-917A-6C15C796AA46}"/>
                </a:ext>
              </a:extLst>
            </p:cNvPr>
            <p:cNvSpPr>
              <a:spLocks/>
            </p:cNvSpPr>
            <p:nvPr/>
          </p:nvSpPr>
          <p:spPr bwMode="auto">
            <a:xfrm>
              <a:off x="5235576" y="3403600"/>
              <a:ext cx="223838" cy="114300"/>
            </a:xfrm>
            <a:custGeom>
              <a:avLst/>
              <a:gdLst>
                <a:gd name="T0" fmla="*/ 196 w 282"/>
                <a:gd name="T1" fmla="*/ 0 h 145"/>
                <a:gd name="T2" fmla="*/ 164 w 282"/>
                <a:gd name="T3" fmla="*/ 0 h 145"/>
                <a:gd name="T4" fmla="*/ 150 w 282"/>
                <a:gd name="T5" fmla="*/ 15 h 145"/>
                <a:gd name="T6" fmla="*/ 120 w 282"/>
                <a:gd name="T7" fmla="*/ 43 h 145"/>
                <a:gd name="T8" fmla="*/ 109 w 282"/>
                <a:gd name="T9" fmla="*/ 43 h 145"/>
                <a:gd name="T10" fmla="*/ 88 w 282"/>
                <a:gd name="T11" fmla="*/ 24 h 145"/>
                <a:gd name="T12" fmla="*/ 59 w 282"/>
                <a:gd name="T13" fmla="*/ 24 h 145"/>
                <a:gd name="T14" fmla="*/ 22 w 282"/>
                <a:gd name="T15" fmla="*/ 24 h 145"/>
                <a:gd name="T16" fmla="*/ 0 w 282"/>
                <a:gd name="T17" fmla="*/ 45 h 145"/>
                <a:gd name="T18" fmla="*/ 0 w 282"/>
                <a:gd name="T19" fmla="*/ 74 h 145"/>
                <a:gd name="T20" fmla="*/ 29 w 282"/>
                <a:gd name="T21" fmla="*/ 102 h 145"/>
                <a:gd name="T22" fmla="*/ 29 w 282"/>
                <a:gd name="T23" fmla="*/ 145 h 145"/>
                <a:gd name="T24" fmla="*/ 72 w 282"/>
                <a:gd name="T25" fmla="*/ 145 h 145"/>
                <a:gd name="T26" fmla="*/ 91 w 282"/>
                <a:gd name="T27" fmla="*/ 125 h 145"/>
                <a:gd name="T28" fmla="*/ 159 w 282"/>
                <a:gd name="T29" fmla="*/ 125 h 145"/>
                <a:gd name="T30" fmla="*/ 220 w 282"/>
                <a:gd name="T31" fmla="*/ 66 h 145"/>
                <a:gd name="T32" fmla="*/ 253 w 282"/>
                <a:gd name="T33" fmla="*/ 66 h 145"/>
                <a:gd name="T34" fmla="*/ 253 w 282"/>
                <a:gd name="T35" fmla="*/ 43 h 145"/>
                <a:gd name="T36" fmla="*/ 282 w 282"/>
                <a:gd name="T37" fmla="*/ 43 h 145"/>
                <a:gd name="T38" fmla="*/ 239 w 282"/>
                <a:gd name="T39" fmla="*/ 0 h 145"/>
                <a:gd name="T40" fmla="*/ 196 w 282"/>
                <a:gd name="T4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2" h="145">
                  <a:moveTo>
                    <a:pt x="196" y="0"/>
                  </a:moveTo>
                  <a:lnTo>
                    <a:pt x="164" y="0"/>
                  </a:lnTo>
                  <a:lnTo>
                    <a:pt x="150" y="15"/>
                  </a:lnTo>
                  <a:lnTo>
                    <a:pt x="120" y="43"/>
                  </a:lnTo>
                  <a:lnTo>
                    <a:pt x="109" y="43"/>
                  </a:lnTo>
                  <a:lnTo>
                    <a:pt x="88" y="24"/>
                  </a:lnTo>
                  <a:lnTo>
                    <a:pt x="59" y="24"/>
                  </a:lnTo>
                  <a:lnTo>
                    <a:pt x="22" y="24"/>
                  </a:lnTo>
                  <a:lnTo>
                    <a:pt x="0" y="45"/>
                  </a:lnTo>
                  <a:lnTo>
                    <a:pt x="0" y="74"/>
                  </a:lnTo>
                  <a:lnTo>
                    <a:pt x="29" y="102"/>
                  </a:lnTo>
                  <a:lnTo>
                    <a:pt x="29" y="145"/>
                  </a:lnTo>
                  <a:lnTo>
                    <a:pt x="72" y="145"/>
                  </a:lnTo>
                  <a:lnTo>
                    <a:pt x="91" y="125"/>
                  </a:lnTo>
                  <a:lnTo>
                    <a:pt x="159" y="125"/>
                  </a:lnTo>
                  <a:lnTo>
                    <a:pt x="220" y="66"/>
                  </a:lnTo>
                  <a:lnTo>
                    <a:pt x="253" y="66"/>
                  </a:lnTo>
                  <a:lnTo>
                    <a:pt x="253" y="43"/>
                  </a:lnTo>
                  <a:lnTo>
                    <a:pt x="282" y="43"/>
                  </a:lnTo>
                  <a:lnTo>
                    <a:pt x="239" y="0"/>
                  </a:lnTo>
                  <a:lnTo>
                    <a:pt x="196"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294">
              <a:extLst>
                <a:ext uri="{FF2B5EF4-FFF2-40B4-BE49-F238E27FC236}">
                  <a16:creationId xmlns:a16="http://schemas.microsoft.com/office/drawing/2014/main" id="{51D70B87-2001-43A0-9BA7-E1203F82C6D0}"/>
                </a:ext>
              </a:extLst>
            </p:cNvPr>
            <p:cNvSpPr>
              <a:spLocks/>
            </p:cNvSpPr>
            <p:nvPr/>
          </p:nvSpPr>
          <p:spPr bwMode="auto">
            <a:xfrm>
              <a:off x="5394326" y="3219450"/>
              <a:ext cx="128588" cy="95250"/>
            </a:xfrm>
            <a:custGeom>
              <a:avLst/>
              <a:gdLst>
                <a:gd name="T0" fmla="*/ 135 w 162"/>
                <a:gd name="T1" fmla="*/ 69 h 121"/>
                <a:gd name="T2" fmla="*/ 162 w 162"/>
                <a:gd name="T3" fmla="*/ 44 h 121"/>
                <a:gd name="T4" fmla="*/ 162 w 162"/>
                <a:gd name="T5" fmla="*/ 0 h 121"/>
                <a:gd name="T6" fmla="*/ 105 w 162"/>
                <a:gd name="T7" fmla="*/ 55 h 121"/>
                <a:gd name="T8" fmla="*/ 30 w 162"/>
                <a:gd name="T9" fmla="*/ 55 h 121"/>
                <a:gd name="T10" fmla="*/ 30 w 162"/>
                <a:gd name="T11" fmla="*/ 10 h 121"/>
                <a:gd name="T12" fmla="*/ 14 w 162"/>
                <a:gd name="T13" fmla="*/ 10 h 121"/>
                <a:gd name="T14" fmla="*/ 2 w 162"/>
                <a:gd name="T15" fmla="*/ 25 h 121"/>
                <a:gd name="T16" fmla="*/ 0 w 162"/>
                <a:gd name="T17" fmla="*/ 64 h 121"/>
                <a:gd name="T18" fmla="*/ 34 w 162"/>
                <a:gd name="T19" fmla="*/ 64 h 121"/>
                <a:gd name="T20" fmla="*/ 34 w 162"/>
                <a:gd name="T21" fmla="*/ 94 h 121"/>
                <a:gd name="T22" fmla="*/ 45 w 162"/>
                <a:gd name="T23" fmla="*/ 94 h 121"/>
                <a:gd name="T24" fmla="*/ 71 w 162"/>
                <a:gd name="T25" fmla="*/ 121 h 121"/>
                <a:gd name="T26" fmla="*/ 107 w 162"/>
                <a:gd name="T27" fmla="*/ 121 h 121"/>
                <a:gd name="T28" fmla="*/ 119 w 162"/>
                <a:gd name="T29" fmla="*/ 110 h 121"/>
                <a:gd name="T30" fmla="*/ 119 w 162"/>
                <a:gd name="T31" fmla="*/ 85 h 121"/>
                <a:gd name="T32" fmla="*/ 135 w 162"/>
                <a:gd name="T33" fmla="*/ 6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21">
                  <a:moveTo>
                    <a:pt x="135" y="69"/>
                  </a:moveTo>
                  <a:lnTo>
                    <a:pt x="162" y="44"/>
                  </a:lnTo>
                  <a:lnTo>
                    <a:pt x="162" y="0"/>
                  </a:lnTo>
                  <a:lnTo>
                    <a:pt x="105" y="55"/>
                  </a:lnTo>
                  <a:lnTo>
                    <a:pt x="30" y="55"/>
                  </a:lnTo>
                  <a:lnTo>
                    <a:pt x="30" y="10"/>
                  </a:lnTo>
                  <a:lnTo>
                    <a:pt x="14" y="10"/>
                  </a:lnTo>
                  <a:lnTo>
                    <a:pt x="2" y="25"/>
                  </a:lnTo>
                  <a:lnTo>
                    <a:pt x="0" y="64"/>
                  </a:lnTo>
                  <a:lnTo>
                    <a:pt x="34" y="64"/>
                  </a:lnTo>
                  <a:lnTo>
                    <a:pt x="34" y="94"/>
                  </a:lnTo>
                  <a:lnTo>
                    <a:pt x="45" y="94"/>
                  </a:lnTo>
                  <a:lnTo>
                    <a:pt x="71" y="121"/>
                  </a:lnTo>
                  <a:lnTo>
                    <a:pt x="107" y="121"/>
                  </a:lnTo>
                  <a:lnTo>
                    <a:pt x="119" y="110"/>
                  </a:lnTo>
                  <a:lnTo>
                    <a:pt x="119" y="85"/>
                  </a:lnTo>
                  <a:lnTo>
                    <a:pt x="135" y="6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295">
              <a:extLst>
                <a:ext uri="{FF2B5EF4-FFF2-40B4-BE49-F238E27FC236}">
                  <a16:creationId xmlns:a16="http://schemas.microsoft.com/office/drawing/2014/main" id="{4A7236D3-5A43-402D-B4FA-730BE311FC27}"/>
                </a:ext>
              </a:extLst>
            </p:cNvPr>
            <p:cNvSpPr>
              <a:spLocks/>
            </p:cNvSpPr>
            <p:nvPr/>
          </p:nvSpPr>
          <p:spPr bwMode="auto">
            <a:xfrm>
              <a:off x="5489576" y="3254375"/>
              <a:ext cx="61913" cy="50800"/>
            </a:xfrm>
            <a:custGeom>
              <a:avLst/>
              <a:gdLst>
                <a:gd name="T0" fmla="*/ 45 w 79"/>
                <a:gd name="T1" fmla="*/ 64 h 64"/>
                <a:gd name="T2" fmla="*/ 79 w 79"/>
                <a:gd name="T3" fmla="*/ 31 h 64"/>
                <a:gd name="T4" fmla="*/ 59 w 79"/>
                <a:gd name="T5" fmla="*/ 11 h 64"/>
                <a:gd name="T6" fmla="*/ 43 w 79"/>
                <a:gd name="T7" fmla="*/ 11 h 64"/>
                <a:gd name="T8" fmla="*/ 43 w 79"/>
                <a:gd name="T9" fmla="*/ 0 h 64"/>
                <a:gd name="T10" fmla="*/ 16 w 79"/>
                <a:gd name="T11" fmla="*/ 25 h 64"/>
                <a:gd name="T12" fmla="*/ 0 w 79"/>
                <a:gd name="T13" fmla="*/ 41 h 64"/>
                <a:gd name="T14" fmla="*/ 22 w 79"/>
                <a:gd name="T15" fmla="*/ 41 h 64"/>
                <a:gd name="T16" fmla="*/ 45 w 79"/>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64">
                  <a:moveTo>
                    <a:pt x="45" y="64"/>
                  </a:moveTo>
                  <a:lnTo>
                    <a:pt x="79" y="31"/>
                  </a:lnTo>
                  <a:lnTo>
                    <a:pt x="59" y="11"/>
                  </a:lnTo>
                  <a:lnTo>
                    <a:pt x="43" y="11"/>
                  </a:lnTo>
                  <a:lnTo>
                    <a:pt x="43" y="0"/>
                  </a:lnTo>
                  <a:lnTo>
                    <a:pt x="16" y="25"/>
                  </a:lnTo>
                  <a:lnTo>
                    <a:pt x="0" y="41"/>
                  </a:lnTo>
                  <a:lnTo>
                    <a:pt x="22" y="41"/>
                  </a:lnTo>
                  <a:lnTo>
                    <a:pt x="45" y="6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296">
              <a:extLst>
                <a:ext uri="{FF2B5EF4-FFF2-40B4-BE49-F238E27FC236}">
                  <a16:creationId xmlns:a16="http://schemas.microsoft.com/office/drawing/2014/main" id="{AFA2BF42-C64A-44BF-860C-35007D5F76D7}"/>
                </a:ext>
              </a:extLst>
            </p:cNvPr>
            <p:cNvSpPr>
              <a:spLocks/>
            </p:cNvSpPr>
            <p:nvPr/>
          </p:nvSpPr>
          <p:spPr bwMode="auto">
            <a:xfrm>
              <a:off x="5426076" y="3278188"/>
              <a:ext cx="160338" cy="158750"/>
            </a:xfrm>
            <a:custGeom>
              <a:avLst/>
              <a:gdLst>
                <a:gd name="T0" fmla="*/ 159 w 203"/>
                <a:gd name="T1" fmla="*/ 0 h 199"/>
                <a:gd name="T2" fmla="*/ 125 w 203"/>
                <a:gd name="T3" fmla="*/ 33 h 199"/>
                <a:gd name="T4" fmla="*/ 102 w 203"/>
                <a:gd name="T5" fmla="*/ 10 h 199"/>
                <a:gd name="T6" fmla="*/ 80 w 203"/>
                <a:gd name="T7" fmla="*/ 10 h 199"/>
                <a:gd name="T8" fmla="*/ 80 w 203"/>
                <a:gd name="T9" fmla="*/ 35 h 199"/>
                <a:gd name="T10" fmla="*/ 98 w 203"/>
                <a:gd name="T11" fmla="*/ 53 h 199"/>
                <a:gd name="T12" fmla="*/ 98 w 203"/>
                <a:gd name="T13" fmla="*/ 83 h 199"/>
                <a:gd name="T14" fmla="*/ 77 w 203"/>
                <a:gd name="T15" fmla="*/ 105 h 199"/>
                <a:gd name="T16" fmla="*/ 50 w 203"/>
                <a:gd name="T17" fmla="*/ 105 h 199"/>
                <a:gd name="T18" fmla="*/ 23 w 203"/>
                <a:gd name="T19" fmla="*/ 132 h 199"/>
                <a:gd name="T20" fmla="*/ 0 w 203"/>
                <a:gd name="T21" fmla="*/ 156 h 199"/>
                <a:gd name="T22" fmla="*/ 43 w 203"/>
                <a:gd name="T23" fmla="*/ 199 h 199"/>
                <a:gd name="T24" fmla="*/ 71 w 203"/>
                <a:gd name="T25" fmla="*/ 199 h 199"/>
                <a:gd name="T26" fmla="*/ 146 w 203"/>
                <a:gd name="T27" fmla="*/ 124 h 199"/>
                <a:gd name="T28" fmla="*/ 173 w 203"/>
                <a:gd name="T29" fmla="*/ 99 h 199"/>
                <a:gd name="T30" fmla="*/ 173 w 203"/>
                <a:gd name="T31" fmla="*/ 76 h 199"/>
                <a:gd name="T32" fmla="*/ 203 w 203"/>
                <a:gd name="T33" fmla="*/ 46 h 199"/>
                <a:gd name="T34" fmla="*/ 159 w 203"/>
                <a:gd name="T35"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9">
                  <a:moveTo>
                    <a:pt x="159" y="0"/>
                  </a:moveTo>
                  <a:lnTo>
                    <a:pt x="125" y="33"/>
                  </a:lnTo>
                  <a:lnTo>
                    <a:pt x="102" y="10"/>
                  </a:lnTo>
                  <a:lnTo>
                    <a:pt x="80" y="10"/>
                  </a:lnTo>
                  <a:lnTo>
                    <a:pt x="80" y="35"/>
                  </a:lnTo>
                  <a:lnTo>
                    <a:pt x="98" y="53"/>
                  </a:lnTo>
                  <a:lnTo>
                    <a:pt x="98" y="83"/>
                  </a:lnTo>
                  <a:lnTo>
                    <a:pt x="77" y="105"/>
                  </a:lnTo>
                  <a:lnTo>
                    <a:pt x="50" y="105"/>
                  </a:lnTo>
                  <a:lnTo>
                    <a:pt x="23" y="132"/>
                  </a:lnTo>
                  <a:lnTo>
                    <a:pt x="0" y="156"/>
                  </a:lnTo>
                  <a:lnTo>
                    <a:pt x="43" y="199"/>
                  </a:lnTo>
                  <a:lnTo>
                    <a:pt x="71" y="199"/>
                  </a:lnTo>
                  <a:lnTo>
                    <a:pt x="146" y="124"/>
                  </a:lnTo>
                  <a:lnTo>
                    <a:pt x="173" y="99"/>
                  </a:lnTo>
                  <a:lnTo>
                    <a:pt x="173" y="76"/>
                  </a:lnTo>
                  <a:lnTo>
                    <a:pt x="203" y="46"/>
                  </a:lnTo>
                  <a:lnTo>
                    <a:pt x="159"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297">
              <a:extLst>
                <a:ext uri="{FF2B5EF4-FFF2-40B4-BE49-F238E27FC236}">
                  <a16:creationId xmlns:a16="http://schemas.microsoft.com/office/drawing/2014/main" id="{8FBB4772-72BE-460D-B36A-4583A4F5BACD}"/>
                </a:ext>
              </a:extLst>
            </p:cNvPr>
            <p:cNvSpPr>
              <a:spLocks/>
            </p:cNvSpPr>
            <p:nvPr/>
          </p:nvSpPr>
          <p:spPr bwMode="auto">
            <a:xfrm>
              <a:off x="5030788" y="3081338"/>
              <a:ext cx="473075" cy="357188"/>
            </a:xfrm>
            <a:custGeom>
              <a:avLst/>
              <a:gdLst>
                <a:gd name="T0" fmla="*/ 577 w 595"/>
                <a:gd name="T1" fmla="*/ 283 h 449"/>
                <a:gd name="T2" fmla="*/ 565 w 595"/>
                <a:gd name="T3" fmla="*/ 294 h 449"/>
                <a:gd name="T4" fmla="*/ 529 w 595"/>
                <a:gd name="T5" fmla="*/ 294 h 449"/>
                <a:gd name="T6" fmla="*/ 503 w 595"/>
                <a:gd name="T7" fmla="*/ 267 h 449"/>
                <a:gd name="T8" fmla="*/ 492 w 595"/>
                <a:gd name="T9" fmla="*/ 267 h 449"/>
                <a:gd name="T10" fmla="*/ 492 w 595"/>
                <a:gd name="T11" fmla="*/ 237 h 449"/>
                <a:gd name="T12" fmla="*/ 458 w 595"/>
                <a:gd name="T13" fmla="*/ 237 h 449"/>
                <a:gd name="T14" fmla="*/ 460 w 595"/>
                <a:gd name="T15" fmla="*/ 198 h 449"/>
                <a:gd name="T16" fmla="*/ 460 w 595"/>
                <a:gd name="T17" fmla="*/ 162 h 449"/>
                <a:gd name="T18" fmla="*/ 385 w 595"/>
                <a:gd name="T19" fmla="*/ 89 h 449"/>
                <a:gd name="T20" fmla="*/ 399 w 595"/>
                <a:gd name="T21" fmla="*/ 75 h 449"/>
                <a:gd name="T22" fmla="*/ 358 w 595"/>
                <a:gd name="T23" fmla="*/ 75 h 449"/>
                <a:gd name="T24" fmla="*/ 358 w 595"/>
                <a:gd name="T25" fmla="*/ 103 h 449"/>
                <a:gd name="T26" fmla="*/ 330 w 595"/>
                <a:gd name="T27" fmla="*/ 103 h 449"/>
                <a:gd name="T28" fmla="*/ 313 w 595"/>
                <a:gd name="T29" fmla="*/ 89 h 449"/>
                <a:gd name="T30" fmla="*/ 290 w 595"/>
                <a:gd name="T31" fmla="*/ 89 h 449"/>
                <a:gd name="T32" fmla="*/ 278 w 595"/>
                <a:gd name="T33" fmla="*/ 75 h 449"/>
                <a:gd name="T34" fmla="*/ 278 w 595"/>
                <a:gd name="T35" fmla="*/ 55 h 449"/>
                <a:gd name="T36" fmla="*/ 214 w 595"/>
                <a:gd name="T37" fmla="*/ 55 h 449"/>
                <a:gd name="T38" fmla="*/ 189 w 595"/>
                <a:gd name="T39" fmla="*/ 28 h 449"/>
                <a:gd name="T40" fmla="*/ 158 w 595"/>
                <a:gd name="T41" fmla="*/ 0 h 449"/>
                <a:gd name="T42" fmla="*/ 137 w 595"/>
                <a:gd name="T43" fmla="*/ 19 h 449"/>
                <a:gd name="T44" fmla="*/ 105 w 595"/>
                <a:gd name="T45" fmla="*/ 19 h 449"/>
                <a:gd name="T46" fmla="*/ 105 w 595"/>
                <a:gd name="T47" fmla="*/ 48 h 449"/>
                <a:gd name="T48" fmla="*/ 82 w 595"/>
                <a:gd name="T49" fmla="*/ 48 h 449"/>
                <a:gd name="T50" fmla="*/ 58 w 595"/>
                <a:gd name="T51" fmla="*/ 69 h 449"/>
                <a:gd name="T52" fmla="*/ 34 w 595"/>
                <a:gd name="T53" fmla="*/ 69 h 449"/>
                <a:gd name="T54" fmla="*/ 0 w 595"/>
                <a:gd name="T55" fmla="*/ 69 h 449"/>
                <a:gd name="T56" fmla="*/ 0 w 595"/>
                <a:gd name="T57" fmla="*/ 82 h 449"/>
                <a:gd name="T58" fmla="*/ 37 w 595"/>
                <a:gd name="T59" fmla="*/ 119 h 449"/>
                <a:gd name="T60" fmla="*/ 62 w 595"/>
                <a:gd name="T61" fmla="*/ 119 h 449"/>
                <a:gd name="T62" fmla="*/ 101 w 595"/>
                <a:gd name="T63" fmla="*/ 158 h 449"/>
                <a:gd name="T64" fmla="*/ 101 w 595"/>
                <a:gd name="T65" fmla="*/ 219 h 449"/>
                <a:gd name="T66" fmla="*/ 160 w 595"/>
                <a:gd name="T67" fmla="*/ 278 h 449"/>
                <a:gd name="T68" fmla="*/ 160 w 595"/>
                <a:gd name="T69" fmla="*/ 328 h 449"/>
                <a:gd name="T70" fmla="*/ 258 w 595"/>
                <a:gd name="T71" fmla="*/ 426 h 449"/>
                <a:gd name="T72" fmla="*/ 258 w 595"/>
                <a:gd name="T73" fmla="*/ 449 h 449"/>
                <a:gd name="T74" fmla="*/ 280 w 595"/>
                <a:gd name="T75" fmla="*/ 428 h 449"/>
                <a:gd name="T76" fmla="*/ 317 w 595"/>
                <a:gd name="T77" fmla="*/ 428 h 449"/>
                <a:gd name="T78" fmla="*/ 346 w 595"/>
                <a:gd name="T79" fmla="*/ 428 h 449"/>
                <a:gd name="T80" fmla="*/ 367 w 595"/>
                <a:gd name="T81" fmla="*/ 447 h 449"/>
                <a:gd name="T82" fmla="*/ 378 w 595"/>
                <a:gd name="T83" fmla="*/ 447 h 449"/>
                <a:gd name="T84" fmla="*/ 408 w 595"/>
                <a:gd name="T85" fmla="*/ 419 h 449"/>
                <a:gd name="T86" fmla="*/ 422 w 595"/>
                <a:gd name="T87" fmla="*/ 404 h 449"/>
                <a:gd name="T88" fmla="*/ 454 w 595"/>
                <a:gd name="T89" fmla="*/ 404 h 449"/>
                <a:gd name="T90" fmla="*/ 497 w 595"/>
                <a:gd name="T91" fmla="*/ 404 h 449"/>
                <a:gd name="T92" fmla="*/ 520 w 595"/>
                <a:gd name="T93" fmla="*/ 380 h 449"/>
                <a:gd name="T94" fmla="*/ 547 w 595"/>
                <a:gd name="T95" fmla="*/ 353 h 449"/>
                <a:gd name="T96" fmla="*/ 574 w 595"/>
                <a:gd name="T97" fmla="*/ 353 h 449"/>
                <a:gd name="T98" fmla="*/ 595 w 595"/>
                <a:gd name="T99" fmla="*/ 331 h 449"/>
                <a:gd name="T100" fmla="*/ 595 w 595"/>
                <a:gd name="T101" fmla="*/ 301 h 449"/>
                <a:gd name="T102" fmla="*/ 577 w 595"/>
                <a:gd name="T103" fmla="*/ 283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5" h="449">
                  <a:moveTo>
                    <a:pt x="577" y="283"/>
                  </a:moveTo>
                  <a:lnTo>
                    <a:pt x="565" y="294"/>
                  </a:lnTo>
                  <a:lnTo>
                    <a:pt x="529" y="294"/>
                  </a:lnTo>
                  <a:lnTo>
                    <a:pt x="503" y="267"/>
                  </a:lnTo>
                  <a:lnTo>
                    <a:pt x="492" y="267"/>
                  </a:lnTo>
                  <a:lnTo>
                    <a:pt x="492" y="237"/>
                  </a:lnTo>
                  <a:lnTo>
                    <a:pt x="458" y="237"/>
                  </a:lnTo>
                  <a:lnTo>
                    <a:pt x="460" y="198"/>
                  </a:lnTo>
                  <a:lnTo>
                    <a:pt x="460" y="162"/>
                  </a:lnTo>
                  <a:lnTo>
                    <a:pt x="385" y="89"/>
                  </a:lnTo>
                  <a:lnTo>
                    <a:pt x="399" y="75"/>
                  </a:lnTo>
                  <a:lnTo>
                    <a:pt x="358" y="75"/>
                  </a:lnTo>
                  <a:lnTo>
                    <a:pt x="358" y="103"/>
                  </a:lnTo>
                  <a:lnTo>
                    <a:pt x="330" y="103"/>
                  </a:lnTo>
                  <a:lnTo>
                    <a:pt x="313" y="89"/>
                  </a:lnTo>
                  <a:lnTo>
                    <a:pt x="290" y="89"/>
                  </a:lnTo>
                  <a:lnTo>
                    <a:pt x="278" y="75"/>
                  </a:lnTo>
                  <a:lnTo>
                    <a:pt x="278" y="55"/>
                  </a:lnTo>
                  <a:lnTo>
                    <a:pt x="214" y="55"/>
                  </a:lnTo>
                  <a:lnTo>
                    <a:pt x="189" y="28"/>
                  </a:lnTo>
                  <a:lnTo>
                    <a:pt x="158" y="0"/>
                  </a:lnTo>
                  <a:lnTo>
                    <a:pt x="137" y="19"/>
                  </a:lnTo>
                  <a:lnTo>
                    <a:pt x="105" y="19"/>
                  </a:lnTo>
                  <a:lnTo>
                    <a:pt x="105" y="48"/>
                  </a:lnTo>
                  <a:lnTo>
                    <a:pt x="82" y="48"/>
                  </a:lnTo>
                  <a:lnTo>
                    <a:pt x="58" y="69"/>
                  </a:lnTo>
                  <a:lnTo>
                    <a:pt x="34" y="69"/>
                  </a:lnTo>
                  <a:lnTo>
                    <a:pt x="0" y="69"/>
                  </a:lnTo>
                  <a:lnTo>
                    <a:pt x="0" y="82"/>
                  </a:lnTo>
                  <a:lnTo>
                    <a:pt x="37" y="119"/>
                  </a:lnTo>
                  <a:lnTo>
                    <a:pt x="62" y="119"/>
                  </a:lnTo>
                  <a:lnTo>
                    <a:pt x="101" y="158"/>
                  </a:lnTo>
                  <a:lnTo>
                    <a:pt x="101" y="219"/>
                  </a:lnTo>
                  <a:lnTo>
                    <a:pt x="160" y="278"/>
                  </a:lnTo>
                  <a:lnTo>
                    <a:pt x="160" y="328"/>
                  </a:lnTo>
                  <a:lnTo>
                    <a:pt x="258" y="426"/>
                  </a:lnTo>
                  <a:lnTo>
                    <a:pt x="258" y="449"/>
                  </a:lnTo>
                  <a:lnTo>
                    <a:pt x="280" y="428"/>
                  </a:lnTo>
                  <a:lnTo>
                    <a:pt x="317" y="428"/>
                  </a:lnTo>
                  <a:lnTo>
                    <a:pt x="346" y="428"/>
                  </a:lnTo>
                  <a:lnTo>
                    <a:pt x="367" y="447"/>
                  </a:lnTo>
                  <a:lnTo>
                    <a:pt x="378" y="447"/>
                  </a:lnTo>
                  <a:lnTo>
                    <a:pt x="408" y="419"/>
                  </a:lnTo>
                  <a:lnTo>
                    <a:pt x="422" y="404"/>
                  </a:lnTo>
                  <a:lnTo>
                    <a:pt x="454" y="404"/>
                  </a:lnTo>
                  <a:lnTo>
                    <a:pt x="497" y="404"/>
                  </a:lnTo>
                  <a:lnTo>
                    <a:pt x="520" y="380"/>
                  </a:lnTo>
                  <a:lnTo>
                    <a:pt x="547" y="353"/>
                  </a:lnTo>
                  <a:lnTo>
                    <a:pt x="574" y="353"/>
                  </a:lnTo>
                  <a:lnTo>
                    <a:pt x="595" y="331"/>
                  </a:lnTo>
                  <a:lnTo>
                    <a:pt x="595" y="301"/>
                  </a:lnTo>
                  <a:lnTo>
                    <a:pt x="577" y="28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298">
              <a:extLst>
                <a:ext uri="{FF2B5EF4-FFF2-40B4-BE49-F238E27FC236}">
                  <a16:creationId xmlns:a16="http://schemas.microsoft.com/office/drawing/2014/main" id="{5A5ED2F6-36AD-4902-A4CE-BC61C97275AE}"/>
                </a:ext>
              </a:extLst>
            </p:cNvPr>
            <p:cNvSpPr>
              <a:spLocks/>
            </p:cNvSpPr>
            <p:nvPr/>
          </p:nvSpPr>
          <p:spPr bwMode="auto">
            <a:xfrm>
              <a:off x="5156201" y="2954338"/>
              <a:ext cx="201613" cy="209550"/>
            </a:xfrm>
            <a:custGeom>
              <a:avLst/>
              <a:gdLst>
                <a:gd name="T0" fmla="*/ 56 w 254"/>
                <a:gd name="T1" fmla="*/ 216 h 264"/>
                <a:gd name="T2" fmla="*/ 120 w 254"/>
                <a:gd name="T3" fmla="*/ 216 h 264"/>
                <a:gd name="T4" fmla="*/ 120 w 254"/>
                <a:gd name="T5" fmla="*/ 236 h 264"/>
                <a:gd name="T6" fmla="*/ 132 w 254"/>
                <a:gd name="T7" fmla="*/ 250 h 264"/>
                <a:gd name="T8" fmla="*/ 155 w 254"/>
                <a:gd name="T9" fmla="*/ 250 h 264"/>
                <a:gd name="T10" fmla="*/ 172 w 254"/>
                <a:gd name="T11" fmla="*/ 264 h 264"/>
                <a:gd name="T12" fmla="*/ 200 w 254"/>
                <a:gd name="T13" fmla="*/ 264 h 264"/>
                <a:gd name="T14" fmla="*/ 200 w 254"/>
                <a:gd name="T15" fmla="*/ 236 h 264"/>
                <a:gd name="T16" fmla="*/ 241 w 254"/>
                <a:gd name="T17" fmla="*/ 236 h 264"/>
                <a:gd name="T18" fmla="*/ 254 w 254"/>
                <a:gd name="T19" fmla="*/ 223 h 264"/>
                <a:gd name="T20" fmla="*/ 214 w 254"/>
                <a:gd name="T21" fmla="*/ 184 h 264"/>
                <a:gd name="T22" fmla="*/ 214 w 254"/>
                <a:gd name="T23" fmla="*/ 157 h 264"/>
                <a:gd name="T24" fmla="*/ 195 w 254"/>
                <a:gd name="T25" fmla="*/ 138 h 264"/>
                <a:gd name="T26" fmla="*/ 168 w 254"/>
                <a:gd name="T27" fmla="*/ 111 h 264"/>
                <a:gd name="T28" fmla="*/ 152 w 254"/>
                <a:gd name="T29" fmla="*/ 93 h 264"/>
                <a:gd name="T30" fmla="*/ 195 w 254"/>
                <a:gd name="T31" fmla="*/ 50 h 264"/>
                <a:gd name="T32" fmla="*/ 152 w 254"/>
                <a:gd name="T33" fmla="*/ 8 h 264"/>
                <a:gd name="T34" fmla="*/ 152 w 254"/>
                <a:gd name="T35" fmla="*/ 0 h 264"/>
                <a:gd name="T36" fmla="*/ 104 w 254"/>
                <a:gd name="T37" fmla="*/ 0 h 264"/>
                <a:gd name="T38" fmla="*/ 89 w 254"/>
                <a:gd name="T39" fmla="*/ 15 h 264"/>
                <a:gd name="T40" fmla="*/ 82 w 254"/>
                <a:gd name="T41" fmla="*/ 15 h 264"/>
                <a:gd name="T42" fmla="*/ 82 w 254"/>
                <a:gd name="T43" fmla="*/ 31 h 264"/>
                <a:gd name="T44" fmla="*/ 72 w 254"/>
                <a:gd name="T45" fmla="*/ 41 h 264"/>
                <a:gd name="T46" fmla="*/ 72 w 254"/>
                <a:gd name="T47" fmla="*/ 63 h 264"/>
                <a:gd name="T48" fmla="*/ 47 w 254"/>
                <a:gd name="T49" fmla="*/ 90 h 264"/>
                <a:gd name="T50" fmla="*/ 47 w 254"/>
                <a:gd name="T51" fmla="*/ 98 h 264"/>
                <a:gd name="T52" fmla="*/ 9 w 254"/>
                <a:gd name="T53" fmla="*/ 136 h 264"/>
                <a:gd name="T54" fmla="*/ 4 w 254"/>
                <a:gd name="T55" fmla="*/ 141 h 264"/>
                <a:gd name="T56" fmla="*/ 0 w 254"/>
                <a:gd name="T57" fmla="*/ 141 h 264"/>
                <a:gd name="T58" fmla="*/ 0 w 254"/>
                <a:gd name="T59" fmla="*/ 161 h 264"/>
                <a:gd name="T60" fmla="*/ 31 w 254"/>
                <a:gd name="T61" fmla="*/ 189 h 264"/>
                <a:gd name="T62" fmla="*/ 56 w 254"/>
                <a:gd name="T63" fmla="*/ 21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4" h="264">
                  <a:moveTo>
                    <a:pt x="56" y="216"/>
                  </a:moveTo>
                  <a:lnTo>
                    <a:pt x="120" y="216"/>
                  </a:lnTo>
                  <a:lnTo>
                    <a:pt x="120" y="236"/>
                  </a:lnTo>
                  <a:lnTo>
                    <a:pt x="132" y="250"/>
                  </a:lnTo>
                  <a:lnTo>
                    <a:pt x="155" y="250"/>
                  </a:lnTo>
                  <a:lnTo>
                    <a:pt x="172" y="264"/>
                  </a:lnTo>
                  <a:lnTo>
                    <a:pt x="200" y="264"/>
                  </a:lnTo>
                  <a:lnTo>
                    <a:pt x="200" y="236"/>
                  </a:lnTo>
                  <a:lnTo>
                    <a:pt x="241" y="236"/>
                  </a:lnTo>
                  <a:lnTo>
                    <a:pt x="254" y="223"/>
                  </a:lnTo>
                  <a:lnTo>
                    <a:pt x="214" y="184"/>
                  </a:lnTo>
                  <a:lnTo>
                    <a:pt x="214" y="157"/>
                  </a:lnTo>
                  <a:lnTo>
                    <a:pt x="195" y="138"/>
                  </a:lnTo>
                  <a:lnTo>
                    <a:pt x="168" y="111"/>
                  </a:lnTo>
                  <a:lnTo>
                    <a:pt x="152" y="93"/>
                  </a:lnTo>
                  <a:lnTo>
                    <a:pt x="195" y="50"/>
                  </a:lnTo>
                  <a:lnTo>
                    <a:pt x="152" y="8"/>
                  </a:lnTo>
                  <a:lnTo>
                    <a:pt x="152" y="0"/>
                  </a:lnTo>
                  <a:lnTo>
                    <a:pt x="104" y="0"/>
                  </a:lnTo>
                  <a:lnTo>
                    <a:pt x="89" y="15"/>
                  </a:lnTo>
                  <a:lnTo>
                    <a:pt x="82" y="15"/>
                  </a:lnTo>
                  <a:lnTo>
                    <a:pt x="82" y="31"/>
                  </a:lnTo>
                  <a:lnTo>
                    <a:pt x="72" y="41"/>
                  </a:lnTo>
                  <a:lnTo>
                    <a:pt x="72" y="63"/>
                  </a:lnTo>
                  <a:lnTo>
                    <a:pt x="47" y="90"/>
                  </a:lnTo>
                  <a:lnTo>
                    <a:pt x="47" y="98"/>
                  </a:lnTo>
                  <a:lnTo>
                    <a:pt x="9" y="136"/>
                  </a:lnTo>
                  <a:lnTo>
                    <a:pt x="4" y="141"/>
                  </a:lnTo>
                  <a:lnTo>
                    <a:pt x="0" y="141"/>
                  </a:lnTo>
                  <a:lnTo>
                    <a:pt x="0" y="161"/>
                  </a:lnTo>
                  <a:lnTo>
                    <a:pt x="31" y="189"/>
                  </a:lnTo>
                  <a:lnTo>
                    <a:pt x="56" y="21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299">
              <a:extLst>
                <a:ext uri="{FF2B5EF4-FFF2-40B4-BE49-F238E27FC236}">
                  <a16:creationId xmlns:a16="http://schemas.microsoft.com/office/drawing/2014/main" id="{1F6AEA73-199D-40E8-962C-718B725E0D8E}"/>
                </a:ext>
              </a:extLst>
            </p:cNvPr>
            <p:cNvSpPr>
              <a:spLocks/>
            </p:cNvSpPr>
            <p:nvPr/>
          </p:nvSpPr>
          <p:spPr bwMode="auto">
            <a:xfrm>
              <a:off x="2986088" y="1233488"/>
              <a:ext cx="582613" cy="936625"/>
            </a:xfrm>
            <a:custGeom>
              <a:avLst/>
              <a:gdLst>
                <a:gd name="T0" fmla="*/ 369 w 733"/>
                <a:gd name="T1" fmla="*/ 1148 h 1180"/>
                <a:gd name="T2" fmla="*/ 281 w 733"/>
                <a:gd name="T3" fmla="*/ 1089 h 1180"/>
                <a:gd name="T4" fmla="*/ 256 w 733"/>
                <a:gd name="T5" fmla="*/ 962 h 1180"/>
                <a:gd name="T6" fmla="*/ 287 w 733"/>
                <a:gd name="T7" fmla="*/ 891 h 1180"/>
                <a:gd name="T8" fmla="*/ 280 w 733"/>
                <a:gd name="T9" fmla="*/ 838 h 1180"/>
                <a:gd name="T10" fmla="*/ 222 w 733"/>
                <a:gd name="T11" fmla="*/ 806 h 1180"/>
                <a:gd name="T12" fmla="*/ 249 w 733"/>
                <a:gd name="T13" fmla="*/ 731 h 1180"/>
                <a:gd name="T14" fmla="*/ 194 w 733"/>
                <a:gd name="T15" fmla="*/ 665 h 1180"/>
                <a:gd name="T16" fmla="*/ 157 w 733"/>
                <a:gd name="T17" fmla="*/ 599 h 1180"/>
                <a:gd name="T18" fmla="*/ 64 w 733"/>
                <a:gd name="T19" fmla="*/ 606 h 1180"/>
                <a:gd name="T20" fmla="*/ 33 w 733"/>
                <a:gd name="T21" fmla="*/ 561 h 1180"/>
                <a:gd name="T22" fmla="*/ 78 w 733"/>
                <a:gd name="T23" fmla="*/ 531 h 1180"/>
                <a:gd name="T24" fmla="*/ 0 w 733"/>
                <a:gd name="T25" fmla="*/ 485 h 1180"/>
                <a:gd name="T26" fmla="*/ 58 w 733"/>
                <a:gd name="T27" fmla="*/ 403 h 1180"/>
                <a:gd name="T28" fmla="*/ 41 w 733"/>
                <a:gd name="T29" fmla="*/ 330 h 1180"/>
                <a:gd name="T30" fmla="*/ 135 w 733"/>
                <a:gd name="T31" fmla="*/ 200 h 1180"/>
                <a:gd name="T32" fmla="*/ 237 w 733"/>
                <a:gd name="T33" fmla="*/ 208 h 1180"/>
                <a:gd name="T34" fmla="*/ 233 w 733"/>
                <a:gd name="T35" fmla="*/ 150 h 1180"/>
                <a:gd name="T36" fmla="*/ 342 w 733"/>
                <a:gd name="T37" fmla="*/ 185 h 1180"/>
                <a:gd name="T38" fmla="*/ 288 w 733"/>
                <a:gd name="T39" fmla="*/ 96 h 1180"/>
                <a:gd name="T40" fmla="*/ 354 w 733"/>
                <a:gd name="T41" fmla="*/ 36 h 1180"/>
                <a:gd name="T42" fmla="*/ 383 w 733"/>
                <a:gd name="T43" fmla="*/ 27 h 1180"/>
                <a:gd name="T44" fmla="*/ 470 w 733"/>
                <a:gd name="T45" fmla="*/ 0 h 1180"/>
                <a:gd name="T46" fmla="*/ 481 w 733"/>
                <a:gd name="T47" fmla="*/ 55 h 1180"/>
                <a:gd name="T48" fmla="*/ 545 w 733"/>
                <a:gd name="T49" fmla="*/ 39 h 1180"/>
                <a:gd name="T50" fmla="*/ 599 w 733"/>
                <a:gd name="T51" fmla="*/ 116 h 1180"/>
                <a:gd name="T52" fmla="*/ 486 w 733"/>
                <a:gd name="T53" fmla="*/ 144 h 1180"/>
                <a:gd name="T54" fmla="*/ 560 w 733"/>
                <a:gd name="T55" fmla="*/ 135 h 1180"/>
                <a:gd name="T56" fmla="*/ 558 w 733"/>
                <a:gd name="T57" fmla="*/ 212 h 1180"/>
                <a:gd name="T58" fmla="*/ 626 w 733"/>
                <a:gd name="T59" fmla="*/ 139 h 1180"/>
                <a:gd name="T60" fmla="*/ 604 w 733"/>
                <a:gd name="T61" fmla="*/ 207 h 1180"/>
                <a:gd name="T62" fmla="*/ 679 w 733"/>
                <a:gd name="T63" fmla="*/ 194 h 1180"/>
                <a:gd name="T64" fmla="*/ 733 w 733"/>
                <a:gd name="T65" fmla="*/ 221 h 1180"/>
                <a:gd name="T66" fmla="*/ 684 w 733"/>
                <a:gd name="T67" fmla="*/ 301 h 1180"/>
                <a:gd name="T68" fmla="*/ 659 w 733"/>
                <a:gd name="T69" fmla="*/ 408 h 1180"/>
                <a:gd name="T70" fmla="*/ 659 w 733"/>
                <a:gd name="T71" fmla="*/ 492 h 1180"/>
                <a:gd name="T72" fmla="*/ 663 w 733"/>
                <a:gd name="T73" fmla="*/ 561 h 1180"/>
                <a:gd name="T74" fmla="*/ 654 w 733"/>
                <a:gd name="T75" fmla="*/ 609 h 1180"/>
                <a:gd name="T76" fmla="*/ 663 w 733"/>
                <a:gd name="T77" fmla="*/ 683 h 1180"/>
                <a:gd name="T78" fmla="*/ 604 w 733"/>
                <a:gd name="T79" fmla="*/ 716 h 1180"/>
                <a:gd name="T80" fmla="*/ 674 w 733"/>
                <a:gd name="T81" fmla="*/ 807 h 1180"/>
                <a:gd name="T82" fmla="*/ 604 w 733"/>
                <a:gd name="T83" fmla="*/ 781 h 1180"/>
                <a:gd name="T84" fmla="*/ 602 w 733"/>
                <a:gd name="T85" fmla="*/ 841 h 1180"/>
                <a:gd name="T86" fmla="*/ 590 w 733"/>
                <a:gd name="T87" fmla="*/ 866 h 1180"/>
                <a:gd name="T88" fmla="*/ 526 w 733"/>
                <a:gd name="T89" fmla="*/ 962 h 1180"/>
                <a:gd name="T90" fmla="*/ 461 w 733"/>
                <a:gd name="T91" fmla="*/ 1048 h 1180"/>
                <a:gd name="T92" fmla="*/ 420 w 733"/>
                <a:gd name="T93" fmla="*/ 1119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33" h="1180">
                  <a:moveTo>
                    <a:pt x="420" y="1180"/>
                  </a:moveTo>
                  <a:lnTo>
                    <a:pt x="388" y="1148"/>
                  </a:lnTo>
                  <a:lnTo>
                    <a:pt x="369" y="1148"/>
                  </a:lnTo>
                  <a:lnTo>
                    <a:pt x="328" y="1107"/>
                  </a:lnTo>
                  <a:lnTo>
                    <a:pt x="299" y="1107"/>
                  </a:lnTo>
                  <a:lnTo>
                    <a:pt x="281" y="1089"/>
                  </a:lnTo>
                  <a:lnTo>
                    <a:pt x="281" y="1055"/>
                  </a:lnTo>
                  <a:lnTo>
                    <a:pt x="256" y="1030"/>
                  </a:lnTo>
                  <a:lnTo>
                    <a:pt x="256" y="962"/>
                  </a:lnTo>
                  <a:lnTo>
                    <a:pt x="267" y="950"/>
                  </a:lnTo>
                  <a:lnTo>
                    <a:pt x="287" y="930"/>
                  </a:lnTo>
                  <a:lnTo>
                    <a:pt x="287" y="891"/>
                  </a:lnTo>
                  <a:lnTo>
                    <a:pt x="287" y="859"/>
                  </a:lnTo>
                  <a:lnTo>
                    <a:pt x="265" y="838"/>
                  </a:lnTo>
                  <a:lnTo>
                    <a:pt x="280" y="838"/>
                  </a:lnTo>
                  <a:lnTo>
                    <a:pt x="249" y="807"/>
                  </a:lnTo>
                  <a:lnTo>
                    <a:pt x="237" y="820"/>
                  </a:lnTo>
                  <a:lnTo>
                    <a:pt x="222" y="806"/>
                  </a:lnTo>
                  <a:lnTo>
                    <a:pt x="222" y="773"/>
                  </a:lnTo>
                  <a:lnTo>
                    <a:pt x="249" y="747"/>
                  </a:lnTo>
                  <a:lnTo>
                    <a:pt x="249" y="731"/>
                  </a:lnTo>
                  <a:lnTo>
                    <a:pt x="219" y="699"/>
                  </a:lnTo>
                  <a:lnTo>
                    <a:pt x="194" y="699"/>
                  </a:lnTo>
                  <a:lnTo>
                    <a:pt x="194" y="665"/>
                  </a:lnTo>
                  <a:lnTo>
                    <a:pt x="174" y="643"/>
                  </a:lnTo>
                  <a:lnTo>
                    <a:pt x="157" y="626"/>
                  </a:lnTo>
                  <a:lnTo>
                    <a:pt x="157" y="599"/>
                  </a:lnTo>
                  <a:lnTo>
                    <a:pt x="135" y="577"/>
                  </a:lnTo>
                  <a:lnTo>
                    <a:pt x="92" y="577"/>
                  </a:lnTo>
                  <a:lnTo>
                    <a:pt x="64" y="606"/>
                  </a:lnTo>
                  <a:lnTo>
                    <a:pt x="41" y="606"/>
                  </a:lnTo>
                  <a:lnTo>
                    <a:pt x="16" y="581"/>
                  </a:lnTo>
                  <a:lnTo>
                    <a:pt x="33" y="561"/>
                  </a:lnTo>
                  <a:lnTo>
                    <a:pt x="1" y="561"/>
                  </a:lnTo>
                  <a:lnTo>
                    <a:pt x="32" y="531"/>
                  </a:lnTo>
                  <a:lnTo>
                    <a:pt x="78" y="531"/>
                  </a:lnTo>
                  <a:lnTo>
                    <a:pt x="78" y="511"/>
                  </a:lnTo>
                  <a:lnTo>
                    <a:pt x="26" y="511"/>
                  </a:lnTo>
                  <a:lnTo>
                    <a:pt x="0" y="485"/>
                  </a:lnTo>
                  <a:lnTo>
                    <a:pt x="0" y="462"/>
                  </a:lnTo>
                  <a:lnTo>
                    <a:pt x="41" y="422"/>
                  </a:lnTo>
                  <a:lnTo>
                    <a:pt x="58" y="403"/>
                  </a:lnTo>
                  <a:lnTo>
                    <a:pt x="58" y="363"/>
                  </a:lnTo>
                  <a:lnTo>
                    <a:pt x="41" y="346"/>
                  </a:lnTo>
                  <a:lnTo>
                    <a:pt x="41" y="330"/>
                  </a:lnTo>
                  <a:lnTo>
                    <a:pt x="71" y="299"/>
                  </a:lnTo>
                  <a:lnTo>
                    <a:pt x="71" y="264"/>
                  </a:lnTo>
                  <a:lnTo>
                    <a:pt x="135" y="200"/>
                  </a:lnTo>
                  <a:lnTo>
                    <a:pt x="162" y="200"/>
                  </a:lnTo>
                  <a:lnTo>
                    <a:pt x="194" y="166"/>
                  </a:lnTo>
                  <a:lnTo>
                    <a:pt x="237" y="208"/>
                  </a:lnTo>
                  <a:lnTo>
                    <a:pt x="269" y="208"/>
                  </a:lnTo>
                  <a:lnTo>
                    <a:pt x="269" y="183"/>
                  </a:lnTo>
                  <a:lnTo>
                    <a:pt x="233" y="150"/>
                  </a:lnTo>
                  <a:lnTo>
                    <a:pt x="267" y="150"/>
                  </a:lnTo>
                  <a:lnTo>
                    <a:pt x="303" y="185"/>
                  </a:lnTo>
                  <a:lnTo>
                    <a:pt x="342" y="185"/>
                  </a:lnTo>
                  <a:lnTo>
                    <a:pt x="313" y="157"/>
                  </a:lnTo>
                  <a:lnTo>
                    <a:pt x="329" y="139"/>
                  </a:lnTo>
                  <a:lnTo>
                    <a:pt x="288" y="96"/>
                  </a:lnTo>
                  <a:lnTo>
                    <a:pt x="288" y="64"/>
                  </a:lnTo>
                  <a:lnTo>
                    <a:pt x="315" y="36"/>
                  </a:lnTo>
                  <a:lnTo>
                    <a:pt x="354" y="36"/>
                  </a:lnTo>
                  <a:lnTo>
                    <a:pt x="385" y="64"/>
                  </a:lnTo>
                  <a:lnTo>
                    <a:pt x="403" y="46"/>
                  </a:lnTo>
                  <a:lnTo>
                    <a:pt x="383" y="27"/>
                  </a:lnTo>
                  <a:lnTo>
                    <a:pt x="410" y="0"/>
                  </a:lnTo>
                  <a:lnTo>
                    <a:pt x="435" y="0"/>
                  </a:lnTo>
                  <a:lnTo>
                    <a:pt x="470" y="0"/>
                  </a:lnTo>
                  <a:lnTo>
                    <a:pt x="492" y="21"/>
                  </a:lnTo>
                  <a:lnTo>
                    <a:pt x="515" y="21"/>
                  </a:lnTo>
                  <a:lnTo>
                    <a:pt x="481" y="55"/>
                  </a:lnTo>
                  <a:lnTo>
                    <a:pt x="495" y="55"/>
                  </a:lnTo>
                  <a:lnTo>
                    <a:pt x="531" y="55"/>
                  </a:lnTo>
                  <a:lnTo>
                    <a:pt x="545" y="39"/>
                  </a:lnTo>
                  <a:lnTo>
                    <a:pt x="576" y="69"/>
                  </a:lnTo>
                  <a:lnTo>
                    <a:pt x="599" y="91"/>
                  </a:lnTo>
                  <a:lnTo>
                    <a:pt x="599" y="116"/>
                  </a:lnTo>
                  <a:lnTo>
                    <a:pt x="547" y="116"/>
                  </a:lnTo>
                  <a:lnTo>
                    <a:pt x="513" y="116"/>
                  </a:lnTo>
                  <a:lnTo>
                    <a:pt x="486" y="144"/>
                  </a:lnTo>
                  <a:lnTo>
                    <a:pt x="486" y="166"/>
                  </a:lnTo>
                  <a:lnTo>
                    <a:pt x="517" y="135"/>
                  </a:lnTo>
                  <a:lnTo>
                    <a:pt x="560" y="135"/>
                  </a:lnTo>
                  <a:lnTo>
                    <a:pt x="560" y="166"/>
                  </a:lnTo>
                  <a:lnTo>
                    <a:pt x="535" y="189"/>
                  </a:lnTo>
                  <a:lnTo>
                    <a:pt x="558" y="212"/>
                  </a:lnTo>
                  <a:lnTo>
                    <a:pt x="595" y="173"/>
                  </a:lnTo>
                  <a:lnTo>
                    <a:pt x="595" y="139"/>
                  </a:lnTo>
                  <a:lnTo>
                    <a:pt x="626" y="139"/>
                  </a:lnTo>
                  <a:lnTo>
                    <a:pt x="649" y="162"/>
                  </a:lnTo>
                  <a:lnTo>
                    <a:pt x="629" y="182"/>
                  </a:lnTo>
                  <a:lnTo>
                    <a:pt x="604" y="207"/>
                  </a:lnTo>
                  <a:lnTo>
                    <a:pt x="622" y="226"/>
                  </a:lnTo>
                  <a:lnTo>
                    <a:pt x="654" y="194"/>
                  </a:lnTo>
                  <a:lnTo>
                    <a:pt x="679" y="194"/>
                  </a:lnTo>
                  <a:lnTo>
                    <a:pt x="702" y="171"/>
                  </a:lnTo>
                  <a:lnTo>
                    <a:pt x="733" y="171"/>
                  </a:lnTo>
                  <a:lnTo>
                    <a:pt x="733" y="221"/>
                  </a:lnTo>
                  <a:lnTo>
                    <a:pt x="713" y="242"/>
                  </a:lnTo>
                  <a:lnTo>
                    <a:pt x="713" y="273"/>
                  </a:lnTo>
                  <a:lnTo>
                    <a:pt x="684" y="301"/>
                  </a:lnTo>
                  <a:lnTo>
                    <a:pt x="684" y="349"/>
                  </a:lnTo>
                  <a:lnTo>
                    <a:pt x="659" y="372"/>
                  </a:lnTo>
                  <a:lnTo>
                    <a:pt x="659" y="408"/>
                  </a:lnTo>
                  <a:lnTo>
                    <a:pt x="634" y="433"/>
                  </a:lnTo>
                  <a:lnTo>
                    <a:pt x="634" y="467"/>
                  </a:lnTo>
                  <a:lnTo>
                    <a:pt x="659" y="492"/>
                  </a:lnTo>
                  <a:lnTo>
                    <a:pt x="695" y="492"/>
                  </a:lnTo>
                  <a:lnTo>
                    <a:pt x="695" y="529"/>
                  </a:lnTo>
                  <a:lnTo>
                    <a:pt x="663" y="561"/>
                  </a:lnTo>
                  <a:lnTo>
                    <a:pt x="684" y="561"/>
                  </a:lnTo>
                  <a:lnTo>
                    <a:pt x="684" y="579"/>
                  </a:lnTo>
                  <a:lnTo>
                    <a:pt x="654" y="609"/>
                  </a:lnTo>
                  <a:lnTo>
                    <a:pt x="681" y="634"/>
                  </a:lnTo>
                  <a:lnTo>
                    <a:pt x="681" y="665"/>
                  </a:lnTo>
                  <a:lnTo>
                    <a:pt x="663" y="683"/>
                  </a:lnTo>
                  <a:lnTo>
                    <a:pt x="649" y="695"/>
                  </a:lnTo>
                  <a:lnTo>
                    <a:pt x="624" y="695"/>
                  </a:lnTo>
                  <a:lnTo>
                    <a:pt x="604" y="716"/>
                  </a:lnTo>
                  <a:lnTo>
                    <a:pt x="647" y="759"/>
                  </a:lnTo>
                  <a:lnTo>
                    <a:pt x="647" y="781"/>
                  </a:lnTo>
                  <a:lnTo>
                    <a:pt x="674" y="807"/>
                  </a:lnTo>
                  <a:lnTo>
                    <a:pt x="652" y="829"/>
                  </a:lnTo>
                  <a:lnTo>
                    <a:pt x="624" y="800"/>
                  </a:lnTo>
                  <a:lnTo>
                    <a:pt x="604" y="781"/>
                  </a:lnTo>
                  <a:lnTo>
                    <a:pt x="583" y="800"/>
                  </a:lnTo>
                  <a:lnTo>
                    <a:pt x="583" y="823"/>
                  </a:lnTo>
                  <a:lnTo>
                    <a:pt x="602" y="841"/>
                  </a:lnTo>
                  <a:lnTo>
                    <a:pt x="642" y="841"/>
                  </a:lnTo>
                  <a:lnTo>
                    <a:pt x="617" y="866"/>
                  </a:lnTo>
                  <a:lnTo>
                    <a:pt x="590" y="866"/>
                  </a:lnTo>
                  <a:lnTo>
                    <a:pt x="568" y="888"/>
                  </a:lnTo>
                  <a:lnTo>
                    <a:pt x="526" y="932"/>
                  </a:lnTo>
                  <a:lnTo>
                    <a:pt x="526" y="962"/>
                  </a:lnTo>
                  <a:lnTo>
                    <a:pt x="488" y="998"/>
                  </a:lnTo>
                  <a:lnTo>
                    <a:pt x="461" y="1025"/>
                  </a:lnTo>
                  <a:lnTo>
                    <a:pt x="461" y="1048"/>
                  </a:lnTo>
                  <a:lnTo>
                    <a:pt x="440" y="1069"/>
                  </a:lnTo>
                  <a:lnTo>
                    <a:pt x="440" y="1100"/>
                  </a:lnTo>
                  <a:lnTo>
                    <a:pt x="420" y="1119"/>
                  </a:lnTo>
                  <a:lnTo>
                    <a:pt x="420" y="118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300">
              <a:extLst>
                <a:ext uri="{FF2B5EF4-FFF2-40B4-BE49-F238E27FC236}">
                  <a16:creationId xmlns:a16="http://schemas.microsoft.com/office/drawing/2014/main" id="{D823A2F8-BC58-4155-A7A0-818DDAA36471}"/>
                </a:ext>
              </a:extLst>
            </p:cNvPr>
            <p:cNvSpPr>
              <a:spLocks/>
            </p:cNvSpPr>
            <p:nvPr/>
          </p:nvSpPr>
          <p:spPr bwMode="auto">
            <a:xfrm>
              <a:off x="6408738" y="3313113"/>
              <a:ext cx="141288" cy="176213"/>
            </a:xfrm>
            <a:custGeom>
              <a:avLst/>
              <a:gdLst>
                <a:gd name="T0" fmla="*/ 151 w 178"/>
                <a:gd name="T1" fmla="*/ 145 h 223"/>
                <a:gd name="T2" fmla="*/ 139 w 178"/>
                <a:gd name="T3" fmla="*/ 132 h 223"/>
                <a:gd name="T4" fmla="*/ 139 w 178"/>
                <a:gd name="T5" fmla="*/ 113 h 223"/>
                <a:gd name="T6" fmla="*/ 126 w 178"/>
                <a:gd name="T7" fmla="*/ 100 h 223"/>
                <a:gd name="T8" fmla="*/ 117 w 178"/>
                <a:gd name="T9" fmla="*/ 90 h 223"/>
                <a:gd name="T10" fmla="*/ 107 w 178"/>
                <a:gd name="T11" fmla="*/ 81 h 223"/>
                <a:gd name="T12" fmla="*/ 126 w 178"/>
                <a:gd name="T13" fmla="*/ 61 h 223"/>
                <a:gd name="T14" fmla="*/ 105 w 178"/>
                <a:gd name="T15" fmla="*/ 41 h 223"/>
                <a:gd name="T16" fmla="*/ 76 w 178"/>
                <a:gd name="T17" fmla="*/ 41 h 223"/>
                <a:gd name="T18" fmla="*/ 76 w 178"/>
                <a:gd name="T19" fmla="*/ 16 h 223"/>
                <a:gd name="T20" fmla="*/ 60 w 178"/>
                <a:gd name="T21" fmla="*/ 0 h 223"/>
                <a:gd name="T22" fmla="*/ 42 w 178"/>
                <a:gd name="T23" fmla="*/ 18 h 223"/>
                <a:gd name="T24" fmla="*/ 19 w 178"/>
                <a:gd name="T25" fmla="*/ 41 h 223"/>
                <a:gd name="T26" fmla="*/ 0 w 178"/>
                <a:gd name="T27" fmla="*/ 61 h 223"/>
                <a:gd name="T28" fmla="*/ 26 w 178"/>
                <a:gd name="T29" fmla="*/ 86 h 223"/>
                <a:gd name="T30" fmla="*/ 26 w 178"/>
                <a:gd name="T31" fmla="*/ 102 h 223"/>
                <a:gd name="T32" fmla="*/ 26 w 178"/>
                <a:gd name="T33" fmla="*/ 131 h 223"/>
                <a:gd name="T34" fmla="*/ 58 w 178"/>
                <a:gd name="T35" fmla="*/ 131 h 223"/>
                <a:gd name="T36" fmla="*/ 76 w 178"/>
                <a:gd name="T37" fmla="*/ 113 h 223"/>
                <a:gd name="T38" fmla="*/ 96 w 178"/>
                <a:gd name="T39" fmla="*/ 113 h 223"/>
                <a:gd name="T40" fmla="*/ 126 w 178"/>
                <a:gd name="T41" fmla="*/ 145 h 223"/>
                <a:gd name="T42" fmla="*/ 126 w 178"/>
                <a:gd name="T43" fmla="*/ 173 h 223"/>
                <a:gd name="T44" fmla="*/ 148 w 178"/>
                <a:gd name="T45" fmla="*/ 195 h 223"/>
                <a:gd name="T46" fmla="*/ 148 w 178"/>
                <a:gd name="T47" fmla="*/ 223 h 223"/>
                <a:gd name="T48" fmla="*/ 171 w 178"/>
                <a:gd name="T49" fmla="*/ 223 h 223"/>
                <a:gd name="T50" fmla="*/ 178 w 178"/>
                <a:gd name="T51" fmla="*/ 223 h 223"/>
                <a:gd name="T52" fmla="*/ 178 w 178"/>
                <a:gd name="T53" fmla="*/ 195 h 223"/>
                <a:gd name="T54" fmla="*/ 178 w 178"/>
                <a:gd name="T55" fmla="*/ 171 h 223"/>
                <a:gd name="T56" fmla="*/ 151 w 178"/>
                <a:gd name="T57" fmla="*/ 14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8" h="223">
                  <a:moveTo>
                    <a:pt x="151" y="145"/>
                  </a:moveTo>
                  <a:lnTo>
                    <a:pt x="139" y="132"/>
                  </a:lnTo>
                  <a:lnTo>
                    <a:pt x="139" y="113"/>
                  </a:lnTo>
                  <a:lnTo>
                    <a:pt x="126" y="100"/>
                  </a:lnTo>
                  <a:lnTo>
                    <a:pt x="117" y="90"/>
                  </a:lnTo>
                  <a:lnTo>
                    <a:pt x="107" y="81"/>
                  </a:lnTo>
                  <a:lnTo>
                    <a:pt x="126" y="61"/>
                  </a:lnTo>
                  <a:lnTo>
                    <a:pt x="105" y="41"/>
                  </a:lnTo>
                  <a:lnTo>
                    <a:pt x="76" y="41"/>
                  </a:lnTo>
                  <a:lnTo>
                    <a:pt x="76" y="16"/>
                  </a:lnTo>
                  <a:lnTo>
                    <a:pt x="60" y="0"/>
                  </a:lnTo>
                  <a:lnTo>
                    <a:pt x="42" y="18"/>
                  </a:lnTo>
                  <a:lnTo>
                    <a:pt x="19" y="41"/>
                  </a:lnTo>
                  <a:lnTo>
                    <a:pt x="0" y="61"/>
                  </a:lnTo>
                  <a:lnTo>
                    <a:pt x="26" y="86"/>
                  </a:lnTo>
                  <a:lnTo>
                    <a:pt x="26" y="102"/>
                  </a:lnTo>
                  <a:lnTo>
                    <a:pt x="26" y="131"/>
                  </a:lnTo>
                  <a:lnTo>
                    <a:pt x="58" y="131"/>
                  </a:lnTo>
                  <a:lnTo>
                    <a:pt x="76" y="113"/>
                  </a:lnTo>
                  <a:lnTo>
                    <a:pt x="96" y="113"/>
                  </a:lnTo>
                  <a:lnTo>
                    <a:pt x="126" y="145"/>
                  </a:lnTo>
                  <a:lnTo>
                    <a:pt x="126" y="173"/>
                  </a:lnTo>
                  <a:lnTo>
                    <a:pt x="148" y="195"/>
                  </a:lnTo>
                  <a:lnTo>
                    <a:pt x="148" y="223"/>
                  </a:lnTo>
                  <a:lnTo>
                    <a:pt x="171" y="223"/>
                  </a:lnTo>
                  <a:lnTo>
                    <a:pt x="178" y="223"/>
                  </a:lnTo>
                  <a:lnTo>
                    <a:pt x="178" y="195"/>
                  </a:lnTo>
                  <a:lnTo>
                    <a:pt x="178" y="171"/>
                  </a:lnTo>
                  <a:lnTo>
                    <a:pt x="151" y="14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301">
              <a:extLst>
                <a:ext uri="{FF2B5EF4-FFF2-40B4-BE49-F238E27FC236}">
                  <a16:creationId xmlns:a16="http://schemas.microsoft.com/office/drawing/2014/main" id="{31E59F08-4DD3-4CAC-9930-1A6A7EC47192}"/>
                </a:ext>
              </a:extLst>
            </p:cNvPr>
            <p:cNvSpPr>
              <a:spLocks/>
            </p:cNvSpPr>
            <p:nvPr/>
          </p:nvSpPr>
          <p:spPr bwMode="auto">
            <a:xfrm>
              <a:off x="6489701" y="3719513"/>
              <a:ext cx="20638" cy="25400"/>
            </a:xfrm>
            <a:custGeom>
              <a:avLst/>
              <a:gdLst>
                <a:gd name="T0" fmla="*/ 9 w 25"/>
                <a:gd name="T1" fmla="*/ 32 h 32"/>
                <a:gd name="T2" fmla="*/ 25 w 25"/>
                <a:gd name="T3" fmla="*/ 18 h 32"/>
                <a:gd name="T4" fmla="*/ 25 w 25"/>
                <a:gd name="T5" fmla="*/ 0 h 32"/>
                <a:gd name="T6" fmla="*/ 0 w 25"/>
                <a:gd name="T7" fmla="*/ 25 h 32"/>
                <a:gd name="T8" fmla="*/ 9 w 25"/>
                <a:gd name="T9" fmla="*/ 32 h 32"/>
              </a:gdLst>
              <a:ahLst/>
              <a:cxnLst>
                <a:cxn ang="0">
                  <a:pos x="T0" y="T1"/>
                </a:cxn>
                <a:cxn ang="0">
                  <a:pos x="T2" y="T3"/>
                </a:cxn>
                <a:cxn ang="0">
                  <a:pos x="T4" y="T5"/>
                </a:cxn>
                <a:cxn ang="0">
                  <a:pos x="T6" y="T7"/>
                </a:cxn>
                <a:cxn ang="0">
                  <a:pos x="T8" y="T9"/>
                </a:cxn>
              </a:cxnLst>
              <a:rect l="0" t="0" r="r" b="b"/>
              <a:pathLst>
                <a:path w="25" h="32">
                  <a:moveTo>
                    <a:pt x="9" y="32"/>
                  </a:moveTo>
                  <a:lnTo>
                    <a:pt x="25" y="18"/>
                  </a:lnTo>
                  <a:lnTo>
                    <a:pt x="25" y="0"/>
                  </a:lnTo>
                  <a:lnTo>
                    <a:pt x="0" y="25"/>
                  </a:lnTo>
                  <a:lnTo>
                    <a:pt x="9" y="3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302">
              <a:extLst>
                <a:ext uri="{FF2B5EF4-FFF2-40B4-BE49-F238E27FC236}">
                  <a16:creationId xmlns:a16="http://schemas.microsoft.com/office/drawing/2014/main" id="{F61AB607-4820-4E33-BF6E-FF9AD12B8402}"/>
                </a:ext>
              </a:extLst>
            </p:cNvPr>
            <p:cNvSpPr>
              <a:spLocks/>
            </p:cNvSpPr>
            <p:nvPr/>
          </p:nvSpPr>
          <p:spPr bwMode="auto">
            <a:xfrm>
              <a:off x="6419851" y="3629025"/>
              <a:ext cx="90488" cy="111125"/>
            </a:xfrm>
            <a:custGeom>
              <a:avLst/>
              <a:gdLst>
                <a:gd name="T0" fmla="*/ 10 w 112"/>
                <a:gd name="T1" fmla="*/ 9 h 139"/>
                <a:gd name="T2" fmla="*/ 10 w 112"/>
                <a:gd name="T3" fmla="*/ 60 h 139"/>
                <a:gd name="T4" fmla="*/ 87 w 112"/>
                <a:gd name="T5" fmla="*/ 139 h 139"/>
                <a:gd name="T6" fmla="*/ 112 w 112"/>
                <a:gd name="T7" fmla="*/ 114 h 139"/>
                <a:gd name="T8" fmla="*/ 112 w 112"/>
                <a:gd name="T9" fmla="*/ 51 h 139"/>
                <a:gd name="T10" fmla="*/ 59 w 112"/>
                <a:gd name="T11" fmla="*/ 0 h 139"/>
                <a:gd name="T12" fmla="*/ 28 w 112"/>
                <a:gd name="T13" fmla="*/ 0 h 139"/>
                <a:gd name="T14" fmla="*/ 0 w 112"/>
                <a:gd name="T15" fmla="*/ 0 h 139"/>
                <a:gd name="T16" fmla="*/ 10 w 112"/>
                <a:gd name="T17"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39">
                  <a:moveTo>
                    <a:pt x="10" y="9"/>
                  </a:moveTo>
                  <a:lnTo>
                    <a:pt x="10" y="60"/>
                  </a:lnTo>
                  <a:lnTo>
                    <a:pt x="87" y="139"/>
                  </a:lnTo>
                  <a:lnTo>
                    <a:pt x="112" y="114"/>
                  </a:lnTo>
                  <a:lnTo>
                    <a:pt x="112" y="51"/>
                  </a:lnTo>
                  <a:lnTo>
                    <a:pt x="59" y="0"/>
                  </a:lnTo>
                  <a:lnTo>
                    <a:pt x="28" y="0"/>
                  </a:lnTo>
                  <a:lnTo>
                    <a:pt x="0" y="0"/>
                  </a:lnTo>
                  <a:lnTo>
                    <a:pt x="10" y="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303">
              <a:extLst>
                <a:ext uri="{FF2B5EF4-FFF2-40B4-BE49-F238E27FC236}">
                  <a16:creationId xmlns:a16="http://schemas.microsoft.com/office/drawing/2014/main" id="{AD7E1495-2B37-4BFE-A42A-C3E55F97F3A9}"/>
                </a:ext>
              </a:extLst>
            </p:cNvPr>
            <p:cNvSpPr>
              <a:spLocks/>
            </p:cNvSpPr>
            <p:nvPr/>
          </p:nvSpPr>
          <p:spPr bwMode="auto">
            <a:xfrm>
              <a:off x="4659313" y="2560638"/>
              <a:ext cx="4763" cy="3175"/>
            </a:xfrm>
            <a:custGeom>
              <a:avLst/>
              <a:gdLst>
                <a:gd name="T0" fmla="*/ 0 w 6"/>
                <a:gd name="T1" fmla="*/ 5 h 5"/>
                <a:gd name="T2" fmla="*/ 6 w 6"/>
                <a:gd name="T3" fmla="*/ 0 h 5"/>
                <a:gd name="T4" fmla="*/ 0 w 6"/>
                <a:gd name="T5" fmla="*/ 5 h 5"/>
                <a:gd name="T6" fmla="*/ 0 w 6"/>
                <a:gd name="T7" fmla="*/ 5 h 5"/>
              </a:gdLst>
              <a:ahLst/>
              <a:cxnLst>
                <a:cxn ang="0">
                  <a:pos x="T0" y="T1"/>
                </a:cxn>
                <a:cxn ang="0">
                  <a:pos x="T2" y="T3"/>
                </a:cxn>
                <a:cxn ang="0">
                  <a:pos x="T4" y="T5"/>
                </a:cxn>
                <a:cxn ang="0">
                  <a:pos x="T6" y="T7"/>
                </a:cxn>
              </a:cxnLst>
              <a:rect l="0" t="0" r="r" b="b"/>
              <a:pathLst>
                <a:path w="6" h="5">
                  <a:moveTo>
                    <a:pt x="0" y="5"/>
                  </a:moveTo>
                  <a:lnTo>
                    <a:pt x="6" y="0"/>
                  </a:lnTo>
                  <a:lnTo>
                    <a:pt x="0" y="5"/>
                  </a:lnTo>
                  <a:lnTo>
                    <a:pt x="0" y="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304">
              <a:extLst>
                <a:ext uri="{FF2B5EF4-FFF2-40B4-BE49-F238E27FC236}">
                  <a16:creationId xmlns:a16="http://schemas.microsoft.com/office/drawing/2014/main" id="{160CFBC1-7F11-4C98-8D83-9BC963E60F86}"/>
                </a:ext>
              </a:extLst>
            </p:cNvPr>
            <p:cNvSpPr>
              <a:spLocks/>
            </p:cNvSpPr>
            <p:nvPr/>
          </p:nvSpPr>
          <p:spPr bwMode="auto">
            <a:xfrm>
              <a:off x="4484688" y="2663825"/>
              <a:ext cx="82550" cy="52388"/>
            </a:xfrm>
            <a:custGeom>
              <a:avLst/>
              <a:gdLst>
                <a:gd name="T0" fmla="*/ 56 w 105"/>
                <a:gd name="T1" fmla="*/ 48 h 66"/>
                <a:gd name="T2" fmla="*/ 72 w 105"/>
                <a:gd name="T3" fmla="*/ 66 h 66"/>
                <a:gd name="T4" fmla="*/ 88 w 105"/>
                <a:gd name="T5" fmla="*/ 50 h 66"/>
                <a:gd name="T6" fmla="*/ 105 w 105"/>
                <a:gd name="T7" fmla="*/ 50 h 66"/>
                <a:gd name="T8" fmla="*/ 105 w 105"/>
                <a:gd name="T9" fmla="*/ 29 h 66"/>
                <a:gd name="T10" fmla="*/ 93 w 105"/>
                <a:gd name="T11" fmla="*/ 14 h 66"/>
                <a:gd name="T12" fmla="*/ 89 w 105"/>
                <a:gd name="T13" fmla="*/ 11 h 66"/>
                <a:gd name="T14" fmla="*/ 89 w 105"/>
                <a:gd name="T15" fmla="*/ 0 h 66"/>
                <a:gd name="T16" fmla="*/ 61 w 105"/>
                <a:gd name="T17" fmla="*/ 0 h 66"/>
                <a:gd name="T18" fmla="*/ 34 w 105"/>
                <a:gd name="T19" fmla="*/ 0 h 66"/>
                <a:gd name="T20" fmla="*/ 22 w 105"/>
                <a:gd name="T21" fmla="*/ 12 h 66"/>
                <a:gd name="T22" fmla="*/ 22 w 105"/>
                <a:gd name="T23" fmla="*/ 20 h 66"/>
                <a:gd name="T24" fmla="*/ 0 w 105"/>
                <a:gd name="T25" fmla="*/ 39 h 66"/>
                <a:gd name="T26" fmla="*/ 0 w 105"/>
                <a:gd name="T27" fmla="*/ 61 h 66"/>
                <a:gd name="T28" fmla="*/ 16 w 105"/>
                <a:gd name="T29" fmla="*/ 61 h 66"/>
                <a:gd name="T30" fmla="*/ 43 w 105"/>
                <a:gd name="T31" fmla="*/ 61 h 66"/>
                <a:gd name="T32" fmla="*/ 56 w 105"/>
                <a:gd name="T33" fmla="*/ 4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66">
                  <a:moveTo>
                    <a:pt x="56" y="48"/>
                  </a:moveTo>
                  <a:lnTo>
                    <a:pt x="72" y="66"/>
                  </a:lnTo>
                  <a:lnTo>
                    <a:pt x="88" y="50"/>
                  </a:lnTo>
                  <a:lnTo>
                    <a:pt x="105" y="50"/>
                  </a:lnTo>
                  <a:lnTo>
                    <a:pt x="105" y="29"/>
                  </a:lnTo>
                  <a:lnTo>
                    <a:pt x="93" y="14"/>
                  </a:lnTo>
                  <a:lnTo>
                    <a:pt x="89" y="11"/>
                  </a:lnTo>
                  <a:lnTo>
                    <a:pt x="89" y="0"/>
                  </a:lnTo>
                  <a:lnTo>
                    <a:pt x="61" y="0"/>
                  </a:lnTo>
                  <a:lnTo>
                    <a:pt x="34" y="0"/>
                  </a:lnTo>
                  <a:lnTo>
                    <a:pt x="22" y="12"/>
                  </a:lnTo>
                  <a:lnTo>
                    <a:pt x="22" y="20"/>
                  </a:lnTo>
                  <a:lnTo>
                    <a:pt x="0" y="39"/>
                  </a:lnTo>
                  <a:lnTo>
                    <a:pt x="0" y="61"/>
                  </a:lnTo>
                  <a:lnTo>
                    <a:pt x="16" y="61"/>
                  </a:lnTo>
                  <a:lnTo>
                    <a:pt x="43" y="61"/>
                  </a:lnTo>
                  <a:lnTo>
                    <a:pt x="56" y="4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305">
              <a:extLst>
                <a:ext uri="{FF2B5EF4-FFF2-40B4-BE49-F238E27FC236}">
                  <a16:creationId xmlns:a16="http://schemas.microsoft.com/office/drawing/2014/main" id="{66F920C2-80FC-42B3-BCCB-6B2DFF802855}"/>
                </a:ext>
              </a:extLst>
            </p:cNvPr>
            <p:cNvSpPr>
              <a:spLocks/>
            </p:cNvSpPr>
            <p:nvPr/>
          </p:nvSpPr>
          <p:spPr bwMode="auto">
            <a:xfrm>
              <a:off x="4473576" y="2425700"/>
              <a:ext cx="190500" cy="249238"/>
            </a:xfrm>
            <a:custGeom>
              <a:avLst/>
              <a:gdLst>
                <a:gd name="T0" fmla="*/ 225 w 241"/>
                <a:gd name="T1" fmla="*/ 108 h 313"/>
                <a:gd name="T2" fmla="*/ 225 w 241"/>
                <a:gd name="T3" fmla="*/ 60 h 313"/>
                <a:gd name="T4" fmla="*/ 218 w 241"/>
                <a:gd name="T5" fmla="*/ 60 h 313"/>
                <a:gd name="T6" fmla="*/ 189 w 241"/>
                <a:gd name="T7" fmla="*/ 30 h 313"/>
                <a:gd name="T8" fmla="*/ 173 w 241"/>
                <a:gd name="T9" fmla="*/ 30 h 313"/>
                <a:gd name="T10" fmla="*/ 157 w 241"/>
                <a:gd name="T11" fmla="*/ 46 h 313"/>
                <a:gd name="T12" fmla="*/ 128 w 241"/>
                <a:gd name="T13" fmla="*/ 46 h 313"/>
                <a:gd name="T14" fmla="*/ 128 w 241"/>
                <a:gd name="T15" fmla="*/ 26 h 313"/>
                <a:gd name="T16" fmla="*/ 103 w 241"/>
                <a:gd name="T17" fmla="*/ 0 h 313"/>
                <a:gd name="T18" fmla="*/ 75 w 241"/>
                <a:gd name="T19" fmla="*/ 0 h 313"/>
                <a:gd name="T20" fmla="*/ 75 w 241"/>
                <a:gd name="T21" fmla="*/ 43 h 313"/>
                <a:gd name="T22" fmla="*/ 62 w 241"/>
                <a:gd name="T23" fmla="*/ 55 h 313"/>
                <a:gd name="T24" fmla="*/ 43 w 241"/>
                <a:gd name="T25" fmla="*/ 55 h 313"/>
                <a:gd name="T26" fmla="*/ 43 w 241"/>
                <a:gd name="T27" fmla="*/ 94 h 313"/>
                <a:gd name="T28" fmla="*/ 29 w 241"/>
                <a:gd name="T29" fmla="*/ 108 h 313"/>
                <a:gd name="T30" fmla="*/ 29 w 241"/>
                <a:gd name="T31" fmla="*/ 130 h 313"/>
                <a:gd name="T32" fmla="*/ 18 w 241"/>
                <a:gd name="T33" fmla="*/ 139 h 313"/>
                <a:gd name="T34" fmla="*/ 18 w 241"/>
                <a:gd name="T35" fmla="*/ 160 h 313"/>
                <a:gd name="T36" fmla="*/ 0 w 241"/>
                <a:gd name="T37" fmla="*/ 160 h 313"/>
                <a:gd name="T38" fmla="*/ 0 w 241"/>
                <a:gd name="T39" fmla="*/ 178 h 313"/>
                <a:gd name="T40" fmla="*/ 13 w 241"/>
                <a:gd name="T41" fmla="*/ 187 h 313"/>
                <a:gd name="T42" fmla="*/ 13 w 241"/>
                <a:gd name="T43" fmla="*/ 212 h 313"/>
                <a:gd name="T44" fmla="*/ 25 w 241"/>
                <a:gd name="T45" fmla="*/ 212 h 313"/>
                <a:gd name="T46" fmla="*/ 25 w 241"/>
                <a:gd name="T47" fmla="*/ 240 h 313"/>
                <a:gd name="T48" fmla="*/ 30 w 241"/>
                <a:gd name="T49" fmla="*/ 240 h 313"/>
                <a:gd name="T50" fmla="*/ 50 w 241"/>
                <a:gd name="T51" fmla="*/ 260 h 313"/>
                <a:gd name="T52" fmla="*/ 50 w 241"/>
                <a:gd name="T53" fmla="*/ 289 h 313"/>
                <a:gd name="T54" fmla="*/ 36 w 241"/>
                <a:gd name="T55" fmla="*/ 305 h 313"/>
                <a:gd name="T56" fmla="*/ 36 w 241"/>
                <a:gd name="T57" fmla="*/ 313 h 313"/>
                <a:gd name="T58" fmla="*/ 48 w 241"/>
                <a:gd name="T59" fmla="*/ 301 h 313"/>
                <a:gd name="T60" fmla="*/ 75 w 241"/>
                <a:gd name="T61" fmla="*/ 301 h 313"/>
                <a:gd name="T62" fmla="*/ 103 w 241"/>
                <a:gd name="T63" fmla="*/ 301 h 313"/>
                <a:gd name="T64" fmla="*/ 127 w 241"/>
                <a:gd name="T65" fmla="*/ 301 h 313"/>
                <a:gd name="T66" fmla="*/ 139 w 241"/>
                <a:gd name="T67" fmla="*/ 312 h 313"/>
                <a:gd name="T68" fmla="*/ 153 w 241"/>
                <a:gd name="T69" fmla="*/ 312 h 313"/>
                <a:gd name="T70" fmla="*/ 162 w 241"/>
                <a:gd name="T71" fmla="*/ 303 h 313"/>
                <a:gd name="T72" fmla="*/ 184 w 241"/>
                <a:gd name="T73" fmla="*/ 303 h 313"/>
                <a:gd name="T74" fmla="*/ 184 w 241"/>
                <a:gd name="T75" fmla="*/ 281 h 313"/>
                <a:gd name="T76" fmla="*/ 198 w 241"/>
                <a:gd name="T77" fmla="*/ 267 h 313"/>
                <a:gd name="T78" fmla="*/ 203 w 241"/>
                <a:gd name="T79" fmla="*/ 272 h 313"/>
                <a:gd name="T80" fmla="*/ 214 w 241"/>
                <a:gd name="T81" fmla="*/ 264 h 313"/>
                <a:gd name="T82" fmla="*/ 166 w 241"/>
                <a:gd name="T83" fmla="*/ 215 h 313"/>
                <a:gd name="T84" fmla="*/ 166 w 241"/>
                <a:gd name="T85" fmla="*/ 198 h 313"/>
                <a:gd name="T86" fmla="*/ 178 w 241"/>
                <a:gd name="T87" fmla="*/ 198 h 313"/>
                <a:gd name="T88" fmla="*/ 194 w 241"/>
                <a:gd name="T89" fmla="*/ 183 h 313"/>
                <a:gd name="T90" fmla="*/ 205 w 241"/>
                <a:gd name="T91" fmla="*/ 183 h 313"/>
                <a:gd name="T92" fmla="*/ 225 w 241"/>
                <a:gd name="T93" fmla="*/ 164 h 313"/>
                <a:gd name="T94" fmla="*/ 235 w 241"/>
                <a:gd name="T95" fmla="*/ 174 h 313"/>
                <a:gd name="T96" fmla="*/ 241 w 241"/>
                <a:gd name="T97" fmla="*/ 169 h 313"/>
                <a:gd name="T98" fmla="*/ 241 w 241"/>
                <a:gd name="T99" fmla="*/ 126 h 313"/>
                <a:gd name="T100" fmla="*/ 225 w 241"/>
                <a:gd name="T101" fmla="*/ 108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1" h="313">
                  <a:moveTo>
                    <a:pt x="225" y="108"/>
                  </a:moveTo>
                  <a:lnTo>
                    <a:pt x="225" y="60"/>
                  </a:lnTo>
                  <a:lnTo>
                    <a:pt x="218" y="60"/>
                  </a:lnTo>
                  <a:lnTo>
                    <a:pt x="189" y="30"/>
                  </a:lnTo>
                  <a:lnTo>
                    <a:pt x="173" y="30"/>
                  </a:lnTo>
                  <a:lnTo>
                    <a:pt x="157" y="46"/>
                  </a:lnTo>
                  <a:lnTo>
                    <a:pt x="128" y="46"/>
                  </a:lnTo>
                  <a:lnTo>
                    <a:pt x="128" y="26"/>
                  </a:lnTo>
                  <a:lnTo>
                    <a:pt x="103" y="0"/>
                  </a:lnTo>
                  <a:lnTo>
                    <a:pt x="75" y="0"/>
                  </a:lnTo>
                  <a:lnTo>
                    <a:pt x="75" y="43"/>
                  </a:lnTo>
                  <a:lnTo>
                    <a:pt x="62" y="55"/>
                  </a:lnTo>
                  <a:lnTo>
                    <a:pt x="43" y="55"/>
                  </a:lnTo>
                  <a:lnTo>
                    <a:pt x="43" y="94"/>
                  </a:lnTo>
                  <a:lnTo>
                    <a:pt x="29" y="108"/>
                  </a:lnTo>
                  <a:lnTo>
                    <a:pt x="29" y="130"/>
                  </a:lnTo>
                  <a:lnTo>
                    <a:pt x="18" y="139"/>
                  </a:lnTo>
                  <a:lnTo>
                    <a:pt x="18" y="160"/>
                  </a:lnTo>
                  <a:lnTo>
                    <a:pt x="0" y="160"/>
                  </a:lnTo>
                  <a:lnTo>
                    <a:pt x="0" y="178"/>
                  </a:lnTo>
                  <a:lnTo>
                    <a:pt x="13" y="187"/>
                  </a:lnTo>
                  <a:lnTo>
                    <a:pt x="13" y="212"/>
                  </a:lnTo>
                  <a:lnTo>
                    <a:pt x="25" y="212"/>
                  </a:lnTo>
                  <a:lnTo>
                    <a:pt x="25" y="240"/>
                  </a:lnTo>
                  <a:lnTo>
                    <a:pt x="30" y="240"/>
                  </a:lnTo>
                  <a:lnTo>
                    <a:pt x="50" y="260"/>
                  </a:lnTo>
                  <a:lnTo>
                    <a:pt x="50" y="289"/>
                  </a:lnTo>
                  <a:lnTo>
                    <a:pt x="36" y="305"/>
                  </a:lnTo>
                  <a:lnTo>
                    <a:pt x="36" y="313"/>
                  </a:lnTo>
                  <a:lnTo>
                    <a:pt x="48" y="301"/>
                  </a:lnTo>
                  <a:lnTo>
                    <a:pt x="75" y="301"/>
                  </a:lnTo>
                  <a:lnTo>
                    <a:pt x="103" y="301"/>
                  </a:lnTo>
                  <a:lnTo>
                    <a:pt x="127" y="301"/>
                  </a:lnTo>
                  <a:lnTo>
                    <a:pt x="139" y="312"/>
                  </a:lnTo>
                  <a:lnTo>
                    <a:pt x="153" y="312"/>
                  </a:lnTo>
                  <a:lnTo>
                    <a:pt x="162" y="303"/>
                  </a:lnTo>
                  <a:lnTo>
                    <a:pt x="184" y="303"/>
                  </a:lnTo>
                  <a:lnTo>
                    <a:pt x="184" y="281"/>
                  </a:lnTo>
                  <a:lnTo>
                    <a:pt x="198" y="267"/>
                  </a:lnTo>
                  <a:lnTo>
                    <a:pt x="203" y="272"/>
                  </a:lnTo>
                  <a:lnTo>
                    <a:pt x="214" y="264"/>
                  </a:lnTo>
                  <a:lnTo>
                    <a:pt x="166" y="215"/>
                  </a:lnTo>
                  <a:lnTo>
                    <a:pt x="166" y="198"/>
                  </a:lnTo>
                  <a:lnTo>
                    <a:pt x="178" y="198"/>
                  </a:lnTo>
                  <a:lnTo>
                    <a:pt x="194" y="183"/>
                  </a:lnTo>
                  <a:lnTo>
                    <a:pt x="205" y="183"/>
                  </a:lnTo>
                  <a:lnTo>
                    <a:pt x="225" y="164"/>
                  </a:lnTo>
                  <a:lnTo>
                    <a:pt x="235" y="174"/>
                  </a:lnTo>
                  <a:lnTo>
                    <a:pt x="241" y="169"/>
                  </a:lnTo>
                  <a:lnTo>
                    <a:pt x="241" y="126"/>
                  </a:lnTo>
                  <a:lnTo>
                    <a:pt x="225" y="108"/>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Freeform 306">
              <a:extLst>
                <a:ext uri="{FF2B5EF4-FFF2-40B4-BE49-F238E27FC236}">
                  <a16:creationId xmlns:a16="http://schemas.microsoft.com/office/drawing/2014/main" id="{754FBDD7-7DFD-4278-A099-348625FD0FA3}"/>
                </a:ext>
              </a:extLst>
            </p:cNvPr>
            <p:cNvSpPr>
              <a:spLocks/>
            </p:cNvSpPr>
            <p:nvPr/>
          </p:nvSpPr>
          <p:spPr bwMode="auto">
            <a:xfrm>
              <a:off x="4651376" y="2408238"/>
              <a:ext cx="200025" cy="217488"/>
            </a:xfrm>
            <a:custGeom>
              <a:avLst/>
              <a:gdLst>
                <a:gd name="T0" fmla="*/ 48 w 253"/>
                <a:gd name="T1" fmla="*/ 205 h 273"/>
                <a:gd name="T2" fmla="*/ 64 w 253"/>
                <a:gd name="T3" fmla="*/ 221 h 273"/>
                <a:gd name="T4" fmla="*/ 87 w 253"/>
                <a:gd name="T5" fmla="*/ 221 h 273"/>
                <a:gd name="T6" fmla="*/ 103 w 253"/>
                <a:gd name="T7" fmla="*/ 237 h 273"/>
                <a:gd name="T8" fmla="*/ 114 w 253"/>
                <a:gd name="T9" fmla="*/ 250 h 273"/>
                <a:gd name="T10" fmla="*/ 137 w 253"/>
                <a:gd name="T11" fmla="*/ 250 h 273"/>
                <a:gd name="T12" fmla="*/ 148 w 253"/>
                <a:gd name="T13" fmla="*/ 259 h 273"/>
                <a:gd name="T14" fmla="*/ 173 w 253"/>
                <a:gd name="T15" fmla="*/ 259 h 273"/>
                <a:gd name="T16" fmla="*/ 182 w 253"/>
                <a:gd name="T17" fmla="*/ 252 h 273"/>
                <a:gd name="T18" fmla="*/ 207 w 253"/>
                <a:gd name="T19" fmla="*/ 273 h 273"/>
                <a:gd name="T20" fmla="*/ 215 w 253"/>
                <a:gd name="T21" fmla="*/ 264 h 273"/>
                <a:gd name="T22" fmla="*/ 215 w 253"/>
                <a:gd name="T23" fmla="*/ 230 h 273"/>
                <a:gd name="T24" fmla="*/ 239 w 253"/>
                <a:gd name="T25" fmla="*/ 230 h 273"/>
                <a:gd name="T26" fmla="*/ 239 w 253"/>
                <a:gd name="T27" fmla="*/ 186 h 273"/>
                <a:gd name="T28" fmla="*/ 239 w 253"/>
                <a:gd name="T29" fmla="*/ 145 h 273"/>
                <a:gd name="T30" fmla="*/ 253 w 253"/>
                <a:gd name="T31" fmla="*/ 130 h 273"/>
                <a:gd name="T32" fmla="*/ 253 w 253"/>
                <a:gd name="T33" fmla="*/ 63 h 273"/>
                <a:gd name="T34" fmla="*/ 232 w 253"/>
                <a:gd name="T35" fmla="*/ 43 h 273"/>
                <a:gd name="T36" fmla="*/ 232 w 253"/>
                <a:gd name="T37" fmla="*/ 13 h 273"/>
                <a:gd name="T38" fmla="*/ 221 w 253"/>
                <a:gd name="T39" fmla="*/ 0 h 273"/>
                <a:gd name="T40" fmla="*/ 180 w 253"/>
                <a:gd name="T41" fmla="*/ 0 h 273"/>
                <a:gd name="T42" fmla="*/ 180 w 253"/>
                <a:gd name="T43" fmla="*/ 15 h 273"/>
                <a:gd name="T44" fmla="*/ 160 w 253"/>
                <a:gd name="T45" fmla="*/ 15 h 273"/>
                <a:gd name="T46" fmla="*/ 125 w 253"/>
                <a:gd name="T47" fmla="*/ 50 h 273"/>
                <a:gd name="T48" fmla="*/ 107 w 253"/>
                <a:gd name="T49" fmla="*/ 31 h 273"/>
                <a:gd name="T50" fmla="*/ 69 w 253"/>
                <a:gd name="T51" fmla="*/ 31 h 273"/>
                <a:gd name="T52" fmla="*/ 19 w 253"/>
                <a:gd name="T53" fmla="*/ 82 h 273"/>
                <a:gd name="T54" fmla="*/ 0 w 253"/>
                <a:gd name="T55" fmla="*/ 82 h 273"/>
                <a:gd name="T56" fmla="*/ 0 w 253"/>
                <a:gd name="T57" fmla="*/ 130 h 273"/>
                <a:gd name="T58" fmla="*/ 16 w 253"/>
                <a:gd name="T59" fmla="*/ 148 h 273"/>
                <a:gd name="T60" fmla="*/ 16 w 253"/>
                <a:gd name="T61" fmla="*/ 191 h 273"/>
                <a:gd name="T62" fmla="*/ 16 w 253"/>
                <a:gd name="T63" fmla="*/ 193 h 273"/>
                <a:gd name="T64" fmla="*/ 30 w 253"/>
                <a:gd name="T65" fmla="*/ 205 h 273"/>
                <a:gd name="T66" fmla="*/ 48 w 253"/>
                <a:gd name="T67"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273">
                  <a:moveTo>
                    <a:pt x="48" y="205"/>
                  </a:moveTo>
                  <a:lnTo>
                    <a:pt x="64" y="221"/>
                  </a:lnTo>
                  <a:lnTo>
                    <a:pt x="87" y="221"/>
                  </a:lnTo>
                  <a:lnTo>
                    <a:pt x="103" y="237"/>
                  </a:lnTo>
                  <a:lnTo>
                    <a:pt x="114" y="250"/>
                  </a:lnTo>
                  <a:lnTo>
                    <a:pt x="137" y="250"/>
                  </a:lnTo>
                  <a:lnTo>
                    <a:pt x="148" y="259"/>
                  </a:lnTo>
                  <a:lnTo>
                    <a:pt x="173" y="259"/>
                  </a:lnTo>
                  <a:lnTo>
                    <a:pt x="182" y="252"/>
                  </a:lnTo>
                  <a:lnTo>
                    <a:pt x="207" y="273"/>
                  </a:lnTo>
                  <a:lnTo>
                    <a:pt x="215" y="264"/>
                  </a:lnTo>
                  <a:lnTo>
                    <a:pt x="215" y="230"/>
                  </a:lnTo>
                  <a:lnTo>
                    <a:pt x="239" y="230"/>
                  </a:lnTo>
                  <a:lnTo>
                    <a:pt x="239" y="186"/>
                  </a:lnTo>
                  <a:lnTo>
                    <a:pt x="239" y="145"/>
                  </a:lnTo>
                  <a:lnTo>
                    <a:pt x="253" y="130"/>
                  </a:lnTo>
                  <a:lnTo>
                    <a:pt x="253" y="63"/>
                  </a:lnTo>
                  <a:lnTo>
                    <a:pt x="232" y="43"/>
                  </a:lnTo>
                  <a:lnTo>
                    <a:pt x="232" y="13"/>
                  </a:lnTo>
                  <a:lnTo>
                    <a:pt x="221" y="0"/>
                  </a:lnTo>
                  <a:lnTo>
                    <a:pt x="180" y="0"/>
                  </a:lnTo>
                  <a:lnTo>
                    <a:pt x="180" y="15"/>
                  </a:lnTo>
                  <a:lnTo>
                    <a:pt x="160" y="15"/>
                  </a:lnTo>
                  <a:lnTo>
                    <a:pt x="125" y="50"/>
                  </a:lnTo>
                  <a:lnTo>
                    <a:pt x="107" y="31"/>
                  </a:lnTo>
                  <a:lnTo>
                    <a:pt x="69" y="31"/>
                  </a:lnTo>
                  <a:lnTo>
                    <a:pt x="19" y="82"/>
                  </a:lnTo>
                  <a:lnTo>
                    <a:pt x="0" y="82"/>
                  </a:lnTo>
                  <a:lnTo>
                    <a:pt x="0" y="130"/>
                  </a:lnTo>
                  <a:lnTo>
                    <a:pt x="16" y="148"/>
                  </a:lnTo>
                  <a:lnTo>
                    <a:pt x="16" y="191"/>
                  </a:lnTo>
                  <a:lnTo>
                    <a:pt x="16" y="193"/>
                  </a:lnTo>
                  <a:lnTo>
                    <a:pt x="30" y="205"/>
                  </a:lnTo>
                  <a:lnTo>
                    <a:pt x="48" y="205"/>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Freeform 307">
              <a:extLst>
                <a:ext uri="{FF2B5EF4-FFF2-40B4-BE49-F238E27FC236}">
                  <a16:creationId xmlns:a16="http://schemas.microsoft.com/office/drawing/2014/main" id="{47474F3A-FA2B-43F3-B646-6C3D1AFE2B37}"/>
                </a:ext>
              </a:extLst>
            </p:cNvPr>
            <p:cNvSpPr>
              <a:spLocks/>
            </p:cNvSpPr>
            <p:nvPr/>
          </p:nvSpPr>
          <p:spPr bwMode="auto">
            <a:xfrm>
              <a:off x="4603751" y="2555875"/>
              <a:ext cx="133350" cy="79375"/>
            </a:xfrm>
            <a:custGeom>
              <a:avLst/>
              <a:gdLst>
                <a:gd name="T0" fmla="*/ 162 w 167"/>
                <a:gd name="T1" fmla="*/ 51 h 100"/>
                <a:gd name="T2" fmla="*/ 146 w 167"/>
                <a:gd name="T3" fmla="*/ 35 h 100"/>
                <a:gd name="T4" fmla="*/ 123 w 167"/>
                <a:gd name="T5" fmla="*/ 35 h 100"/>
                <a:gd name="T6" fmla="*/ 107 w 167"/>
                <a:gd name="T7" fmla="*/ 19 h 100"/>
                <a:gd name="T8" fmla="*/ 89 w 167"/>
                <a:gd name="T9" fmla="*/ 19 h 100"/>
                <a:gd name="T10" fmla="*/ 75 w 167"/>
                <a:gd name="T11" fmla="*/ 7 h 100"/>
                <a:gd name="T12" fmla="*/ 69 w 167"/>
                <a:gd name="T13" fmla="*/ 10 h 100"/>
                <a:gd name="T14" fmla="*/ 59 w 167"/>
                <a:gd name="T15" fmla="*/ 0 h 100"/>
                <a:gd name="T16" fmla="*/ 39 w 167"/>
                <a:gd name="T17" fmla="*/ 19 h 100"/>
                <a:gd name="T18" fmla="*/ 28 w 167"/>
                <a:gd name="T19" fmla="*/ 19 h 100"/>
                <a:gd name="T20" fmla="*/ 12 w 167"/>
                <a:gd name="T21" fmla="*/ 34 h 100"/>
                <a:gd name="T22" fmla="*/ 0 w 167"/>
                <a:gd name="T23" fmla="*/ 34 h 100"/>
                <a:gd name="T24" fmla="*/ 0 w 167"/>
                <a:gd name="T25" fmla="*/ 51 h 100"/>
                <a:gd name="T26" fmla="*/ 48 w 167"/>
                <a:gd name="T27" fmla="*/ 100 h 100"/>
                <a:gd name="T28" fmla="*/ 62 w 167"/>
                <a:gd name="T29" fmla="*/ 87 h 100"/>
                <a:gd name="T30" fmla="*/ 73 w 167"/>
                <a:gd name="T31" fmla="*/ 98 h 100"/>
                <a:gd name="T32" fmla="*/ 94 w 167"/>
                <a:gd name="T33" fmla="*/ 98 h 100"/>
                <a:gd name="T34" fmla="*/ 128 w 167"/>
                <a:gd name="T35" fmla="*/ 98 h 100"/>
                <a:gd name="T36" fmla="*/ 167 w 167"/>
                <a:gd name="T37" fmla="*/ 59 h 100"/>
                <a:gd name="T38" fmla="*/ 162 w 167"/>
                <a:gd name="T3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7" h="100">
                  <a:moveTo>
                    <a:pt x="162" y="51"/>
                  </a:moveTo>
                  <a:lnTo>
                    <a:pt x="146" y="35"/>
                  </a:lnTo>
                  <a:lnTo>
                    <a:pt x="123" y="35"/>
                  </a:lnTo>
                  <a:lnTo>
                    <a:pt x="107" y="19"/>
                  </a:lnTo>
                  <a:lnTo>
                    <a:pt x="89" y="19"/>
                  </a:lnTo>
                  <a:lnTo>
                    <a:pt x="75" y="7"/>
                  </a:lnTo>
                  <a:lnTo>
                    <a:pt x="69" y="10"/>
                  </a:lnTo>
                  <a:lnTo>
                    <a:pt x="59" y="0"/>
                  </a:lnTo>
                  <a:lnTo>
                    <a:pt x="39" y="19"/>
                  </a:lnTo>
                  <a:lnTo>
                    <a:pt x="28" y="19"/>
                  </a:lnTo>
                  <a:lnTo>
                    <a:pt x="12" y="34"/>
                  </a:lnTo>
                  <a:lnTo>
                    <a:pt x="0" y="34"/>
                  </a:lnTo>
                  <a:lnTo>
                    <a:pt x="0" y="51"/>
                  </a:lnTo>
                  <a:lnTo>
                    <a:pt x="48" y="100"/>
                  </a:lnTo>
                  <a:lnTo>
                    <a:pt x="62" y="87"/>
                  </a:lnTo>
                  <a:lnTo>
                    <a:pt x="73" y="98"/>
                  </a:lnTo>
                  <a:lnTo>
                    <a:pt x="94" y="98"/>
                  </a:lnTo>
                  <a:lnTo>
                    <a:pt x="128" y="98"/>
                  </a:lnTo>
                  <a:lnTo>
                    <a:pt x="167" y="59"/>
                  </a:lnTo>
                  <a:lnTo>
                    <a:pt x="162" y="5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Freeform 308">
              <a:extLst>
                <a:ext uri="{FF2B5EF4-FFF2-40B4-BE49-F238E27FC236}">
                  <a16:creationId xmlns:a16="http://schemas.microsoft.com/office/drawing/2014/main" id="{66942721-F104-4908-98CA-5F3C6ED56FAA}"/>
                </a:ext>
              </a:extLst>
            </p:cNvPr>
            <p:cNvSpPr>
              <a:spLocks/>
            </p:cNvSpPr>
            <p:nvPr/>
          </p:nvSpPr>
          <p:spPr bwMode="auto">
            <a:xfrm>
              <a:off x="4554538" y="2625725"/>
              <a:ext cx="152400" cy="73025"/>
            </a:xfrm>
            <a:custGeom>
              <a:avLst/>
              <a:gdLst>
                <a:gd name="T0" fmla="*/ 136 w 191"/>
                <a:gd name="T1" fmla="*/ 11 h 93"/>
                <a:gd name="T2" fmla="*/ 125 w 191"/>
                <a:gd name="T3" fmla="*/ 0 h 93"/>
                <a:gd name="T4" fmla="*/ 111 w 191"/>
                <a:gd name="T5" fmla="*/ 13 h 93"/>
                <a:gd name="T6" fmla="*/ 100 w 191"/>
                <a:gd name="T7" fmla="*/ 21 h 93"/>
                <a:gd name="T8" fmla="*/ 95 w 191"/>
                <a:gd name="T9" fmla="*/ 16 h 93"/>
                <a:gd name="T10" fmla="*/ 81 w 191"/>
                <a:gd name="T11" fmla="*/ 30 h 93"/>
                <a:gd name="T12" fmla="*/ 81 w 191"/>
                <a:gd name="T13" fmla="*/ 52 h 93"/>
                <a:gd name="T14" fmla="*/ 59 w 191"/>
                <a:gd name="T15" fmla="*/ 52 h 93"/>
                <a:gd name="T16" fmla="*/ 50 w 191"/>
                <a:gd name="T17" fmla="*/ 61 h 93"/>
                <a:gd name="T18" fmla="*/ 36 w 191"/>
                <a:gd name="T19" fmla="*/ 61 h 93"/>
                <a:gd name="T20" fmla="*/ 24 w 191"/>
                <a:gd name="T21" fmla="*/ 50 h 93"/>
                <a:gd name="T22" fmla="*/ 0 w 191"/>
                <a:gd name="T23" fmla="*/ 50 h 93"/>
                <a:gd name="T24" fmla="*/ 0 w 191"/>
                <a:gd name="T25" fmla="*/ 61 h 93"/>
                <a:gd name="T26" fmla="*/ 4 w 191"/>
                <a:gd name="T27" fmla="*/ 64 h 93"/>
                <a:gd name="T28" fmla="*/ 16 w 191"/>
                <a:gd name="T29" fmla="*/ 79 h 93"/>
                <a:gd name="T30" fmla="*/ 38 w 191"/>
                <a:gd name="T31" fmla="*/ 79 h 93"/>
                <a:gd name="T32" fmla="*/ 65 w 191"/>
                <a:gd name="T33" fmla="*/ 79 h 93"/>
                <a:gd name="T34" fmla="*/ 79 w 191"/>
                <a:gd name="T35" fmla="*/ 93 h 93"/>
                <a:gd name="T36" fmla="*/ 106 w 191"/>
                <a:gd name="T37" fmla="*/ 93 h 93"/>
                <a:gd name="T38" fmla="*/ 132 w 191"/>
                <a:gd name="T39" fmla="*/ 93 h 93"/>
                <a:gd name="T40" fmla="*/ 150 w 191"/>
                <a:gd name="T41" fmla="*/ 93 h 93"/>
                <a:gd name="T42" fmla="*/ 170 w 191"/>
                <a:gd name="T43" fmla="*/ 73 h 93"/>
                <a:gd name="T44" fmla="*/ 170 w 191"/>
                <a:gd name="T45" fmla="*/ 55 h 93"/>
                <a:gd name="T46" fmla="*/ 191 w 191"/>
                <a:gd name="T47" fmla="*/ 34 h 93"/>
                <a:gd name="T48" fmla="*/ 191 w 191"/>
                <a:gd name="T49" fmla="*/ 11 h 93"/>
                <a:gd name="T50" fmla="*/ 157 w 191"/>
                <a:gd name="T51" fmla="*/ 11 h 93"/>
                <a:gd name="T52" fmla="*/ 136 w 191"/>
                <a:gd name="T53" fmla="*/ 1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1" h="93">
                  <a:moveTo>
                    <a:pt x="136" y="11"/>
                  </a:moveTo>
                  <a:lnTo>
                    <a:pt x="125" y="0"/>
                  </a:lnTo>
                  <a:lnTo>
                    <a:pt x="111" y="13"/>
                  </a:lnTo>
                  <a:lnTo>
                    <a:pt x="100" y="21"/>
                  </a:lnTo>
                  <a:lnTo>
                    <a:pt x="95" y="16"/>
                  </a:lnTo>
                  <a:lnTo>
                    <a:pt x="81" y="30"/>
                  </a:lnTo>
                  <a:lnTo>
                    <a:pt x="81" y="52"/>
                  </a:lnTo>
                  <a:lnTo>
                    <a:pt x="59" y="52"/>
                  </a:lnTo>
                  <a:lnTo>
                    <a:pt x="50" y="61"/>
                  </a:lnTo>
                  <a:lnTo>
                    <a:pt x="36" y="61"/>
                  </a:lnTo>
                  <a:lnTo>
                    <a:pt x="24" y="50"/>
                  </a:lnTo>
                  <a:lnTo>
                    <a:pt x="0" y="50"/>
                  </a:lnTo>
                  <a:lnTo>
                    <a:pt x="0" y="61"/>
                  </a:lnTo>
                  <a:lnTo>
                    <a:pt x="4" y="64"/>
                  </a:lnTo>
                  <a:lnTo>
                    <a:pt x="16" y="79"/>
                  </a:lnTo>
                  <a:lnTo>
                    <a:pt x="38" y="79"/>
                  </a:lnTo>
                  <a:lnTo>
                    <a:pt x="65" y="79"/>
                  </a:lnTo>
                  <a:lnTo>
                    <a:pt x="79" y="93"/>
                  </a:lnTo>
                  <a:lnTo>
                    <a:pt x="106" y="93"/>
                  </a:lnTo>
                  <a:lnTo>
                    <a:pt x="132" y="93"/>
                  </a:lnTo>
                  <a:lnTo>
                    <a:pt x="150" y="93"/>
                  </a:lnTo>
                  <a:lnTo>
                    <a:pt x="170" y="73"/>
                  </a:lnTo>
                  <a:lnTo>
                    <a:pt x="170" y="55"/>
                  </a:lnTo>
                  <a:lnTo>
                    <a:pt x="191" y="34"/>
                  </a:lnTo>
                  <a:lnTo>
                    <a:pt x="191" y="11"/>
                  </a:lnTo>
                  <a:lnTo>
                    <a:pt x="157" y="11"/>
                  </a:lnTo>
                  <a:lnTo>
                    <a:pt x="136" y="1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309">
              <a:extLst>
                <a:ext uri="{FF2B5EF4-FFF2-40B4-BE49-F238E27FC236}">
                  <a16:creationId xmlns:a16="http://schemas.microsoft.com/office/drawing/2014/main" id="{F2025A64-60AC-4817-AADB-2D8911F77316}"/>
                </a:ext>
              </a:extLst>
            </p:cNvPr>
            <p:cNvSpPr>
              <a:spLocks/>
            </p:cNvSpPr>
            <p:nvPr/>
          </p:nvSpPr>
          <p:spPr bwMode="auto">
            <a:xfrm>
              <a:off x="4633913" y="2695575"/>
              <a:ext cx="47625" cy="33338"/>
            </a:xfrm>
            <a:custGeom>
              <a:avLst/>
              <a:gdLst>
                <a:gd name="T0" fmla="*/ 45 w 61"/>
                <a:gd name="T1" fmla="*/ 43 h 43"/>
                <a:gd name="T2" fmla="*/ 61 w 61"/>
                <a:gd name="T3" fmla="*/ 25 h 43"/>
                <a:gd name="T4" fmla="*/ 61 w 61"/>
                <a:gd name="T5" fmla="*/ 9 h 43"/>
                <a:gd name="T6" fmla="*/ 52 w 61"/>
                <a:gd name="T7" fmla="*/ 0 h 43"/>
                <a:gd name="T8" fmla="*/ 50 w 61"/>
                <a:gd name="T9" fmla="*/ 4 h 43"/>
                <a:gd name="T10" fmla="*/ 32 w 61"/>
                <a:gd name="T11" fmla="*/ 4 h 43"/>
                <a:gd name="T12" fmla="*/ 13 w 61"/>
                <a:gd name="T13" fmla="*/ 4 h 43"/>
                <a:gd name="T14" fmla="*/ 0 w 61"/>
                <a:gd name="T15" fmla="*/ 16 h 43"/>
                <a:gd name="T16" fmla="*/ 0 w 61"/>
                <a:gd name="T17" fmla="*/ 43 h 43"/>
                <a:gd name="T18" fmla="*/ 25 w 61"/>
                <a:gd name="T19" fmla="*/ 43 h 43"/>
                <a:gd name="T20" fmla="*/ 45 w 61"/>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3">
                  <a:moveTo>
                    <a:pt x="45" y="43"/>
                  </a:moveTo>
                  <a:lnTo>
                    <a:pt x="61" y="25"/>
                  </a:lnTo>
                  <a:lnTo>
                    <a:pt x="61" y="9"/>
                  </a:lnTo>
                  <a:lnTo>
                    <a:pt x="52" y="0"/>
                  </a:lnTo>
                  <a:lnTo>
                    <a:pt x="50" y="4"/>
                  </a:lnTo>
                  <a:lnTo>
                    <a:pt x="32" y="4"/>
                  </a:lnTo>
                  <a:lnTo>
                    <a:pt x="13" y="4"/>
                  </a:lnTo>
                  <a:lnTo>
                    <a:pt x="0" y="16"/>
                  </a:lnTo>
                  <a:lnTo>
                    <a:pt x="0" y="43"/>
                  </a:lnTo>
                  <a:lnTo>
                    <a:pt x="25" y="43"/>
                  </a:lnTo>
                  <a:lnTo>
                    <a:pt x="45" y="4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310">
              <a:extLst>
                <a:ext uri="{FF2B5EF4-FFF2-40B4-BE49-F238E27FC236}">
                  <a16:creationId xmlns:a16="http://schemas.microsoft.com/office/drawing/2014/main" id="{6ABD014D-2A20-4604-9CDE-7FD87CA33D8E}"/>
                </a:ext>
              </a:extLst>
            </p:cNvPr>
            <p:cNvSpPr>
              <a:spLocks/>
            </p:cNvSpPr>
            <p:nvPr/>
          </p:nvSpPr>
          <p:spPr bwMode="auto">
            <a:xfrm>
              <a:off x="4489451" y="2687638"/>
              <a:ext cx="242888" cy="247650"/>
            </a:xfrm>
            <a:custGeom>
              <a:avLst/>
              <a:gdLst>
                <a:gd name="T0" fmla="*/ 195 w 305"/>
                <a:gd name="T1" fmla="*/ 14 h 311"/>
                <a:gd name="T2" fmla="*/ 188 w 305"/>
                <a:gd name="T3" fmla="*/ 14 h 311"/>
                <a:gd name="T4" fmla="*/ 161 w 305"/>
                <a:gd name="T5" fmla="*/ 14 h 311"/>
                <a:gd name="T6" fmla="*/ 147 w 305"/>
                <a:gd name="T7" fmla="*/ 0 h 311"/>
                <a:gd name="T8" fmla="*/ 120 w 305"/>
                <a:gd name="T9" fmla="*/ 0 h 311"/>
                <a:gd name="T10" fmla="*/ 98 w 305"/>
                <a:gd name="T11" fmla="*/ 0 h 311"/>
                <a:gd name="T12" fmla="*/ 98 w 305"/>
                <a:gd name="T13" fmla="*/ 21 h 311"/>
                <a:gd name="T14" fmla="*/ 81 w 305"/>
                <a:gd name="T15" fmla="*/ 21 h 311"/>
                <a:gd name="T16" fmla="*/ 65 w 305"/>
                <a:gd name="T17" fmla="*/ 37 h 311"/>
                <a:gd name="T18" fmla="*/ 49 w 305"/>
                <a:gd name="T19" fmla="*/ 19 h 311"/>
                <a:gd name="T20" fmla="*/ 36 w 305"/>
                <a:gd name="T21" fmla="*/ 32 h 311"/>
                <a:gd name="T22" fmla="*/ 9 w 305"/>
                <a:gd name="T23" fmla="*/ 32 h 311"/>
                <a:gd name="T24" fmla="*/ 9 w 305"/>
                <a:gd name="T25" fmla="*/ 48 h 311"/>
                <a:gd name="T26" fmla="*/ 9 w 305"/>
                <a:gd name="T27" fmla="*/ 57 h 311"/>
                <a:gd name="T28" fmla="*/ 9 w 305"/>
                <a:gd name="T29" fmla="*/ 73 h 311"/>
                <a:gd name="T30" fmla="*/ 0 w 305"/>
                <a:gd name="T31" fmla="*/ 82 h 311"/>
                <a:gd name="T32" fmla="*/ 25 w 305"/>
                <a:gd name="T33" fmla="*/ 108 h 311"/>
                <a:gd name="T34" fmla="*/ 33 w 305"/>
                <a:gd name="T35" fmla="*/ 101 h 311"/>
                <a:gd name="T36" fmla="*/ 88 w 305"/>
                <a:gd name="T37" fmla="*/ 101 h 311"/>
                <a:gd name="T38" fmla="*/ 107 w 305"/>
                <a:gd name="T39" fmla="*/ 119 h 311"/>
                <a:gd name="T40" fmla="*/ 107 w 305"/>
                <a:gd name="T41" fmla="*/ 155 h 311"/>
                <a:gd name="T42" fmla="*/ 132 w 305"/>
                <a:gd name="T43" fmla="*/ 155 h 311"/>
                <a:gd name="T44" fmla="*/ 175 w 305"/>
                <a:gd name="T45" fmla="*/ 197 h 311"/>
                <a:gd name="T46" fmla="*/ 197 w 305"/>
                <a:gd name="T47" fmla="*/ 197 h 311"/>
                <a:gd name="T48" fmla="*/ 197 w 305"/>
                <a:gd name="T49" fmla="*/ 222 h 311"/>
                <a:gd name="T50" fmla="*/ 214 w 305"/>
                <a:gd name="T51" fmla="*/ 222 h 311"/>
                <a:gd name="T52" fmla="*/ 238 w 305"/>
                <a:gd name="T53" fmla="*/ 245 h 311"/>
                <a:gd name="T54" fmla="*/ 238 w 305"/>
                <a:gd name="T55" fmla="*/ 267 h 311"/>
                <a:gd name="T56" fmla="*/ 250 w 305"/>
                <a:gd name="T57" fmla="*/ 279 h 311"/>
                <a:gd name="T58" fmla="*/ 250 w 305"/>
                <a:gd name="T59" fmla="*/ 311 h 311"/>
                <a:gd name="T60" fmla="*/ 277 w 305"/>
                <a:gd name="T61" fmla="*/ 311 h 311"/>
                <a:gd name="T62" fmla="*/ 277 w 305"/>
                <a:gd name="T63" fmla="*/ 269 h 311"/>
                <a:gd name="T64" fmla="*/ 257 w 305"/>
                <a:gd name="T65" fmla="*/ 249 h 311"/>
                <a:gd name="T66" fmla="*/ 279 w 305"/>
                <a:gd name="T67" fmla="*/ 228 h 311"/>
                <a:gd name="T68" fmla="*/ 295 w 305"/>
                <a:gd name="T69" fmla="*/ 244 h 311"/>
                <a:gd name="T70" fmla="*/ 305 w 305"/>
                <a:gd name="T71" fmla="*/ 235 h 311"/>
                <a:gd name="T72" fmla="*/ 275 w 305"/>
                <a:gd name="T73" fmla="*/ 204 h 311"/>
                <a:gd name="T74" fmla="*/ 250 w 305"/>
                <a:gd name="T75" fmla="*/ 204 h 311"/>
                <a:gd name="T76" fmla="*/ 239 w 305"/>
                <a:gd name="T77" fmla="*/ 194 h 311"/>
                <a:gd name="T78" fmla="*/ 250 w 305"/>
                <a:gd name="T79" fmla="*/ 183 h 311"/>
                <a:gd name="T80" fmla="*/ 241 w 305"/>
                <a:gd name="T81" fmla="*/ 174 h 311"/>
                <a:gd name="T82" fmla="*/ 214 w 305"/>
                <a:gd name="T83" fmla="*/ 174 h 311"/>
                <a:gd name="T84" fmla="*/ 197 w 305"/>
                <a:gd name="T85" fmla="*/ 155 h 311"/>
                <a:gd name="T86" fmla="*/ 197 w 305"/>
                <a:gd name="T87" fmla="*/ 122 h 311"/>
                <a:gd name="T88" fmla="*/ 138 w 305"/>
                <a:gd name="T89" fmla="*/ 65 h 311"/>
                <a:gd name="T90" fmla="*/ 143 w 305"/>
                <a:gd name="T91" fmla="*/ 58 h 311"/>
                <a:gd name="T92" fmla="*/ 150 w 305"/>
                <a:gd name="T93" fmla="*/ 53 h 311"/>
                <a:gd name="T94" fmla="*/ 182 w 305"/>
                <a:gd name="T95" fmla="*/ 53 h 311"/>
                <a:gd name="T96" fmla="*/ 182 w 305"/>
                <a:gd name="T97" fmla="*/ 26 h 311"/>
                <a:gd name="T98" fmla="*/ 195 w 305"/>
                <a:gd name="T99" fmla="*/ 14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5" h="311">
                  <a:moveTo>
                    <a:pt x="195" y="14"/>
                  </a:moveTo>
                  <a:lnTo>
                    <a:pt x="188" y="14"/>
                  </a:lnTo>
                  <a:lnTo>
                    <a:pt x="161" y="14"/>
                  </a:lnTo>
                  <a:lnTo>
                    <a:pt x="147" y="0"/>
                  </a:lnTo>
                  <a:lnTo>
                    <a:pt x="120" y="0"/>
                  </a:lnTo>
                  <a:lnTo>
                    <a:pt x="98" y="0"/>
                  </a:lnTo>
                  <a:lnTo>
                    <a:pt x="98" y="21"/>
                  </a:lnTo>
                  <a:lnTo>
                    <a:pt x="81" y="21"/>
                  </a:lnTo>
                  <a:lnTo>
                    <a:pt x="65" y="37"/>
                  </a:lnTo>
                  <a:lnTo>
                    <a:pt x="49" y="19"/>
                  </a:lnTo>
                  <a:lnTo>
                    <a:pt x="36" y="32"/>
                  </a:lnTo>
                  <a:lnTo>
                    <a:pt x="9" y="32"/>
                  </a:lnTo>
                  <a:lnTo>
                    <a:pt x="9" y="48"/>
                  </a:lnTo>
                  <a:lnTo>
                    <a:pt x="9" y="57"/>
                  </a:lnTo>
                  <a:lnTo>
                    <a:pt x="9" y="73"/>
                  </a:lnTo>
                  <a:lnTo>
                    <a:pt x="0" y="82"/>
                  </a:lnTo>
                  <a:lnTo>
                    <a:pt x="25" y="108"/>
                  </a:lnTo>
                  <a:lnTo>
                    <a:pt x="33" y="101"/>
                  </a:lnTo>
                  <a:lnTo>
                    <a:pt x="88" y="101"/>
                  </a:lnTo>
                  <a:lnTo>
                    <a:pt x="107" y="119"/>
                  </a:lnTo>
                  <a:lnTo>
                    <a:pt x="107" y="155"/>
                  </a:lnTo>
                  <a:lnTo>
                    <a:pt x="132" y="155"/>
                  </a:lnTo>
                  <a:lnTo>
                    <a:pt x="175" y="197"/>
                  </a:lnTo>
                  <a:lnTo>
                    <a:pt x="197" y="197"/>
                  </a:lnTo>
                  <a:lnTo>
                    <a:pt x="197" y="222"/>
                  </a:lnTo>
                  <a:lnTo>
                    <a:pt x="214" y="222"/>
                  </a:lnTo>
                  <a:lnTo>
                    <a:pt x="238" y="245"/>
                  </a:lnTo>
                  <a:lnTo>
                    <a:pt x="238" y="267"/>
                  </a:lnTo>
                  <a:lnTo>
                    <a:pt x="250" y="279"/>
                  </a:lnTo>
                  <a:lnTo>
                    <a:pt x="250" y="311"/>
                  </a:lnTo>
                  <a:lnTo>
                    <a:pt x="277" y="311"/>
                  </a:lnTo>
                  <a:lnTo>
                    <a:pt x="277" y="269"/>
                  </a:lnTo>
                  <a:lnTo>
                    <a:pt x="257" y="249"/>
                  </a:lnTo>
                  <a:lnTo>
                    <a:pt x="279" y="228"/>
                  </a:lnTo>
                  <a:lnTo>
                    <a:pt x="295" y="244"/>
                  </a:lnTo>
                  <a:lnTo>
                    <a:pt x="305" y="235"/>
                  </a:lnTo>
                  <a:lnTo>
                    <a:pt x="275" y="204"/>
                  </a:lnTo>
                  <a:lnTo>
                    <a:pt x="250" y="204"/>
                  </a:lnTo>
                  <a:lnTo>
                    <a:pt x="239" y="194"/>
                  </a:lnTo>
                  <a:lnTo>
                    <a:pt x="250" y="183"/>
                  </a:lnTo>
                  <a:lnTo>
                    <a:pt x="241" y="174"/>
                  </a:lnTo>
                  <a:lnTo>
                    <a:pt x="214" y="174"/>
                  </a:lnTo>
                  <a:lnTo>
                    <a:pt x="197" y="155"/>
                  </a:lnTo>
                  <a:lnTo>
                    <a:pt x="197" y="122"/>
                  </a:lnTo>
                  <a:lnTo>
                    <a:pt x="138" y="65"/>
                  </a:lnTo>
                  <a:lnTo>
                    <a:pt x="143" y="58"/>
                  </a:lnTo>
                  <a:lnTo>
                    <a:pt x="150" y="53"/>
                  </a:lnTo>
                  <a:lnTo>
                    <a:pt x="182" y="53"/>
                  </a:lnTo>
                  <a:lnTo>
                    <a:pt x="182" y="26"/>
                  </a:lnTo>
                  <a:lnTo>
                    <a:pt x="195" y="14"/>
                  </a:lnTo>
                  <a:close/>
                </a:path>
              </a:pathLst>
            </a:custGeom>
            <a:solidFill>
              <a:schemeClr val="bg2"/>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311">
              <a:extLst>
                <a:ext uri="{FF2B5EF4-FFF2-40B4-BE49-F238E27FC236}">
                  <a16:creationId xmlns:a16="http://schemas.microsoft.com/office/drawing/2014/main" id="{E8309BEC-20C8-4281-A0C0-1F553295428C}"/>
                </a:ext>
              </a:extLst>
            </p:cNvPr>
            <p:cNvSpPr>
              <a:spLocks/>
            </p:cNvSpPr>
            <p:nvPr/>
          </p:nvSpPr>
          <p:spPr bwMode="auto">
            <a:xfrm>
              <a:off x="4733926" y="2786063"/>
              <a:ext cx="39688" cy="49213"/>
            </a:xfrm>
            <a:custGeom>
              <a:avLst/>
              <a:gdLst>
                <a:gd name="T0" fmla="*/ 36 w 48"/>
                <a:gd name="T1" fmla="*/ 25 h 63"/>
                <a:gd name="T2" fmla="*/ 48 w 48"/>
                <a:gd name="T3" fmla="*/ 13 h 63"/>
                <a:gd name="T4" fmla="*/ 28 w 48"/>
                <a:gd name="T5" fmla="*/ 13 h 63"/>
                <a:gd name="T6" fmla="*/ 16 w 48"/>
                <a:gd name="T7" fmla="*/ 0 h 63"/>
                <a:gd name="T8" fmla="*/ 0 w 48"/>
                <a:gd name="T9" fmla="*/ 18 h 63"/>
                <a:gd name="T10" fmla="*/ 0 w 48"/>
                <a:gd name="T11" fmla="*/ 39 h 63"/>
                <a:gd name="T12" fmla="*/ 23 w 48"/>
                <a:gd name="T13" fmla="*/ 63 h 63"/>
                <a:gd name="T14" fmla="*/ 23 w 48"/>
                <a:gd name="T15" fmla="*/ 38 h 63"/>
                <a:gd name="T16" fmla="*/ 36 w 48"/>
                <a:gd name="T17" fmla="*/ 2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63">
                  <a:moveTo>
                    <a:pt x="36" y="25"/>
                  </a:moveTo>
                  <a:lnTo>
                    <a:pt x="48" y="13"/>
                  </a:lnTo>
                  <a:lnTo>
                    <a:pt x="28" y="13"/>
                  </a:lnTo>
                  <a:lnTo>
                    <a:pt x="16" y="0"/>
                  </a:lnTo>
                  <a:lnTo>
                    <a:pt x="0" y="18"/>
                  </a:lnTo>
                  <a:lnTo>
                    <a:pt x="0" y="39"/>
                  </a:lnTo>
                  <a:lnTo>
                    <a:pt x="23" y="63"/>
                  </a:lnTo>
                  <a:lnTo>
                    <a:pt x="23" y="38"/>
                  </a:lnTo>
                  <a:lnTo>
                    <a:pt x="36" y="2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312">
              <a:extLst>
                <a:ext uri="{FF2B5EF4-FFF2-40B4-BE49-F238E27FC236}">
                  <a16:creationId xmlns:a16="http://schemas.microsoft.com/office/drawing/2014/main" id="{696B0AA8-3AE0-48AC-A622-709E14BAF398}"/>
                </a:ext>
              </a:extLst>
            </p:cNvPr>
            <p:cNvSpPr>
              <a:spLocks/>
            </p:cNvSpPr>
            <p:nvPr/>
          </p:nvSpPr>
          <p:spPr bwMode="auto">
            <a:xfrm>
              <a:off x="4706938" y="2601913"/>
              <a:ext cx="107950" cy="63500"/>
            </a:xfrm>
            <a:custGeom>
              <a:avLst/>
              <a:gdLst>
                <a:gd name="T0" fmla="*/ 50 w 138"/>
                <a:gd name="T1" fmla="*/ 80 h 80"/>
                <a:gd name="T2" fmla="*/ 50 w 138"/>
                <a:gd name="T3" fmla="*/ 62 h 80"/>
                <a:gd name="T4" fmla="*/ 70 w 138"/>
                <a:gd name="T5" fmla="*/ 62 h 80"/>
                <a:gd name="T6" fmla="*/ 91 w 138"/>
                <a:gd name="T7" fmla="*/ 39 h 80"/>
                <a:gd name="T8" fmla="*/ 129 w 138"/>
                <a:gd name="T9" fmla="*/ 39 h 80"/>
                <a:gd name="T10" fmla="*/ 129 w 138"/>
                <a:gd name="T11" fmla="*/ 39 h 80"/>
                <a:gd name="T12" fmla="*/ 138 w 138"/>
                <a:gd name="T13" fmla="*/ 28 h 80"/>
                <a:gd name="T14" fmla="*/ 113 w 138"/>
                <a:gd name="T15" fmla="*/ 7 h 80"/>
                <a:gd name="T16" fmla="*/ 104 w 138"/>
                <a:gd name="T17" fmla="*/ 14 h 80"/>
                <a:gd name="T18" fmla="*/ 79 w 138"/>
                <a:gd name="T19" fmla="*/ 14 h 80"/>
                <a:gd name="T20" fmla="*/ 68 w 138"/>
                <a:gd name="T21" fmla="*/ 5 h 80"/>
                <a:gd name="T22" fmla="*/ 45 w 138"/>
                <a:gd name="T23" fmla="*/ 5 h 80"/>
                <a:gd name="T24" fmla="*/ 39 w 138"/>
                <a:gd name="T25" fmla="*/ 0 h 80"/>
                <a:gd name="T26" fmla="*/ 0 w 138"/>
                <a:gd name="T27" fmla="*/ 39 h 80"/>
                <a:gd name="T28" fmla="*/ 0 w 138"/>
                <a:gd name="T29" fmla="*/ 62 h 80"/>
                <a:gd name="T30" fmla="*/ 18 w 138"/>
                <a:gd name="T31" fmla="*/ 80 h 80"/>
                <a:gd name="T32" fmla="*/ 50 w 138"/>
                <a:gd name="T3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 h="80">
                  <a:moveTo>
                    <a:pt x="50" y="80"/>
                  </a:moveTo>
                  <a:lnTo>
                    <a:pt x="50" y="62"/>
                  </a:lnTo>
                  <a:lnTo>
                    <a:pt x="70" y="62"/>
                  </a:lnTo>
                  <a:lnTo>
                    <a:pt x="91" y="39"/>
                  </a:lnTo>
                  <a:lnTo>
                    <a:pt x="129" y="39"/>
                  </a:lnTo>
                  <a:lnTo>
                    <a:pt x="129" y="39"/>
                  </a:lnTo>
                  <a:lnTo>
                    <a:pt x="138" y="28"/>
                  </a:lnTo>
                  <a:lnTo>
                    <a:pt x="113" y="7"/>
                  </a:lnTo>
                  <a:lnTo>
                    <a:pt x="104" y="14"/>
                  </a:lnTo>
                  <a:lnTo>
                    <a:pt x="79" y="14"/>
                  </a:lnTo>
                  <a:lnTo>
                    <a:pt x="68" y="5"/>
                  </a:lnTo>
                  <a:lnTo>
                    <a:pt x="45" y="5"/>
                  </a:lnTo>
                  <a:lnTo>
                    <a:pt x="39" y="0"/>
                  </a:lnTo>
                  <a:lnTo>
                    <a:pt x="0" y="39"/>
                  </a:lnTo>
                  <a:lnTo>
                    <a:pt x="0" y="62"/>
                  </a:lnTo>
                  <a:lnTo>
                    <a:pt x="18" y="80"/>
                  </a:lnTo>
                  <a:lnTo>
                    <a:pt x="50" y="8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313">
              <a:extLst>
                <a:ext uri="{FF2B5EF4-FFF2-40B4-BE49-F238E27FC236}">
                  <a16:creationId xmlns:a16="http://schemas.microsoft.com/office/drawing/2014/main" id="{D49D0F44-9F67-4FF7-BBB3-5A66D761C35D}"/>
                </a:ext>
              </a:extLst>
            </p:cNvPr>
            <p:cNvSpPr>
              <a:spLocks/>
            </p:cNvSpPr>
            <p:nvPr/>
          </p:nvSpPr>
          <p:spPr bwMode="auto">
            <a:xfrm>
              <a:off x="4687888" y="2633663"/>
              <a:ext cx="139700" cy="79375"/>
            </a:xfrm>
            <a:custGeom>
              <a:avLst/>
              <a:gdLst>
                <a:gd name="T0" fmla="*/ 38 w 177"/>
                <a:gd name="T1" fmla="*/ 100 h 100"/>
                <a:gd name="T2" fmla="*/ 55 w 177"/>
                <a:gd name="T3" fmla="*/ 100 h 100"/>
                <a:gd name="T4" fmla="*/ 79 w 177"/>
                <a:gd name="T5" fmla="*/ 100 h 100"/>
                <a:gd name="T6" fmla="*/ 87 w 177"/>
                <a:gd name="T7" fmla="*/ 91 h 100"/>
                <a:gd name="T8" fmla="*/ 123 w 177"/>
                <a:gd name="T9" fmla="*/ 91 h 100"/>
                <a:gd name="T10" fmla="*/ 146 w 177"/>
                <a:gd name="T11" fmla="*/ 68 h 100"/>
                <a:gd name="T12" fmla="*/ 146 w 177"/>
                <a:gd name="T13" fmla="*/ 50 h 100"/>
                <a:gd name="T14" fmla="*/ 161 w 177"/>
                <a:gd name="T15" fmla="*/ 34 h 100"/>
                <a:gd name="T16" fmla="*/ 177 w 177"/>
                <a:gd name="T17" fmla="*/ 23 h 100"/>
                <a:gd name="T18" fmla="*/ 166 w 177"/>
                <a:gd name="T19" fmla="*/ 23 h 100"/>
                <a:gd name="T20" fmla="*/ 152 w 177"/>
                <a:gd name="T21" fmla="*/ 9 h 100"/>
                <a:gd name="T22" fmla="*/ 152 w 177"/>
                <a:gd name="T23" fmla="*/ 0 h 100"/>
                <a:gd name="T24" fmla="*/ 114 w 177"/>
                <a:gd name="T25" fmla="*/ 0 h 100"/>
                <a:gd name="T26" fmla="*/ 93 w 177"/>
                <a:gd name="T27" fmla="*/ 23 h 100"/>
                <a:gd name="T28" fmla="*/ 73 w 177"/>
                <a:gd name="T29" fmla="*/ 23 h 100"/>
                <a:gd name="T30" fmla="*/ 73 w 177"/>
                <a:gd name="T31" fmla="*/ 41 h 100"/>
                <a:gd name="T32" fmla="*/ 41 w 177"/>
                <a:gd name="T33" fmla="*/ 41 h 100"/>
                <a:gd name="T34" fmla="*/ 23 w 177"/>
                <a:gd name="T35" fmla="*/ 23 h 100"/>
                <a:gd name="T36" fmla="*/ 2 w 177"/>
                <a:gd name="T37" fmla="*/ 44 h 100"/>
                <a:gd name="T38" fmla="*/ 2 w 177"/>
                <a:gd name="T39" fmla="*/ 62 h 100"/>
                <a:gd name="T40" fmla="*/ 0 w 177"/>
                <a:gd name="T41" fmla="*/ 62 h 100"/>
                <a:gd name="T42" fmla="*/ 21 w 177"/>
                <a:gd name="T43" fmla="*/ 85 h 100"/>
                <a:gd name="T44" fmla="*/ 38 w 177"/>
                <a:gd name="T4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7" h="100">
                  <a:moveTo>
                    <a:pt x="38" y="100"/>
                  </a:moveTo>
                  <a:lnTo>
                    <a:pt x="55" y="100"/>
                  </a:lnTo>
                  <a:lnTo>
                    <a:pt x="79" y="100"/>
                  </a:lnTo>
                  <a:lnTo>
                    <a:pt x="87" y="91"/>
                  </a:lnTo>
                  <a:lnTo>
                    <a:pt x="123" y="91"/>
                  </a:lnTo>
                  <a:lnTo>
                    <a:pt x="146" y="68"/>
                  </a:lnTo>
                  <a:lnTo>
                    <a:pt x="146" y="50"/>
                  </a:lnTo>
                  <a:lnTo>
                    <a:pt x="161" y="34"/>
                  </a:lnTo>
                  <a:lnTo>
                    <a:pt x="177" y="23"/>
                  </a:lnTo>
                  <a:lnTo>
                    <a:pt x="166" y="23"/>
                  </a:lnTo>
                  <a:lnTo>
                    <a:pt x="152" y="9"/>
                  </a:lnTo>
                  <a:lnTo>
                    <a:pt x="152" y="0"/>
                  </a:lnTo>
                  <a:lnTo>
                    <a:pt x="114" y="0"/>
                  </a:lnTo>
                  <a:lnTo>
                    <a:pt x="93" y="23"/>
                  </a:lnTo>
                  <a:lnTo>
                    <a:pt x="73" y="23"/>
                  </a:lnTo>
                  <a:lnTo>
                    <a:pt x="73" y="41"/>
                  </a:lnTo>
                  <a:lnTo>
                    <a:pt x="41" y="41"/>
                  </a:lnTo>
                  <a:lnTo>
                    <a:pt x="23" y="23"/>
                  </a:lnTo>
                  <a:lnTo>
                    <a:pt x="2" y="44"/>
                  </a:lnTo>
                  <a:lnTo>
                    <a:pt x="2" y="62"/>
                  </a:lnTo>
                  <a:lnTo>
                    <a:pt x="0" y="62"/>
                  </a:lnTo>
                  <a:lnTo>
                    <a:pt x="21" y="85"/>
                  </a:lnTo>
                  <a:lnTo>
                    <a:pt x="38" y="10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314">
              <a:extLst>
                <a:ext uri="{FF2B5EF4-FFF2-40B4-BE49-F238E27FC236}">
                  <a16:creationId xmlns:a16="http://schemas.microsoft.com/office/drawing/2014/main" id="{721205D0-AF7A-446B-B793-8D69EB348D90}"/>
                </a:ext>
              </a:extLst>
            </p:cNvPr>
            <p:cNvSpPr>
              <a:spLocks/>
            </p:cNvSpPr>
            <p:nvPr/>
          </p:nvSpPr>
          <p:spPr bwMode="auto">
            <a:xfrm>
              <a:off x="4676776" y="2733675"/>
              <a:ext cx="84138" cy="84138"/>
            </a:xfrm>
            <a:custGeom>
              <a:avLst/>
              <a:gdLst>
                <a:gd name="T0" fmla="*/ 103 w 107"/>
                <a:gd name="T1" fmla="*/ 43 h 105"/>
                <a:gd name="T2" fmla="*/ 94 w 107"/>
                <a:gd name="T3" fmla="*/ 34 h 105"/>
                <a:gd name="T4" fmla="*/ 94 w 107"/>
                <a:gd name="T5" fmla="*/ 13 h 105"/>
                <a:gd name="T6" fmla="*/ 82 w 107"/>
                <a:gd name="T7" fmla="*/ 0 h 105"/>
                <a:gd name="T8" fmla="*/ 37 w 107"/>
                <a:gd name="T9" fmla="*/ 0 h 105"/>
                <a:gd name="T10" fmla="*/ 37 w 107"/>
                <a:gd name="T11" fmla="*/ 7 h 105"/>
                <a:gd name="T12" fmla="*/ 0 w 107"/>
                <a:gd name="T13" fmla="*/ 7 h 105"/>
                <a:gd name="T14" fmla="*/ 19 w 107"/>
                <a:gd name="T15" fmla="*/ 27 h 105"/>
                <a:gd name="T16" fmla="*/ 19 w 107"/>
                <a:gd name="T17" fmla="*/ 41 h 105"/>
                <a:gd name="T18" fmla="*/ 50 w 107"/>
                <a:gd name="T19" fmla="*/ 73 h 105"/>
                <a:gd name="T20" fmla="*/ 50 w 107"/>
                <a:gd name="T21" fmla="*/ 86 h 105"/>
                <a:gd name="T22" fmla="*/ 64 w 107"/>
                <a:gd name="T23" fmla="*/ 98 h 105"/>
                <a:gd name="T24" fmla="*/ 68 w 107"/>
                <a:gd name="T25" fmla="*/ 102 h 105"/>
                <a:gd name="T26" fmla="*/ 73 w 107"/>
                <a:gd name="T27" fmla="*/ 105 h 105"/>
                <a:gd name="T28" fmla="*/ 73 w 107"/>
                <a:gd name="T29" fmla="*/ 84 h 105"/>
                <a:gd name="T30" fmla="*/ 89 w 107"/>
                <a:gd name="T31" fmla="*/ 66 h 105"/>
                <a:gd name="T32" fmla="*/ 107 w 107"/>
                <a:gd name="T33" fmla="*/ 47 h 105"/>
                <a:gd name="T34" fmla="*/ 103 w 107"/>
                <a:gd name="T35" fmla="*/ 4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105">
                  <a:moveTo>
                    <a:pt x="103" y="43"/>
                  </a:moveTo>
                  <a:lnTo>
                    <a:pt x="94" y="34"/>
                  </a:lnTo>
                  <a:lnTo>
                    <a:pt x="94" y="13"/>
                  </a:lnTo>
                  <a:lnTo>
                    <a:pt x="82" y="0"/>
                  </a:lnTo>
                  <a:lnTo>
                    <a:pt x="37" y="0"/>
                  </a:lnTo>
                  <a:lnTo>
                    <a:pt x="37" y="7"/>
                  </a:lnTo>
                  <a:lnTo>
                    <a:pt x="0" y="7"/>
                  </a:lnTo>
                  <a:lnTo>
                    <a:pt x="19" y="27"/>
                  </a:lnTo>
                  <a:lnTo>
                    <a:pt x="19" y="41"/>
                  </a:lnTo>
                  <a:lnTo>
                    <a:pt x="50" y="73"/>
                  </a:lnTo>
                  <a:lnTo>
                    <a:pt x="50" y="86"/>
                  </a:lnTo>
                  <a:lnTo>
                    <a:pt x="64" y="98"/>
                  </a:lnTo>
                  <a:lnTo>
                    <a:pt x="68" y="102"/>
                  </a:lnTo>
                  <a:lnTo>
                    <a:pt x="73" y="105"/>
                  </a:lnTo>
                  <a:lnTo>
                    <a:pt x="73" y="84"/>
                  </a:lnTo>
                  <a:lnTo>
                    <a:pt x="89" y="66"/>
                  </a:lnTo>
                  <a:lnTo>
                    <a:pt x="107" y="47"/>
                  </a:lnTo>
                  <a:lnTo>
                    <a:pt x="103" y="4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8" name="Freeform 315">
              <a:extLst>
                <a:ext uri="{FF2B5EF4-FFF2-40B4-BE49-F238E27FC236}">
                  <a16:creationId xmlns:a16="http://schemas.microsoft.com/office/drawing/2014/main" id="{93545708-7F99-4C1D-AFAE-15C1384BE3EB}"/>
                </a:ext>
              </a:extLst>
            </p:cNvPr>
            <p:cNvSpPr>
              <a:spLocks/>
            </p:cNvSpPr>
            <p:nvPr/>
          </p:nvSpPr>
          <p:spPr bwMode="auto">
            <a:xfrm>
              <a:off x="4633913" y="2682875"/>
              <a:ext cx="107950" cy="119063"/>
            </a:xfrm>
            <a:custGeom>
              <a:avLst/>
              <a:gdLst>
                <a:gd name="T0" fmla="*/ 123 w 136"/>
                <a:gd name="T1" fmla="*/ 38 h 150"/>
                <a:gd name="T2" fmla="*/ 106 w 136"/>
                <a:gd name="T3" fmla="*/ 38 h 150"/>
                <a:gd name="T4" fmla="*/ 89 w 136"/>
                <a:gd name="T5" fmla="*/ 23 h 150"/>
                <a:gd name="T6" fmla="*/ 68 w 136"/>
                <a:gd name="T7" fmla="*/ 0 h 150"/>
                <a:gd name="T8" fmla="*/ 52 w 136"/>
                <a:gd name="T9" fmla="*/ 16 h 150"/>
                <a:gd name="T10" fmla="*/ 61 w 136"/>
                <a:gd name="T11" fmla="*/ 25 h 150"/>
                <a:gd name="T12" fmla="*/ 61 w 136"/>
                <a:gd name="T13" fmla="*/ 41 h 150"/>
                <a:gd name="T14" fmla="*/ 45 w 136"/>
                <a:gd name="T15" fmla="*/ 59 h 150"/>
                <a:gd name="T16" fmla="*/ 25 w 136"/>
                <a:gd name="T17" fmla="*/ 59 h 150"/>
                <a:gd name="T18" fmla="*/ 0 w 136"/>
                <a:gd name="T19" fmla="*/ 59 h 150"/>
                <a:gd name="T20" fmla="*/ 0 w 136"/>
                <a:gd name="T21" fmla="*/ 75 h 150"/>
                <a:gd name="T22" fmla="*/ 20 w 136"/>
                <a:gd name="T23" fmla="*/ 75 h 150"/>
                <a:gd name="T24" fmla="*/ 41 w 136"/>
                <a:gd name="T25" fmla="*/ 98 h 150"/>
                <a:gd name="T26" fmla="*/ 41 w 136"/>
                <a:gd name="T27" fmla="*/ 107 h 150"/>
                <a:gd name="T28" fmla="*/ 63 w 136"/>
                <a:gd name="T29" fmla="*/ 127 h 150"/>
                <a:gd name="T30" fmla="*/ 77 w 136"/>
                <a:gd name="T31" fmla="*/ 127 h 150"/>
                <a:gd name="T32" fmla="*/ 104 w 136"/>
                <a:gd name="T33" fmla="*/ 150 h 150"/>
                <a:gd name="T34" fmla="*/ 104 w 136"/>
                <a:gd name="T35" fmla="*/ 137 h 150"/>
                <a:gd name="T36" fmla="*/ 73 w 136"/>
                <a:gd name="T37" fmla="*/ 105 h 150"/>
                <a:gd name="T38" fmla="*/ 73 w 136"/>
                <a:gd name="T39" fmla="*/ 91 h 150"/>
                <a:gd name="T40" fmla="*/ 54 w 136"/>
                <a:gd name="T41" fmla="*/ 71 h 150"/>
                <a:gd name="T42" fmla="*/ 91 w 136"/>
                <a:gd name="T43" fmla="*/ 71 h 150"/>
                <a:gd name="T44" fmla="*/ 91 w 136"/>
                <a:gd name="T45" fmla="*/ 64 h 150"/>
                <a:gd name="T46" fmla="*/ 136 w 136"/>
                <a:gd name="T47" fmla="*/ 64 h 150"/>
                <a:gd name="T48" fmla="*/ 136 w 136"/>
                <a:gd name="T49" fmla="*/ 38 h 150"/>
                <a:gd name="T50" fmla="*/ 123 w 136"/>
                <a:gd name="T51" fmla="*/ 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 h="150">
                  <a:moveTo>
                    <a:pt x="123" y="38"/>
                  </a:moveTo>
                  <a:lnTo>
                    <a:pt x="106" y="38"/>
                  </a:lnTo>
                  <a:lnTo>
                    <a:pt x="89" y="23"/>
                  </a:lnTo>
                  <a:lnTo>
                    <a:pt x="68" y="0"/>
                  </a:lnTo>
                  <a:lnTo>
                    <a:pt x="52" y="16"/>
                  </a:lnTo>
                  <a:lnTo>
                    <a:pt x="61" y="25"/>
                  </a:lnTo>
                  <a:lnTo>
                    <a:pt x="61" y="41"/>
                  </a:lnTo>
                  <a:lnTo>
                    <a:pt x="45" y="59"/>
                  </a:lnTo>
                  <a:lnTo>
                    <a:pt x="25" y="59"/>
                  </a:lnTo>
                  <a:lnTo>
                    <a:pt x="0" y="59"/>
                  </a:lnTo>
                  <a:lnTo>
                    <a:pt x="0" y="75"/>
                  </a:lnTo>
                  <a:lnTo>
                    <a:pt x="20" y="75"/>
                  </a:lnTo>
                  <a:lnTo>
                    <a:pt x="41" y="98"/>
                  </a:lnTo>
                  <a:lnTo>
                    <a:pt x="41" y="107"/>
                  </a:lnTo>
                  <a:lnTo>
                    <a:pt x="63" y="127"/>
                  </a:lnTo>
                  <a:lnTo>
                    <a:pt x="77" y="127"/>
                  </a:lnTo>
                  <a:lnTo>
                    <a:pt x="104" y="150"/>
                  </a:lnTo>
                  <a:lnTo>
                    <a:pt x="104" y="137"/>
                  </a:lnTo>
                  <a:lnTo>
                    <a:pt x="73" y="105"/>
                  </a:lnTo>
                  <a:lnTo>
                    <a:pt x="73" y="91"/>
                  </a:lnTo>
                  <a:lnTo>
                    <a:pt x="54" y="71"/>
                  </a:lnTo>
                  <a:lnTo>
                    <a:pt x="91" y="71"/>
                  </a:lnTo>
                  <a:lnTo>
                    <a:pt x="91" y="64"/>
                  </a:lnTo>
                  <a:lnTo>
                    <a:pt x="136" y="64"/>
                  </a:lnTo>
                  <a:lnTo>
                    <a:pt x="136" y="38"/>
                  </a:lnTo>
                  <a:lnTo>
                    <a:pt x="123" y="3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316">
              <a:extLst>
                <a:ext uri="{FF2B5EF4-FFF2-40B4-BE49-F238E27FC236}">
                  <a16:creationId xmlns:a16="http://schemas.microsoft.com/office/drawing/2014/main" id="{07350ED9-8188-4CA6-B8BA-A49A60761ECA}"/>
                </a:ext>
              </a:extLst>
            </p:cNvPr>
            <p:cNvSpPr>
              <a:spLocks/>
            </p:cNvSpPr>
            <p:nvPr/>
          </p:nvSpPr>
          <p:spPr bwMode="auto">
            <a:xfrm>
              <a:off x="4762501" y="2795588"/>
              <a:ext cx="34925" cy="34925"/>
            </a:xfrm>
            <a:custGeom>
              <a:avLst/>
              <a:gdLst>
                <a:gd name="T0" fmla="*/ 39 w 42"/>
                <a:gd name="T1" fmla="*/ 12 h 43"/>
                <a:gd name="T2" fmla="*/ 26 w 42"/>
                <a:gd name="T3" fmla="*/ 0 h 43"/>
                <a:gd name="T4" fmla="*/ 12 w 42"/>
                <a:gd name="T5" fmla="*/ 0 h 43"/>
                <a:gd name="T6" fmla="*/ 0 w 42"/>
                <a:gd name="T7" fmla="*/ 12 h 43"/>
                <a:gd name="T8" fmla="*/ 16 w 42"/>
                <a:gd name="T9" fmla="*/ 26 h 43"/>
                <a:gd name="T10" fmla="*/ 16 w 42"/>
                <a:gd name="T11" fmla="*/ 43 h 43"/>
                <a:gd name="T12" fmla="*/ 33 w 42"/>
                <a:gd name="T13" fmla="*/ 25 h 43"/>
                <a:gd name="T14" fmla="*/ 42 w 42"/>
                <a:gd name="T15" fmla="*/ 25 h 43"/>
                <a:gd name="T16" fmla="*/ 42 w 42"/>
                <a:gd name="T17" fmla="*/ 16 h 43"/>
                <a:gd name="T18" fmla="*/ 39 w 42"/>
                <a:gd name="T19"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39" y="12"/>
                  </a:moveTo>
                  <a:lnTo>
                    <a:pt x="26" y="0"/>
                  </a:lnTo>
                  <a:lnTo>
                    <a:pt x="12" y="0"/>
                  </a:lnTo>
                  <a:lnTo>
                    <a:pt x="0" y="12"/>
                  </a:lnTo>
                  <a:lnTo>
                    <a:pt x="16" y="26"/>
                  </a:lnTo>
                  <a:lnTo>
                    <a:pt x="16" y="43"/>
                  </a:lnTo>
                  <a:lnTo>
                    <a:pt x="33" y="25"/>
                  </a:lnTo>
                  <a:lnTo>
                    <a:pt x="42" y="25"/>
                  </a:lnTo>
                  <a:lnTo>
                    <a:pt x="42" y="16"/>
                  </a:lnTo>
                  <a:lnTo>
                    <a:pt x="39" y="1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317">
              <a:extLst>
                <a:ext uri="{FF2B5EF4-FFF2-40B4-BE49-F238E27FC236}">
                  <a16:creationId xmlns:a16="http://schemas.microsoft.com/office/drawing/2014/main" id="{6B5E4766-D4D9-4F84-8EEE-E2452367BD95}"/>
                </a:ext>
              </a:extLst>
            </p:cNvPr>
            <p:cNvSpPr>
              <a:spLocks/>
            </p:cNvSpPr>
            <p:nvPr/>
          </p:nvSpPr>
          <p:spPr bwMode="auto">
            <a:xfrm>
              <a:off x="4741863" y="2705100"/>
              <a:ext cx="85725" cy="111125"/>
            </a:xfrm>
            <a:custGeom>
              <a:avLst/>
              <a:gdLst>
                <a:gd name="T0" fmla="*/ 93 w 109"/>
                <a:gd name="T1" fmla="*/ 89 h 139"/>
                <a:gd name="T2" fmla="*/ 93 w 109"/>
                <a:gd name="T3" fmla="*/ 53 h 139"/>
                <a:gd name="T4" fmla="*/ 68 w 109"/>
                <a:gd name="T5" fmla="*/ 53 h 139"/>
                <a:gd name="T6" fmla="*/ 68 w 109"/>
                <a:gd name="T7" fmla="*/ 35 h 139"/>
                <a:gd name="T8" fmla="*/ 55 w 109"/>
                <a:gd name="T9" fmla="*/ 35 h 139"/>
                <a:gd name="T10" fmla="*/ 55 w 109"/>
                <a:gd name="T11" fmla="*/ 21 h 139"/>
                <a:gd name="T12" fmla="*/ 34 w 109"/>
                <a:gd name="T13" fmla="*/ 0 h 139"/>
                <a:gd name="T14" fmla="*/ 19 w 109"/>
                <a:gd name="T15" fmla="*/ 0 h 139"/>
                <a:gd name="T16" fmla="*/ 11 w 109"/>
                <a:gd name="T17" fmla="*/ 9 h 139"/>
                <a:gd name="T18" fmla="*/ 0 w 109"/>
                <a:gd name="T19" fmla="*/ 9 h 139"/>
                <a:gd name="T20" fmla="*/ 0 w 109"/>
                <a:gd name="T21" fmla="*/ 35 h 139"/>
                <a:gd name="T22" fmla="*/ 0 w 109"/>
                <a:gd name="T23" fmla="*/ 35 h 139"/>
                <a:gd name="T24" fmla="*/ 12 w 109"/>
                <a:gd name="T25" fmla="*/ 48 h 139"/>
                <a:gd name="T26" fmla="*/ 12 w 109"/>
                <a:gd name="T27" fmla="*/ 69 h 139"/>
                <a:gd name="T28" fmla="*/ 21 w 109"/>
                <a:gd name="T29" fmla="*/ 78 h 139"/>
                <a:gd name="T30" fmla="*/ 25 w 109"/>
                <a:gd name="T31" fmla="*/ 82 h 139"/>
                <a:gd name="T32" fmla="*/ 7 w 109"/>
                <a:gd name="T33" fmla="*/ 101 h 139"/>
                <a:gd name="T34" fmla="*/ 19 w 109"/>
                <a:gd name="T35" fmla="*/ 114 h 139"/>
                <a:gd name="T36" fmla="*/ 39 w 109"/>
                <a:gd name="T37" fmla="*/ 114 h 139"/>
                <a:gd name="T38" fmla="*/ 53 w 109"/>
                <a:gd name="T39" fmla="*/ 114 h 139"/>
                <a:gd name="T40" fmla="*/ 66 w 109"/>
                <a:gd name="T41" fmla="*/ 126 h 139"/>
                <a:gd name="T42" fmla="*/ 69 w 109"/>
                <a:gd name="T43" fmla="*/ 130 h 139"/>
                <a:gd name="T44" fmla="*/ 69 w 109"/>
                <a:gd name="T45" fmla="*/ 139 h 139"/>
                <a:gd name="T46" fmla="*/ 93 w 109"/>
                <a:gd name="T47" fmla="*/ 139 h 139"/>
                <a:gd name="T48" fmla="*/ 93 w 109"/>
                <a:gd name="T49" fmla="*/ 119 h 139"/>
                <a:gd name="T50" fmla="*/ 109 w 109"/>
                <a:gd name="T51" fmla="*/ 119 h 139"/>
                <a:gd name="T52" fmla="*/ 109 w 109"/>
                <a:gd name="T53" fmla="*/ 105 h 139"/>
                <a:gd name="T54" fmla="*/ 93 w 109"/>
                <a:gd name="T55" fmla="*/ 8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9" h="139">
                  <a:moveTo>
                    <a:pt x="93" y="89"/>
                  </a:moveTo>
                  <a:lnTo>
                    <a:pt x="93" y="53"/>
                  </a:lnTo>
                  <a:lnTo>
                    <a:pt x="68" y="53"/>
                  </a:lnTo>
                  <a:lnTo>
                    <a:pt x="68" y="35"/>
                  </a:lnTo>
                  <a:lnTo>
                    <a:pt x="55" y="35"/>
                  </a:lnTo>
                  <a:lnTo>
                    <a:pt x="55" y="21"/>
                  </a:lnTo>
                  <a:lnTo>
                    <a:pt x="34" y="0"/>
                  </a:lnTo>
                  <a:lnTo>
                    <a:pt x="19" y="0"/>
                  </a:lnTo>
                  <a:lnTo>
                    <a:pt x="11" y="9"/>
                  </a:lnTo>
                  <a:lnTo>
                    <a:pt x="0" y="9"/>
                  </a:lnTo>
                  <a:lnTo>
                    <a:pt x="0" y="35"/>
                  </a:lnTo>
                  <a:lnTo>
                    <a:pt x="0" y="35"/>
                  </a:lnTo>
                  <a:lnTo>
                    <a:pt x="12" y="48"/>
                  </a:lnTo>
                  <a:lnTo>
                    <a:pt x="12" y="69"/>
                  </a:lnTo>
                  <a:lnTo>
                    <a:pt x="21" y="78"/>
                  </a:lnTo>
                  <a:lnTo>
                    <a:pt x="25" y="82"/>
                  </a:lnTo>
                  <a:lnTo>
                    <a:pt x="7" y="101"/>
                  </a:lnTo>
                  <a:lnTo>
                    <a:pt x="19" y="114"/>
                  </a:lnTo>
                  <a:lnTo>
                    <a:pt x="39" y="114"/>
                  </a:lnTo>
                  <a:lnTo>
                    <a:pt x="53" y="114"/>
                  </a:lnTo>
                  <a:lnTo>
                    <a:pt x="66" y="126"/>
                  </a:lnTo>
                  <a:lnTo>
                    <a:pt x="69" y="130"/>
                  </a:lnTo>
                  <a:lnTo>
                    <a:pt x="69" y="139"/>
                  </a:lnTo>
                  <a:lnTo>
                    <a:pt x="93" y="139"/>
                  </a:lnTo>
                  <a:lnTo>
                    <a:pt x="93" y="119"/>
                  </a:lnTo>
                  <a:lnTo>
                    <a:pt x="109" y="119"/>
                  </a:lnTo>
                  <a:lnTo>
                    <a:pt x="109" y="105"/>
                  </a:lnTo>
                  <a:lnTo>
                    <a:pt x="93" y="8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1" name="Freeform 318">
              <a:extLst>
                <a:ext uri="{FF2B5EF4-FFF2-40B4-BE49-F238E27FC236}">
                  <a16:creationId xmlns:a16="http://schemas.microsoft.com/office/drawing/2014/main" id="{F09D967B-EDE3-484F-B5BE-5D2303626256}"/>
                </a:ext>
              </a:extLst>
            </p:cNvPr>
            <p:cNvSpPr>
              <a:spLocks/>
            </p:cNvSpPr>
            <p:nvPr/>
          </p:nvSpPr>
          <p:spPr bwMode="auto">
            <a:xfrm>
              <a:off x="4884738" y="2827338"/>
              <a:ext cx="392113" cy="158750"/>
            </a:xfrm>
            <a:custGeom>
              <a:avLst/>
              <a:gdLst>
                <a:gd name="T0" fmla="*/ 471 w 494"/>
                <a:gd name="T1" fmla="*/ 66 h 200"/>
                <a:gd name="T2" fmla="*/ 471 w 494"/>
                <a:gd name="T3" fmla="*/ 43 h 200"/>
                <a:gd name="T4" fmla="*/ 444 w 494"/>
                <a:gd name="T5" fmla="*/ 18 h 200"/>
                <a:gd name="T6" fmla="*/ 414 w 494"/>
                <a:gd name="T7" fmla="*/ 18 h 200"/>
                <a:gd name="T8" fmla="*/ 414 w 494"/>
                <a:gd name="T9" fmla="*/ 18 h 200"/>
                <a:gd name="T10" fmla="*/ 383 w 494"/>
                <a:gd name="T11" fmla="*/ 48 h 200"/>
                <a:gd name="T12" fmla="*/ 353 w 494"/>
                <a:gd name="T13" fmla="*/ 48 h 200"/>
                <a:gd name="T14" fmla="*/ 353 w 494"/>
                <a:gd name="T15" fmla="*/ 41 h 200"/>
                <a:gd name="T16" fmla="*/ 335 w 494"/>
                <a:gd name="T17" fmla="*/ 41 h 200"/>
                <a:gd name="T18" fmla="*/ 325 w 494"/>
                <a:gd name="T19" fmla="*/ 41 h 200"/>
                <a:gd name="T20" fmla="*/ 312 w 494"/>
                <a:gd name="T21" fmla="*/ 30 h 200"/>
                <a:gd name="T22" fmla="*/ 273 w 494"/>
                <a:gd name="T23" fmla="*/ 30 h 200"/>
                <a:gd name="T24" fmla="*/ 259 w 494"/>
                <a:gd name="T25" fmla="*/ 16 h 200"/>
                <a:gd name="T26" fmla="*/ 250 w 494"/>
                <a:gd name="T27" fmla="*/ 25 h 200"/>
                <a:gd name="T28" fmla="*/ 239 w 494"/>
                <a:gd name="T29" fmla="*/ 12 h 200"/>
                <a:gd name="T30" fmla="*/ 198 w 494"/>
                <a:gd name="T31" fmla="*/ 12 h 200"/>
                <a:gd name="T32" fmla="*/ 164 w 494"/>
                <a:gd name="T33" fmla="*/ 12 h 200"/>
                <a:gd name="T34" fmla="*/ 137 w 494"/>
                <a:gd name="T35" fmla="*/ 39 h 200"/>
                <a:gd name="T36" fmla="*/ 78 w 494"/>
                <a:gd name="T37" fmla="*/ 39 h 200"/>
                <a:gd name="T38" fmla="*/ 78 w 494"/>
                <a:gd name="T39" fmla="*/ 39 h 200"/>
                <a:gd name="T40" fmla="*/ 68 w 494"/>
                <a:gd name="T41" fmla="*/ 39 h 200"/>
                <a:gd name="T42" fmla="*/ 50 w 494"/>
                <a:gd name="T43" fmla="*/ 20 h 200"/>
                <a:gd name="T44" fmla="*/ 50 w 494"/>
                <a:gd name="T45" fmla="*/ 0 h 200"/>
                <a:gd name="T46" fmla="*/ 36 w 494"/>
                <a:gd name="T47" fmla="*/ 0 h 200"/>
                <a:gd name="T48" fmla="*/ 18 w 494"/>
                <a:gd name="T49" fmla="*/ 0 h 200"/>
                <a:gd name="T50" fmla="*/ 12 w 494"/>
                <a:gd name="T51" fmla="*/ 4 h 200"/>
                <a:gd name="T52" fmla="*/ 23 w 494"/>
                <a:gd name="T53" fmla="*/ 14 h 200"/>
                <a:gd name="T54" fmla="*/ 20 w 494"/>
                <a:gd name="T55" fmla="*/ 18 h 200"/>
                <a:gd name="T56" fmla="*/ 14 w 494"/>
                <a:gd name="T57" fmla="*/ 23 h 200"/>
                <a:gd name="T58" fmla="*/ 14 w 494"/>
                <a:gd name="T59" fmla="*/ 34 h 200"/>
                <a:gd name="T60" fmla="*/ 0 w 494"/>
                <a:gd name="T61" fmla="*/ 50 h 200"/>
                <a:gd name="T62" fmla="*/ 16 w 494"/>
                <a:gd name="T63" fmla="*/ 50 h 200"/>
                <a:gd name="T64" fmla="*/ 16 w 494"/>
                <a:gd name="T65" fmla="*/ 84 h 200"/>
                <a:gd name="T66" fmla="*/ 32 w 494"/>
                <a:gd name="T67" fmla="*/ 84 h 200"/>
                <a:gd name="T68" fmla="*/ 32 w 494"/>
                <a:gd name="T69" fmla="*/ 114 h 200"/>
                <a:gd name="T70" fmla="*/ 23 w 494"/>
                <a:gd name="T71" fmla="*/ 125 h 200"/>
                <a:gd name="T72" fmla="*/ 37 w 494"/>
                <a:gd name="T73" fmla="*/ 139 h 200"/>
                <a:gd name="T74" fmla="*/ 37 w 494"/>
                <a:gd name="T75" fmla="*/ 171 h 200"/>
                <a:gd name="T76" fmla="*/ 96 w 494"/>
                <a:gd name="T77" fmla="*/ 171 h 200"/>
                <a:gd name="T78" fmla="*/ 96 w 494"/>
                <a:gd name="T79" fmla="*/ 191 h 200"/>
                <a:gd name="T80" fmla="*/ 128 w 494"/>
                <a:gd name="T81" fmla="*/ 191 h 200"/>
                <a:gd name="T82" fmla="*/ 141 w 494"/>
                <a:gd name="T83" fmla="*/ 178 h 200"/>
                <a:gd name="T84" fmla="*/ 159 w 494"/>
                <a:gd name="T85" fmla="*/ 178 h 200"/>
                <a:gd name="T86" fmla="*/ 180 w 494"/>
                <a:gd name="T87" fmla="*/ 200 h 200"/>
                <a:gd name="T88" fmla="*/ 221 w 494"/>
                <a:gd name="T89" fmla="*/ 200 h 200"/>
                <a:gd name="T90" fmla="*/ 241 w 494"/>
                <a:gd name="T91" fmla="*/ 178 h 200"/>
                <a:gd name="T92" fmla="*/ 273 w 494"/>
                <a:gd name="T93" fmla="*/ 178 h 200"/>
                <a:gd name="T94" fmla="*/ 296 w 494"/>
                <a:gd name="T95" fmla="*/ 178 h 200"/>
                <a:gd name="T96" fmla="*/ 339 w 494"/>
                <a:gd name="T97" fmla="*/ 178 h 200"/>
                <a:gd name="T98" fmla="*/ 371 w 494"/>
                <a:gd name="T99" fmla="*/ 178 h 200"/>
                <a:gd name="T100" fmla="*/ 385 w 494"/>
                <a:gd name="T101" fmla="*/ 164 h 200"/>
                <a:gd name="T102" fmla="*/ 401 w 494"/>
                <a:gd name="T103" fmla="*/ 164 h 200"/>
                <a:gd name="T104" fmla="*/ 412 w 494"/>
                <a:gd name="T105" fmla="*/ 175 h 200"/>
                <a:gd name="T106" fmla="*/ 431 w 494"/>
                <a:gd name="T107" fmla="*/ 175 h 200"/>
                <a:gd name="T108" fmla="*/ 446 w 494"/>
                <a:gd name="T109" fmla="*/ 160 h 200"/>
                <a:gd name="T110" fmla="*/ 494 w 494"/>
                <a:gd name="T111" fmla="*/ 160 h 200"/>
                <a:gd name="T112" fmla="*/ 494 w 494"/>
                <a:gd name="T113" fmla="*/ 87 h 200"/>
                <a:gd name="T114" fmla="*/ 471 w 494"/>
                <a:gd name="T115" fmla="*/ 6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4" h="200">
                  <a:moveTo>
                    <a:pt x="471" y="66"/>
                  </a:moveTo>
                  <a:lnTo>
                    <a:pt x="471" y="43"/>
                  </a:lnTo>
                  <a:lnTo>
                    <a:pt x="444" y="18"/>
                  </a:lnTo>
                  <a:lnTo>
                    <a:pt x="414" y="18"/>
                  </a:lnTo>
                  <a:lnTo>
                    <a:pt x="414" y="18"/>
                  </a:lnTo>
                  <a:lnTo>
                    <a:pt x="383" y="48"/>
                  </a:lnTo>
                  <a:lnTo>
                    <a:pt x="353" y="48"/>
                  </a:lnTo>
                  <a:lnTo>
                    <a:pt x="353" y="41"/>
                  </a:lnTo>
                  <a:lnTo>
                    <a:pt x="335" y="41"/>
                  </a:lnTo>
                  <a:lnTo>
                    <a:pt x="325" y="41"/>
                  </a:lnTo>
                  <a:lnTo>
                    <a:pt x="312" y="30"/>
                  </a:lnTo>
                  <a:lnTo>
                    <a:pt x="273" y="30"/>
                  </a:lnTo>
                  <a:lnTo>
                    <a:pt x="259" y="16"/>
                  </a:lnTo>
                  <a:lnTo>
                    <a:pt x="250" y="25"/>
                  </a:lnTo>
                  <a:lnTo>
                    <a:pt x="239" y="12"/>
                  </a:lnTo>
                  <a:lnTo>
                    <a:pt x="198" y="12"/>
                  </a:lnTo>
                  <a:lnTo>
                    <a:pt x="164" y="12"/>
                  </a:lnTo>
                  <a:lnTo>
                    <a:pt x="137" y="39"/>
                  </a:lnTo>
                  <a:lnTo>
                    <a:pt x="78" y="39"/>
                  </a:lnTo>
                  <a:lnTo>
                    <a:pt x="78" y="39"/>
                  </a:lnTo>
                  <a:lnTo>
                    <a:pt x="68" y="39"/>
                  </a:lnTo>
                  <a:lnTo>
                    <a:pt x="50" y="20"/>
                  </a:lnTo>
                  <a:lnTo>
                    <a:pt x="50" y="0"/>
                  </a:lnTo>
                  <a:lnTo>
                    <a:pt x="36" y="0"/>
                  </a:lnTo>
                  <a:lnTo>
                    <a:pt x="18" y="0"/>
                  </a:lnTo>
                  <a:lnTo>
                    <a:pt x="12" y="4"/>
                  </a:lnTo>
                  <a:lnTo>
                    <a:pt x="23" y="14"/>
                  </a:lnTo>
                  <a:lnTo>
                    <a:pt x="20" y="18"/>
                  </a:lnTo>
                  <a:lnTo>
                    <a:pt x="14" y="23"/>
                  </a:lnTo>
                  <a:lnTo>
                    <a:pt x="14" y="34"/>
                  </a:lnTo>
                  <a:lnTo>
                    <a:pt x="0" y="50"/>
                  </a:lnTo>
                  <a:lnTo>
                    <a:pt x="16" y="50"/>
                  </a:lnTo>
                  <a:lnTo>
                    <a:pt x="16" y="84"/>
                  </a:lnTo>
                  <a:lnTo>
                    <a:pt x="32" y="84"/>
                  </a:lnTo>
                  <a:lnTo>
                    <a:pt x="32" y="114"/>
                  </a:lnTo>
                  <a:lnTo>
                    <a:pt x="23" y="125"/>
                  </a:lnTo>
                  <a:lnTo>
                    <a:pt x="37" y="139"/>
                  </a:lnTo>
                  <a:lnTo>
                    <a:pt x="37" y="171"/>
                  </a:lnTo>
                  <a:lnTo>
                    <a:pt x="96" y="171"/>
                  </a:lnTo>
                  <a:lnTo>
                    <a:pt x="96" y="191"/>
                  </a:lnTo>
                  <a:lnTo>
                    <a:pt x="128" y="191"/>
                  </a:lnTo>
                  <a:lnTo>
                    <a:pt x="141" y="178"/>
                  </a:lnTo>
                  <a:lnTo>
                    <a:pt x="159" y="178"/>
                  </a:lnTo>
                  <a:lnTo>
                    <a:pt x="180" y="200"/>
                  </a:lnTo>
                  <a:lnTo>
                    <a:pt x="221" y="200"/>
                  </a:lnTo>
                  <a:lnTo>
                    <a:pt x="241" y="178"/>
                  </a:lnTo>
                  <a:lnTo>
                    <a:pt x="273" y="178"/>
                  </a:lnTo>
                  <a:lnTo>
                    <a:pt x="296" y="178"/>
                  </a:lnTo>
                  <a:lnTo>
                    <a:pt x="339" y="178"/>
                  </a:lnTo>
                  <a:lnTo>
                    <a:pt x="371" y="178"/>
                  </a:lnTo>
                  <a:lnTo>
                    <a:pt x="385" y="164"/>
                  </a:lnTo>
                  <a:lnTo>
                    <a:pt x="401" y="164"/>
                  </a:lnTo>
                  <a:lnTo>
                    <a:pt x="412" y="175"/>
                  </a:lnTo>
                  <a:lnTo>
                    <a:pt x="431" y="175"/>
                  </a:lnTo>
                  <a:lnTo>
                    <a:pt x="446" y="160"/>
                  </a:lnTo>
                  <a:lnTo>
                    <a:pt x="494" y="160"/>
                  </a:lnTo>
                  <a:lnTo>
                    <a:pt x="494" y="87"/>
                  </a:lnTo>
                  <a:lnTo>
                    <a:pt x="471" y="66"/>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319">
              <a:extLst>
                <a:ext uri="{FF2B5EF4-FFF2-40B4-BE49-F238E27FC236}">
                  <a16:creationId xmlns:a16="http://schemas.microsoft.com/office/drawing/2014/main" id="{F17C7287-F0EF-4C62-821B-E37A9D478D90}"/>
                </a:ext>
              </a:extLst>
            </p:cNvPr>
            <p:cNvSpPr>
              <a:spLocks/>
            </p:cNvSpPr>
            <p:nvPr/>
          </p:nvSpPr>
          <p:spPr bwMode="auto">
            <a:xfrm>
              <a:off x="4767263" y="2830513"/>
              <a:ext cx="136525" cy="107950"/>
            </a:xfrm>
            <a:custGeom>
              <a:avLst/>
              <a:gdLst>
                <a:gd name="T0" fmla="*/ 162 w 171"/>
                <a:gd name="T1" fmla="*/ 19 h 135"/>
                <a:gd name="T2" fmla="*/ 168 w 171"/>
                <a:gd name="T3" fmla="*/ 14 h 135"/>
                <a:gd name="T4" fmla="*/ 171 w 171"/>
                <a:gd name="T5" fmla="*/ 10 h 135"/>
                <a:gd name="T6" fmla="*/ 160 w 171"/>
                <a:gd name="T7" fmla="*/ 0 h 135"/>
                <a:gd name="T8" fmla="*/ 146 w 171"/>
                <a:gd name="T9" fmla="*/ 16 h 135"/>
                <a:gd name="T10" fmla="*/ 139 w 171"/>
                <a:gd name="T11" fmla="*/ 21 h 135"/>
                <a:gd name="T12" fmla="*/ 128 w 171"/>
                <a:gd name="T13" fmla="*/ 10 h 135"/>
                <a:gd name="T14" fmla="*/ 105 w 171"/>
                <a:gd name="T15" fmla="*/ 10 h 135"/>
                <a:gd name="T16" fmla="*/ 96 w 171"/>
                <a:gd name="T17" fmla="*/ 19 h 135"/>
                <a:gd name="T18" fmla="*/ 73 w 171"/>
                <a:gd name="T19" fmla="*/ 19 h 135"/>
                <a:gd name="T20" fmla="*/ 48 w 171"/>
                <a:gd name="T21" fmla="*/ 19 h 135"/>
                <a:gd name="T22" fmla="*/ 32 w 171"/>
                <a:gd name="T23" fmla="*/ 35 h 135"/>
                <a:gd name="T24" fmla="*/ 32 w 171"/>
                <a:gd name="T25" fmla="*/ 42 h 135"/>
                <a:gd name="T26" fmla="*/ 0 w 171"/>
                <a:gd name="T27" fmla="*/ 73 h 135"/>
                <a:gd name="T28" fmla="*/ 37 w 171"/>
                <a:gd name="T29" fmla="*/ 110 h 135"/>
                <a:gd name="T30" fmla="*/ 55 w 171"/>
                <a:gd name="T31" fmla="*/ 110 h 135"/>
                <a:gd name="T32" fmla="*/ 80 w 171"/>
                <a:gd name="T33" fmla="*/ 135 h 135"/>
                <a:gd name="T34" fmla="*/ 118 w 171"/>
                <a:gd name="T35" fmla="*/ 135 h 135"/>
                <a:gd name="T36" fmla="*/ 111 w 171"/>
                <a:gd name="T37" fmla="*/ 126 h 135"/>
                <a:gd name="T38" fmla="*/ 78 w 171"/>
                <a:gd name="T39" fmla="*/ 92 h 135"/>
                <a:gd name="T40" fmla="*/ 78 w 171"/>
                <a:gd name="T41" fmla="*/ 49 h 135"/>
                <a:gd name="T42" fmla="*/ 96 w 171"/>
                <a:gd name="T43" fmla="*/ 69 h 135"/>
                <a:gd name="T44" fmla="*/ 111 w 171"/>
                <a:gd name="T45" fmla="*/ 55 h 135"/>
                <a:gd name="T46" fmla="*/ 111 w 171"/>
                <a:gd name="T47" fmla="*/ 39 h 135"/>
                <a:gd name="T48" fmla="*/ 121 w 171"/>
                <a:gd name="T49" fmla="*/ 28 h 135"/>
                <a:gd name="T50" fmla="*/ 127 w 171"/>
                <a:gd name="T51" fmla="*/ 24 h 135"/>
                <a:gd name="T52" fmla="*/ 148 w 171"/>
                <a:gd name="T53" fmla="*/ 46 h 135"/>
                <a:gd name="T54" fmla="*/ 162 w 171"/>
                <a:gd name="T55" fmla="*/ 30 h 135"/>
                <a:gd name="T56" fmla="*/ 162 w 171"/>
                <a:gd name="T57" fmla="*/ 1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135">
                  <a:moveTo>
                    <a:pt x="162" y="19"/>
                  </a:moveTo>
                  <a:lnTo>
                    <a:pt x="168" y="14"/>
                  </a:lnTo>
                  <a:lnTo>
                    <a:pt x="171" y="10"/>
                  </a:lnTo>
                  <a:lnTo>
                    <a:pt x="160" y="0"/>
                  </a:lnTo>
                  <a:lnTo>
                    <a:pt x="146" y="16"/>
                  </a:lnTo>
                  <a:lnTo>
                    <a:pt x="139" y="21"/>
                  </a:lnTo>
                  <a:lnTo>
                    <a:pt x="128" y="10"/>
                  </a:lnTo>
                  <a:lnTo>
                    <a:pt x="105" y="10"/>
                  </a:lnTo>
                  <a:lnTo>
                    <a:pt x="96" y="19"/>
                  </a:lnTo>
                  <a:lnTo>
                    <a:pt x="73" y="19"/>
                  </a:lnTo>
                  <a:lnTo>
                    <a:pt x="48" y="19"/>
                  </a:lnTo>
                  <a:lnTo>
                    <a:pt x="32" y="35"/>
                  </a:lnTo>
                  <a:lnTo>
                    <a:pt x="32" y="42"/>
                  </a:lnTo>
                  <a:lnTo>
                    <a:pt x="0" y="73"/>
                  </a:lnTo>
                  <a:lnTo>
                    <a:pt x="37" y="110"/>
                  </a:lnTo>
                  <a:lnTo>
                    <a:pt x="55" y="110"/>
                  </a:lnTo>
                  <a:lnTo>
                    <a:pt x="80" y="135"/>
                  </a:lnTo>
                  <a:lnTo>
                    <a:pt x="118" y="135"/>
                  </a:lnTo>
                  <a:lnTo>
                    <a:pt x="111" y="126"/>
                  </a:lnTo>
                  <a:lnTo>
                    <a:pt x="78" y="92"/>
                  </a:lnTo>
                  <a:lnTo>
                    <a:pt x="78" y="49"/>
                  </a:lnTo>
                  <a:lnTo>
                    <a:pt x="96" y="69"/>
                  </a:lnTo>
                  <a:lnTo>
                    <a:pt x="111" y="55"/>
                  </a:lnTo>
                  <a:lnTo>
                    <a:pt x="111" y="39"/>
                  </a:lnTo>
                  <a:lnTo>
                    <a:pt x="121" y="28"/>
                  </a:lnTo>
                  <a:lnTo>
                    <a:pt x="127" y="24"/>
                  </a:lnTo>
                  <a:lnTo>
                    <a:pt x="148" y="46"/>
                  </a:lnTo>
                  <a:lnTo>
                    <a:pt x="162" y="30"/>
                  </a:lnTo>
                  <a:lnTo>
                    <a:pt x="162" y="1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320">
              <a:extLst>
                <a:ext uri="{FF2B5EF4-FFF2-40B4-BE49-F238E27FC236}">
                  <a16:creationId xmlns:a16="http://schemas.microsoft.com/office/drawing/2014/main" id="{204E8DC2-D37F-4F12-A6AD-1F3249B84A37}"/>
                </a:ext>
              </a:extLst>
            </p:cNvPr>
            <p:cNvSpPr>
              <a:spLocks/>
            </p:cNvSpPr>
            <p:nvPr/>
          </p:nvSpPr>
          <p:spPr bwMode="auto">
            <a:xfrm>
              <a:off x="4808538" y="2508250"/>
              <a:ext cx="398463" cy="257175"/>
            </a:xfrm>
            <a:custGeom>
              <a:avLst/>
              <a:gdLst>
                <a:gd name="T0" fmla="*/ 481 w 503"/>
                <a:gd name="T1" fmla="*/ 134 h 323"/>
                <a:gd name="T2" fmla="*/ 429 w 503"/>
                <a:gd name="T3" fmla="*/ 109 h 323"/>
                <a:gd name="T4" fmla="*/ 376 w 503"/>
                <a:gd name="T5" fmla="*/ 94 h 323"/>
                <a:gd name="T6" fmla="*/ 355 w 503"/>
                <a:gd name="T7" fmla="*/ 50 h 323"/>
                <a:gd name="T8" fmla="*/ 308 w 503"/>
                <a:gd name="T9" fmla="*/ 5 h 323"/>
                <a:gd name="T10" fmla="*/ 267 w 503"/>
                <a:gd name="T11" fmla="*/ 0 h 323"/>
                <a:gd name="T12" fmla="*/ 217 w 503"/>
                <a:gd name="T13" fmla="*/ 48 h 323"/>
                <a:gd name="T14" fmla="*/ 130 w 503"/>
                <a:gd name="T15" fmla="*/ 20 h 323"/>
                <a:gd name="T16" fmla="*/ 67 w 503"/>
                <a:gd name="T17" fmla="*/ 32 h 323"/>
                <a:gd name="T18" fmla="*/ 41 w 503"/>
                <a:gd name="T19" fmla="*/ 59 h 323"/>
                <a:gd name="T20" fmla="*/ 17 w 503"/>
                <a:gd name="T21" fmla="*/ 103 h 323"/>
                <a:gd name="T22" fmla="*/ 0 w 503"/>
                <a:gd name="T23" fmla="*/ 157 h 323"/>
                <a:gd name="T24" fmla="*/ 14 w 503"/>
                <a:gd name="T25" fmla="*/ 180 h 323"/>
                <a:gd name="T26" fmla="*/ 44 w 503"/>
                <a:gd name="T27" fmla="*/ 180 h 323"/>
                <a:gd name="T28" fmla="*/ 75 w 503"/>
                <a:gd name="T29" fmla="*/ 191 h 323"/>
                <a:gd name="T30" fmla="*/ 96 w 503"/>
                <a:gd name="T31" fmla="*/ 178 h 323"/>
                <a:gd name="T32" fmla="*/ 126 w 503"/>
                <a:gd name="T33" fmla="*/ 162 h 323"/>
                <a:gd name="T34" fmla="*/ 164 w 503"/>
                <a:gd name="T35" fmla="*/ 176 h 323"/>
                <a:gd name="T36" fmla="*/ 190 w 503"/>
                <a:gd name="T37" fmla="*/ 187 h 323"/>
                <a:gd name="T38" fmla="*/ 201 w 503"/>
                <a:gd name="T39" fmla="*/ 223 h 323"/>
                <a:gd name="T40" fmla="*/ 182 w 503"/>
                <a:gd name="T41" fmla="*/ 241 h 323"/>
                <a:gd name="T42" fmla="*/ 167 w 503"/>
                <a:gd name="T43" fmla="*/ 266 h 323"/>
                <a:gd name="T44" fmla="*/ 190 w 503"/>
                <a:gd name="T45" fmla="*/ 296 h 323"/>
                <a:gd name="T46" fmla="*/ 210 w 503"/>
                <a:gd name="T47" fmla="*/ 285 h 323"/>
                <a:gd name="T48" fmla="*/ 217 w 503"/>
                <a:gd name="T49" fmla="*/ 264 h 323"/>
                <a:gd name="T50" fmla="*/ 239 w 503"/>
                <a:gd name="T51" fmla="*/ 241 h 323"/>
                <a:gd name="T52" fmla="*/ 256 w 503"/>
                <a:gd name="T53" fmla="*/ 258 h 323"/>
                <a:gd name="T54" fmla="*/ 305 w 503"/>
                <a:gd name="T55" fmla="*/ 274 h 323"/>
                <a:gd name="T56" fmla="*/ 272 w 503"/>
                <a:gd name="T57" fmla="*/ 289 h 323"/>
                <a:gd name="T58" fmla="*/ 294 w 503"/>
                <a:gd name="T59" fmla="*/ 298 h 323"/>
                <a:gd name="T60" fmla="*/ 326 w 503"/>
                <a:gd name="T61" fmla="*/ 323 h 323"/>
                <a:gd name="T62" fmla="*/ 358 w 503"/>
                <a:gd name="T63" fmla="*/ 303 h 323"/>
                <a:gd name="T64" fmla="*/ 362 w 503"/>
                <a:gd name="T65" fmla="*/ 283 h 323"/>
                <a:gd name="T66" fmla="*/ 360 w 503"/>
                <a:gd name="T67" fmla="*/ 235 h 323"/>
                <a:gd name="T68" fmla="*/ 417 w 503"/>
                <a:gd name="T69" fmla="*/ 219 h 323"/>
                <a:gd name="T70" fmla="*/ 429 w 503"/>
                <a:gd name="T71" fmla="*/ 223 h 323"/>
                <a:gd name="T72" fmla="*/ 486 w 503"/>
                <a:gd name="T73" fmla="*/ 219 h 323"/>
                <a:gd name="T74" fmla="*/ 503 w 503"/>
                <a:gd name="T75" fmla="*/ 18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3" h="323">
                  <a:moveTo>
                    <a:pt x="481" y="160"/>
                  </a:moveTo>
                  <a:lnTo>
                    <a:pt x="481" y="134"/>
                  </a:lnTo>
                  <a:lnTo>
                    <a:pt x="456" y="109"/>
                  </a:lnTo>
                  <a:lnTo>
                    <a:pt x="429" y="109"/>
                  </a:lnTo>
                  <a:lnTo>
                    <a:pt x="396" y="75"/>
                  </a:lnTo>
                  <a:lnTo>
                    <a:pt x="376" y="94"/>
                  </a:lnTo>
                  <a:lnTo>
                    <a:pt x="355" y="73"/>
                  </a:lnTo>
                  <a:lnTo>
                    <a:pt x="355" y="50"/>
                  </a:lnTo>
                  <a:lnTo>
                    <a:pt x="338" y="36"/>
                  </a:lnTo>
                  <a:lnTo>
                    <a:pt x="308" y="5"/>
                  </a:lnTo>
                  <a:lnTo>
                    <a:pt x="272" y="5"/>
                  </a:lnTo>
                  <a:lnTo>
                    <a:pt x="267" y="0"/>
                  </a:lnTo>
                  <a:lnTo>
                    <a:pt x="242" y="23"/>
                  </a:lnTo>
                  <a:lnTo>
                    <a:pt x="217" y="48"/>
                  </a:lnTo>
                  <a:lnTo>
                    <a:pt x="158" y="48"/>
                  </a:lnTo>
                  <a:lnTo>
                    <a:pt x="130" y="20"/>
                  </a:lnTo>
                  <a:lnTo>
                    <a:pt x="80" y="20"/>
                  </a:lnTo>
                  <a:lnTo>
                    <a:pt x="67" y="32"/>
                  </a:lnTo>
                  <a:lnTo>
                    <a:pt x="41" y="32"/>
                  </a:lnTo>
                  <a:lnTo>
                    <a:pt x="41" y="59"/>
                  </a:lnTo>
                  <a:lnTo>
                    <a:pt x="41" y="103"/>
                  </a:lnTo>
                  <a:lnTo>
                    <a:pt x="17" y="103"/>
                  </a:lnTo>
                  <a:lnTo>
                    <a:pt x="17" y="137"/>
                  </a:lnTo>
                  <a:lnTo>
                    <a:pt x="0" y="157"/>
                  </a:lnTo>
                  <a:lnTo>
                    <a:pt x="0" y="166"/>
                  </a:lnTo>
                  <a:lnTo>
                    <a:pt x="14" y="180"/>
                  </a:lnTo>
                  <a:lnTo>
                    <a:pt x="25" y="180"/>
                  </a:lnTo>
                  <a:lnTo>
                    <a:pt x="44" y="180"/>
                  </a:lnTo>
                  <a:lnTo>
                    <a:pt x="66" y="180"/>
                  </a:lnTo>
                  <a:lnTo>
                    <a:pt x="75" y="191"/>
                  </a:lnTo>
                  <a:lnTo>
                    <a:pt x="83" y="191"/>
                  </a:lnTo>
                  <a:lnTo>
                    <a:pt x="96" y="178"/>
                  </a:lnTo>
                  <a:lnTo>
                    <a:pt x="110" y="178"/>
                  </a:lnTo>
                  <a:lnTo>
                    <a:pt x="126" y="162"/>
                  </a:lnTo>
                  <a:lnTo>
                    <a:pt x="148" y="162"/>
                  </a:lnTo>
                  <a:lnTo>
                    <a:pt x="164" y="176"/>
                  </a:lnTo>
                  <a:lnTo>
                    <a:pt x="180" y="176"/>
                  </a:lnTo>
                  <a:lnTo>
                    <a:pt x="190" y="187"/>
                  </a:lnTo>
                  <a:lnTo>
                    <a:pt x="190" y="210"/>
                  </a:lnTo>
                  <a:lnTo>
                    <a:pt x="201" y="223"/>
                  </a:lnTo>
                  <a:lnTo>
                    <a:pt x="201" y="241"/>
                  </a:lnTo>
                  <a:lnTo>
                    <a:pt x="182" y="241"/>
                  </a:lnTo>
                  <a:lnTo>
                    <a:pt x="182" y="253"/>
                  </a:lnTo>
                  <a:lnTo>
                    <a:pt x="167" y="266"/>
                  </a:lnTo>
                  <a:lnTo>
                    <a:pt x="167" y="274"/>
                  </a:lnTo>
                  <a:lnTo>
                    <a:pt x="190" y="296"/>
                  </a:lnTo>
                  <a:lnTo>
                    <a:pt x="199" y="296"/>
                  </a:lnTo>
                  <a:lnTo>
                    <a:pt x="210" y="285"/>
                  </a:lnTo>
                  <a:lnTo>
                    <a:pt x="217" y="280"/>
                  </a:lnTo>
                  <a:lnTo>
                    <a:pt x="217" y="264"/>
                  </a:lnTo>
                  <a:lnTo>
                    <a:pt x="237" y="244"/>
                  </a:lnTo>
                  <a:lnTo>
                    <a:pt x="239" y="241"/>
                  </a:lnTo>
                  <a:lnTo>
                    <a:pt x="256" y="241"/>
                  </a:lnTo>
                  <a:lnTo>
                    <a:pt x="256" y="258"/>
                  </a:lnTo>
                  <a:lnTo>
                    <a:pt x="305" y="258"/>
                  </a:lnTo>
                  <a:lnTo>
                    <a:pt x="305" y="274"/>
                  </a:lnTo>
                  <a:lnTo>
                    <a:pt x="287" y="274"/>
                  </a:lnTo>
                  <a:lnTo>
                    <a:pt x="272" y="289"/>
                  </a:lnTo>
                  <a:lnTo>
                    <a:pt x="281" y="298"/>
                  </a:lnTo>
                  <a:lnTo>
                    <a:pt x="294" y="298"/>
                  </a:lnTo>
                  <a:lnTo>
                    <a:pt x="294" y="323"/>
                  </a:lnTo>
                  <a:lnTo>
                    <a:pt x="326" y="323"/>
                  </a:lnTo>
                  <a:lnTo>
                    <a:pt x="344" y="303"/>
                  </a:lnTo>
                  <a:lnTo>
                    <a:pt x="358" y="303"/>
                  </a:lnTo>
                  <a:lnTo>
                    <a:pt x="371" y="290"/>
                  </a:lnTo>
                  <a:lnTo>
                    <a:pt x="362" y="283"/>
                  </a:lnTo>
                  <a:lnTo>
                    <a:pt x="337" y="258"/>
                  </a:lnTo>
                  <a:lnTo>
                    <a:pt x="360" y="235"/>
                  </a:lnTo>
                  <a:lnTo>
                    <a:pt x="401" y="235"/>
                  </a:lnTo>
                  <a:lnTo>
                    <a:pt x="417" y="219"/>
                  </a:lnTo>
                  <a:lnTo>
                    <a:pt x="431" y="219"/>
                  </a:lnTo>
                  <a:lnTo>
                    <a:pt x="429" y="223"/>
                  </a:lnTo>
                  <a:lnTo>
                    <a:pt x="449" y="219"/>
                  </a:lnTo>
                  <a:lnTo>
                    <a:pt x="486" y="219"/>
                  </a:lnTo>
                  <a:lnTo>
                    <a:pt x="503" y="205"/>
                  </a:lnTo>
                  <a:lnTo>
                    <a:pt x="503" y="180"/>
                  </a:lnTo>
                  <a:lnTo>
                    <a:pt x="481" y="16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321">
              <a:extLst>
                <a:ext uri="{FF2B5EF4-FFF2-40B4-BE49-F238E27FC236}">
                  <a16:creationId xmlns:a16="http://schemas.microsoft.com/office/drawing/2014/main" id="{A603BFA0-5FBB-4083-9B83-11B743FA2B56}"/>
                </a:ext>
              </a:extLst>
            </p:cNvPr>
            <p:cNvSpPr>
              <a:spLocks/>
            </p:cNvSpPr>
            <p:nvPr/>
          </p:nvSpPr>
          <p:spPr bwMode="auto">
            <a:xfrm>
              <a:off x="4902201" y="2638425"/>
              <a:ext cx="66675" cy="104775"/>
            </a:xfrm>
            <a:custGeom>
              <a:avLst/>
              <a:gdLst>
                <a:gd name="T0" fmla="*/ 65 w 84"/>
                <a:gd name="T1" fmla="*/ 91 h 134"/>
                <a:gd name="T2" fmla="*/ 65 w 84"/>
                <a:gd name="T3" fmla="*/ 79 h 134"/>
                <a:gd name="T4" fmla="*/ 84 w 84"/>
                <a:gd name="T5" fmla="*/ 79 h 134"/>
                <a:gd name="T6" fmla="*/ 84 w 84"/>
                <a:gd name="T7" fmla="*/ 61 h 134"/>
                <a:gd name="T8" fmla="*/ 73 w 84"/>
                <a:gd name="T9" fmla="*/ 48 h 134"/>
                <a:gd name="T10" fmla="*/ 73 w 84"/>
                <a:gd name="T11" fmla="*/ 25 h 134"/>
                <a:gd name="T12" fmla="*/ 63 w 84"/>
                <a:gd name="T13" fmla="*/ 14 h 134"/>
                <a:gd name="T14" fmla="*/ 47 w 84"/>
                <a:gd name="T15" fmla="*/ 14 h 134"/>
                <a:gd name="T16" fmla="*/ 31 w 84"/>
                <a:gd name="T17" fmla="*/ 0 h 134"/>
                <a:gd name="T18" fmla="*/ 9 w 84"/>
                <a:gd name="T19" fmla="*/ 0 h 134"/>
                <a:gd name="T20" fmla="*/ 0 w 84"/>
                <a:gd name="T21" fmla="*/ 9 h 134"/>
                <a:gd name="T22" fmla="*/ 11 w 84"/>
                <a:gd name="T23" fmla="*/ 9 h 134"/>
                <a:gd name="T24" fmla="*/ 11 w 84"/>
                <a:gd name="T25" fmla="*/ 41 h 134"/>
                <a:gd name="T26" fmla="*/ 32 w 84"/>
                <a:gd name="T27" fmla="*/ 63 h 134"/>
                <a:gd name="T28" fmla="*/ 32 w 84"/>
                <a:gd name="T29" fmla="*/ 91 h 134"/>
                <a:gd name="T30" fmla="*/ 32 w 84"/>
                <a:gd name="T31" fmla="*/ 114 h 134"/>
                <a:gd name="T32" fmla="*/ 47 w 84"/>
                <a:gd name="T33" fmla="*/ 128 h 134"/>
                <a:gd name="T34" fmla="*/ 56 w 84"/>
                <a:gd name="T35" fmla="*/ 128 h 134"/>
                <a:gd name="T36" fmla="*/ 61 w 84"/>
                <a:gd name="T37" fmla="*/ 134 h 134"/>
                <a:gd name="T38" fmla="*/ 73 w 84"/>
                <a:gd name="T39" fmla="*/ 134 h 134"/>
                <a:gd name="T40" fmla="*/ 50 w 84"/>
                <a:gd name="T41" fmla="*/ 112 h 134"/>
                <a:gd name="T42" fmla="*/ 50 w 84"/>
                <a:gd name="T43" fmla="*/ 104 h 134"/>
                <a:gd name="T44" fmla="*/ 65 w 84"/>
                <a:gd name="T45"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134">
                  <a:moveTo>
                    <a:pt x="65" y="91"/>
                  </a:moveTo>
                  <a:lnTo>
                    <a:pt x="65" y="79"/>
                  </a:lnTo>
                  <a:lnTo>
                    <a:pt x="84" y="79"/>
                  </a:lnTo>
                  <a:lnTo>
                    <a:pt x="84" y="61"/>
                  </a:lnTo>
                  <a:lnTo>
                    <a:pt x="73" y="48"/>
                  </a:lnTo>
                  <a:lnTo>
                    <a:pt x="73" y="25"/>
                  </a:lnTo>
                  <a:lnTo>
                    <a:pt x="63" y="14"/>
                  </a:lnTo>
                  <a:lnTo>
                    <a:pt x="47" y="14"/>
                  </a:lnTo>
                  <a:lnTo>
                    <a:pt x="31" y="0"/>
                  </a:lnTo>
                  <a:lnTo>
                    <a:pt x="9" y="0"/>
                  </a:lnTo>
                  <a:lnTo>
                    <a:pt x="0" y="9"/>
                  </a:lnTo>
                  <a:lnTo>
                    <a:pt x="11" y="9"/>
                  </a:lnTo>
                  <a:lnTo>
                    <a:pt x="11" y="41"/>
                  </a:lnTo>
                  <a:lnTo>
                    <a:pt x="32" y="63"/>
                  </a:lnTo>
                  <a:lnTo>
                    <a:pt x="32" y="91"/>
                  </a:lnTo>
                  <a:lnTo>
                    <a:pt x="32" y="114"/>
                  </a:lnTo>
                  <a:lnTo>
                    <a:pt x="47" y="128"/>
                  </a:lnTo>
                  <a:lnTo>
                    <a:pt x="56" y="128"/>
                  </a:lnTo>
                  <a:lnTo>
                    <a:pt x="61" y="134"/>
                  </a:lnTo>
                  <a:lnTo>
                    <a:pt x="73" y="134"/>
                  </a:lnTo>
                  <a:lnTo>
                    <a:pt x="50" y="112"/>
                  </a:lnTo>
                  <a:lnTo>
                    <a:pt x="50" y="104"/>
                  </a:lnTo>
                  <a:lnTo>
                    <a:pt x="65" y="9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322">
              <a:extLst>
                <a:ext uri="{FF2B5EF4-FFF2-40B4-BE49-F238E27FC236}">
                  <a16:creationId xmlns:a16="http://schemas.microsoft.com/office/drawing/2014/main" id="{EEF47891-9A27-4C81-A4ED-80BC6A102956}"/>
                </a:ext>
              </a:extLst>
            </p:cNvPr>
            <p:cNvSpPr>
              <a:spLocks/>
            </p:cNvSpPr>
            <p:nvPr/>
          </p:nvSpPr>
          <p:spPr bwMode="auto">
            <a:xfrm>
              <a:off x="4814888" y="2747963"/>
              <a:ext cx="136525" cy="98425"/>
            </a:xfrm>
            <a:custGeom>
              <a:avLst/>
              <a:gdLst>
                <a:gd name="T0" fmla="*/ 144 w 171"/>
                <a:gd name="T1" fmla="*/ 13 h 125"/>
                <a:gd name="T2" fmla="*/ 99 w 171"/>
                <a:gd name="T3" fmla="*/ 13 h 125"/>
                <a:gd name="T4" fmla="*/ 89 w 171"/>
                <a:gd name="T5" fmla="*/ 23 h 125"/>
                <a:gd name="T6" fmla="*/ 23 w 171"/>
                <a:gd name="T7" fmla="*/ 23 h 125"/>
                <a:gd name="T8" fmla="*/ 0 w 171"/>
                <a:gd name="T9" fmla="*/ 0 h 125"/>
                <a:gd name="T10" fmla="*/ 0 w 171"/>
                <a:gd name="T11" fmla="*/ 36 h 125"/>
                <a:gd name="T12" fmla="*/ 16 w 171"/>
                <a:gd name="T13" fmla="*/ 52 h 125"/>
                <a:gd name="T14" fmla="*/ 16 w 171"/>
                <a:gd name="T15" fmla="*/ 66 h 125"/>
                <a:gd name="T16" fmla="*/ 0 w 171"/>
                <a:gd name="T17" fmla="*/ 66 h 125"/>
                <a:gd name="T18" fmla="*/ 0 w 171"/>
                <a:gd name="T19" fmla="*/ 86 h 125"/>
                <a:gd name="T20" fmla="*/ 12 w 171"/>
                <a:gd name="T21" fmla="*/ 98 h 125"/>
                <a:gd name="T22" fmla="*/ 12 w 171"/>
                <a:gd name="T23" fmla="*/ 123 h 125"/>
                <a:gd name="T24" fmla="*/ 35 w 171"/>
                <a:gd name="T25" fmla="*/ 123 h 125"/>
                <a:gd name="T26" fmla="*/ 44 w 171"/>
                <a:gd name="T27" fmla="*/ 114 h 125"/>
                <a:gd name="T28" fmla="*/ 67 w 171"/>
                <a:gd name="T29" fmla="*/ 114 h 125"/>
                <a:gd name="T30" fmla="*/ 78 w 171"/>
                <a:gd name="T31" fmla="*/ 125 h 125"/>
                <a:gd name="T32" fmla="*/ 85 w 171"/>
                <a:gd name="T33" fmla="*/ 120 h 125"/>
                <a:gd name="T34" fmla="*/ 105 w 171"/>
                <a:gd name="T35" fmla="*/ 100 h 125"/>
                <a:gd name="T36" fmla="*/ 123 w 171"/>
                <a:gd name="T37" fmla="*/ 100 h 125"/>
                <a:gd name="T38" fmla="*/ 137 w 171"/>
                <a:gd name="T39" fmla="*/ 100 h 125"/>
                <a:gd name="T40" fmla="*/ 137 w 171"/>
                <a:gd name="T41" fmla="*/ 98 h 125"/>
                <a:gd name="T42" fmla="*/ 137 w 171"/>
                <a:gd name="T43" fmla="*/ 80 h 125"/>
                <a:gd name="T44" fmla="*/ 156 w 171"/>
                <a:gd name="T45" fmla="*/ 59 h 125"/>
                <a:gd name="T46" fmla="*/ 171 w 171"/>
                <a:gd name="T47" fmla="*/ 46 h 125"/>
                <a:gd name="T48" fmla="*/ 171 w 171"/>
                <a:gd name="T49" fmla="*/ 39 h 125"/>
                <a:gd name="T50" fmla="*/ 155 w 171"/>
                <a:gd name="T51" fmla="*/ 25 h 125"/>
                <a:gd name="T52" fmla="*/ 144 w 171"/>
                <a:gd name="T53"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1" h="125">
                  <a:moveTo>
                    <a:pt x="144" y="13"/>
                  </a:moveTo>
                  <a:lnTo>
                    <a:pt x="99" y="13"/>
                  </a:lnTo>
                  <a:lnTo>
                    <a:pt x="89" y="23"/>
                  </a:lnTo>
                  <a:lnTo>
                    <a:pt x="23" y="23"/>
                  </a:lnTo>
                  <a:lnTo>
                    <a:pt x="0" y="0"/>
                  </a:lnTo>
                  <a:lnTo>
                    <a:pt x="0" y="36"/>
                  </a:lnTo>
                  <a:lnTo>
                    <a:pt x="16" y="52"/>
                  </a:lnTo>
                  <a:lnTo>
                    <a:pt x="16" y="66"/>
                  </a:lnTo>
                  <a:lnTo>
                    <a:pt x="0" y="66"/>
                  </a:lnTo>
                  <a:lnTo>
                    <a:pt x="0" y="86"/>
                  </a:lnTo>
                  <a:lnTo>
                    <a:pt x="12" y="98"/>
                  </a:lnTo>
                  <a:lnTo>
                    <a:pt x="12" y="123"/>
                  </a:lnTo>
                  <a:lnTo>
                    <a:pt x="35" y="123"/>
                  </a:lnTo>
                  <a:lnTo>
                    <a:pt x="44" y="114"/>
                  </a:lnTo>
                  <a:lnTo>
                    <a:pt x="67" y="114"/>
                  </a:lnTo>
                  <a:lnTo>
                    <a:pt x="78" y="125"/>
                  </a:lnTo>
                  <a:lnTo>
                    <a:pt x="85" y="120"/>
                  </a:lnTo>
                  <a:lnTo>
                    <a:pt x="105" y="100"/>
                  </a:lnTo>
                  <a:lnTo>
                    <a:pt x="123" y="100"/>
                  </a:lnTo>
                  <a:lnTo>
                    <a:pt x="137" y="100"/>
                  </a:lnTo>
                  <a:lnTo>
                    <a:pt x="137" y="98"/>
                  </a:lnTo>
                  <a:lnTo>
                    <a:pt x="137" y="80"/>
                  </a:lnTo>
                  <a:lnTo>
                    <a:pt x="156" y="59"/>
                  </a:lnTo>
                  <a:lnTo>
                    <a:pt x="171" y="46"/>
                  </a:lnTo>
                  <a:lnTo>
                    <a:pt x="171" y="39"/>
                  </a:lnTo>
                  <a:lnTo>
                    <a:pt x="155" y="25"/>
                  </a:lnTo>
                  <a:lnTo>
                    <a:pt x="144" y="1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323">
              <a:extLst>
                <a:ext uri="{FF2B5EF4-FFF2-40B4-BE49-F238E27FC236}">
                  <a16:creationId xmlns:a16="http://schemas.microsoft.com/office/drawing/2014/main" id="{D182DD23-0393-4B3C-80E5-AB2875290D4F}"/>
                </a:ext>
              </a:extLst>
            </p:cNvPr>
            <p:cNvSpPr>
              <a:spLocks/>
            </p:cNvSpPr>
            <p:nvPr/>
          </p:nvSpPr>
          <p:spPr bwMode="auto">
            <a:xfrm>
              <a:off x="4768851" y="2644775"/>
              <a:ext cx="198438" cy="134938"/>
            </a:xfrm>
            <a:custGeom>
              <a:avLst/>
              <a:gdLst>
                <a:gd name="T0" fmla="*/ 240 w 249"/>
                <a:gd name="T1" fmla="*/ 125 h 169"/>
                <a:gd name="T2" fmla="*/ 228 w 249"/>
                <a:gd name="T3" fmla="*/ 125 h 169"/>
                <a:gd name="T4" fmla="*/ 223 w 249"/>
                <a:gd name="T5" fmla="*/ 119 h 169"/>
                <a:gd name="T6" fmla="*/ 214 w 249"/>
                <a:gd name="T7" fmla="*/ 119 h 169"/>
                <a:gd name="T8" fmla="*/ 199 w 249"/>
                <a:gd name="T9" fmla="*/ 105 h 169"/>
                <a:gd name="T10" fmla="*/ 199 w 249"/>
                <a:gd name="T11" fmla="*/ 82 h 169"/>
                <a:gd name="T12" fmla="*/ 199 w 249"/>
                <a:gd name="T13" fmla="*/ 54 h 169"/>
                <a:gd name="T14" fmla="*/ 178 w 249"/>
                <a:gd name="T15" fmla="*/ 32 h 169"/>
                <a:gd name="T16" fmla="*/ 178 w 249"/>
                <a:gd name="T17" fmla="*/ 0 h 169"/>
                <a:gd name="T18" fmla="*/ 167 w 249"/>
                <a:gd name="T19" fmla="*/ 0 h 169"/>
                <a:gd name="T20" fmla="*/ 160 w 249"/>
                <a:gd name="T21" fmla="*/ 7 h 169"/>
                <a:gd name="T22" fmla="*/ 146 w 249"/>
                <a:gd name="T23" fmla="*/ 7 h 169"/>
                <a:gd name="T24" fmla="*/ 133 w 249"/>
                <a:gd name="T25" fmla="*/ 20 h 169"/>
                <a:gd name="T26" fmla="*/ 125 w 249"/>
                <a:gd name="T27" fmla="*/ 20 h 169"/>
                <a:gd name="T28" fmla="*/ 116 w 249"/>
                <a:gd name="T29" fmla="*/ 9 h 169"/>
                <a:gd name="T30" fmla="*/ 94 w 249"/>
                <a:gd name="T31" fmla="*/ 9 h 169"/>
                <a:gd name="T32" fmla="*/ 75 w 249"/>
                <a:gd name="T33" fmla="*/ 9 h 169"/>
                <a:gd name="T34" fmla="*/ 59 w 249"/>
                <a:gd name="T35" fmla="*/ 20 h 169"/>
                <a:gd name="T36" fmla="*/ 44 w 249"/>
                <a:gd name="T37" fmla="*/ 36 h 169"/>
                <a:gd name="T38" fmla="*/ 44 w 249"/>
                <a:gd name="T39" fmla="*/ 54 h 169"/>
                <a:gd name="T40" fmla="*/ 21 w 249"/>
                <a:gd name="T41" fmla="*/ 77 h 169"/>
                <a:gd name="T42" fmla="*/ 0 w 249"/>
                <a:gd name="T43" fmla="*/ 77 h 169"/>
                <a:gd name="T44" fmla="*/ 21 w 249"/>
                <a:gd name="T45" fmla="*/ 98 h 169"/>
                <a:gd name="T46" fmla="*/ 21 w 249"/>
                <a:gd name="T47" fmla="*/ 112 h 169"/>
                <a:gd name="T48" fmla="*/ 34 w 249"/>
                <a:gd name="T49" fmla="*/ 112 h 169"/>
                <a:gd name="T50" fmla="*/ 34 w 249"/>
                <a:gd name="T51" fmla="*/ 130 h 169"/>
                <a:gd name="T52" fmla="*/ 59 w 249"/>
                <a:gd name="T53" fmla="*/ 130 h 169"/>
                <a:gd name="T54" fmla="*/ 82 w 249"/>
                <a:gd name="T55" fmla="*/ 153 h 169"/>
                <a:gd name="T56" fmla="*/ 148 w 249"/>
                <a:gd name="T57" fmla="*/ 153 h 169"/>
                <a:gd name="T58" fmla="*/ 158 w 249"/>
                <a:gd name="T59" fmla="*/ 143 h 169"/>
                <a:gd name="T60" fmla="*/ 203 w 249"/>
                <a:gd name="T61" fmla="*/ 143 h 169"/>
                <a:gd name="T62" fmla="*/ 214 w 249"/>
                <a:gd name="T63" fmla="*/ 155 h 169"/>
                <a:gd name="T64" fmla="*/ 230 w 249"/>
                <a:gd name="T65" fmla="*/ 169 h 169"/>
                <a:gd name="T66" fmla="*/ 230 w 249"/>
                <a:gd name="T67" fmla="*/ 164 h 169"/>
                <a:gd name="T68" fmla="*/ 230 w 249"/>
                <a:gd name="T69" fmla="*/ 150 h 169"/>
                <a:gd name="T70" fmla="*/ 249 w 249"/>
                <a:gd name="T71" fmla="*/ 150 h 169"/>
                <a:gd name="T72" fmla="*/ 249 w 249"/>
                <a:gd name="T73" fmla="*/ 127 h 169"/>
                <a:gd name="T74" fmla="*/ 249 w 249"/>
                <a:gd name="T75" fmla="*/ 125 h 169"/>
                <a:gd name="T76" fmla="*/ 240 w 249"/>
                <a:gd name="T77" fmla="*/ 12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9" h="169">
                  <a:moveTo>
                    <a:pt x="240" y="125"/>
                  </a:moveTo>
                  <a:lnTo>
                    <a:pt x="228" y="125"/>
                  </a:lnTo>
                  <a:lnTo>
                    <a:pt x="223" y="119"/>
                  </a:lnTo>
                  <a:lnTo>
                    <a:pt x="214" y="119"/>
                  </a:lnTo>
                  <a:lnTo>
                    <a:pt x="199" y="105"/>
                  </a:lnTo>
                  <a:lnTo>
                    <a:pt x="199" y="82"/>
                  </a:lnTo>
                  <a:lnTo>
                    <a:pt x="199" y="54"/>
                  </a:lnTo>
                  <a:lnTo>
                    <a:pt x="178" y="32"/>
                  </a:lnTo>
                  <a:lnTo>
                    <a:pt x="178" y="0"/>
                  </a:lnTo>
                  <a:lnTo>
                    <a:pt x="167" y="0"/>
                  </a:lnTo>
                  <a:lnTo>
                    <a:pt x="160" y="7"/>
                  </a:lnTo>
                  <a:lnTo>
                    <a:pt x="146" y="7"/>
                  </a:lnTo>
                  <a:lnTo>
                    <a:pt x="133" y="20"/>
                  </a:lnTo>
                  <a:lnTo>
                    <a:pt x="125" y="20"/>
                  </a:lnTo>
                  <a:lnTo>
                    <a:pt x="116" y="9"/>
                  </a:lnTo>
                  <a:lnTo>
                    <a:pt x="94" y="9"/>
                  </a:lnTo>
                  <a:lnTo>
                    <a:pt x="75" y="9"/>
                  </a:lnTo>
                  <a:lnTo>
                    <a:pt x="59" y="20"/>
                  </a:lnTo>
                  <a:lnTo>
                    <a:pt x="44" y="36"/>
                  </a:lnTo>
                  <a:lnTo>
                    <a:pt x="44" y="54"/>
                  </a:lnTo>
                  <a:lnTo>
                    <a:pt x="21" y="77"/>
                  </a:lnTo>
                  <a:lnTo>
                    <a:pt x="0" y="77"/>
                  </a:lnTo>
                  <a:lnTo>
                    <a:pt x="21" y="98"/>
                  </a:lnTo>
                  <a:lnTo>
                    <a:pt x="21" y="112"/>
                  </a:lnTo>
                  <a:lnTo>
                    <a:pt x="34" y="112"/>
                  </a:lnTo>
                  <a:lnTo>
                    <a:pt x="34" y="130"/>
                  </a:lnTo>
                  <a:lnTo>
                    <a:pt x="59" y="130"/>
                  </a:lnTo>
                  <a:lnTo>
                    <a:pt x="82" y="153"/>
                  </a:lnTo>
                  <a:lnTo>
                    <a:pt x="148" y="153"/>
                  </a:lnTo>
                  <a:lnTo>
                    <a:pt x="158" y="143"/>
                  </a:lnTo>
                  <a:lnTo>
                    <a:pt x="203" y="143"/>
                  </a:lnTo>
                  <a:lnTo>
                    <a:pt x="214" y="155"/>
                  </a:lnTo>
                  <a:lnTo>
                    <a:pt x="230" y="169"/>
                  </a:lnTo>
                  <a:lnTo>
                    <a:pt x="230" y="164"/>
                  </a:lnTo>
                  <a:lnTo>
                    <a:pt x="230" y="150"/>
                  </a:lnTo>
                  <a:lnTo>
                    <a:pt x="249" y="150"/>
                  </a:lnTo>
                  <a:lnTo>
                    <a:pt x="249" y="127"/>
                  </a:lnTo>
                  <a:lnTo>
                    <a:pt x="249" y="125"/>
                  </a:lnTo>
                  <a:lnTo>
                    <a:pt x="240" y="12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324">
              <a:extLst>
                <a:ext uri="{FF2B5EF4-FFF2-40B4-BE49-F238E27FC236}">
                  <a16:creationId xmlns:a16="http://schemas.microsoft.com/office/drawing/2014/main" id="{ACC41BD3-6642-4039-BEA1-9C6C41E49884}"/>
                </a:ext>
              </a:extLst>
            </p:cNvPr>
            <p:cNvSpPr>
              <a:spLocks/>
            </p:cNvSpPr>
            <p:nvPr/>
          </p:nvSpPr>
          <p:spPr bwMode="auto">
            <a:xfrm>
              <a:off x="2516188" y="1562100"/>
              <a:ext cx="557213" cy="574675"/>
            </a:xfrm>
            <a:custGeom>
              <a:avLst/>
              <a:gdLst>
                <a:gd name="T0" fmla="*/ 524 w 700"/>
                <a:gd name="T1" fmla="*/ 330 h 724"/>
                <a:gd name="T2" fmla="*/ 485 w 700"/>
                <a:gd name="T3" fmla="*/ 302 h 724"/>
                <a:gd name="T4" fmla="*/ 506 w 700"/>
                <a:gd name="T5" fmla="*/ 280 h 724"/>
                <a:gd name="T6" fmla="*/ 467 w 700"/>
                <a:gd name="T7" fmla="*/ 266 h 724"/>
                <a:gd name="T8" fmla="*/ 401 w 700"/>
                <a:gd name="T9" fmla="*/ 180 h 724"/>
                <a:gd name="T10" fmla="*/ 385 w 700"/>
                <a:gd name="T11" fmla="*/ 150 h 724"/>
                <a:gd name="T12" fmla="*/ 269 w 700"/>
                <a:gd name="T13" fmla="*/ 63 h 724"/>
                <a:gd name="T14" fmla="*/ 235 w 700"/>
                <a:gd name="T15" fmla="*/ 6 h 724"/>
                <a:gd name="T16" fmla="*/ 167 w 700"/>
                <a:gd name="T17" fmla="*/ 27 h 724"/>
                <a:gd name="T18" fmla="*/ 133 w 700"/>
                <a:gd name="T19" fmla="*/ 4 h 724"/>
                <a:gd name="T20" fmla="*/ 101 w 700"/>
                <a:gd name="T21" fmla="*/ 70 h 724"/>
                <a:gd name="T22" fmla="*/ 105 w 700"/>
                <a:gd name="T23" fmla="*/ 116 h 724"/>
                <a:gd name="T24" fmla="*/ 78 w 700"/>
                <a:gd name="T25" fmla="*/ 86 h 724"/>
                <a:gd name="T26" fmla="*/ 55 w 700"/>
                <a:gd name="T27" fmla="*/ 49 h 724"/>
                <a:gd name="T28" fmla="*/ 96 w 700"/>
                <a:gd name="T29" fmla="*/ 0 h 724"/>
                <a:gd name="T30" fmla="*/ 0 w 700"/>
                <a:gd name="T31" fmla="*/ 79 h 724"/>
                <a:gd name="T32" fmla="*/ 39 w 700"/>
                <a:gd name="T33" fmla="*/ 164 h 724"/>
                <a:gd name="T34" fmla="*/ 16 w 700"/>
                <a:gd name="T35" fmla="*/ 184 h 724"/>
                <a:gd name="T36" fmla="*/ 82 w 700"/>
                <a:gd name="T37" fmla="*/ 214 h 724"/>
                <a:gd name="T38" fmla="*/ 212 w 700"/>
                <a:gd name="T39" fmla="*/ 237 h 724"/>
                <a:gd name="T40" fmla="*/ 247 w 700"/>
                <a:gd name="T41" fmla="*/ 236 h 724"/>
                <a:gd name="T42" fmla="*/ 287 w 700"/>
                <a:gd name="T43" fmla="*/ 314 h 724"/>
                <a:gd name="T44" fmla="*/ 331 w 700"/>
                <a:gd name="T45" fmla="*/ 309 h 724"/>
                <a:gd name="T46" fmla="*/ 408 w 700"/>
                <a:gd name="T47" fmla="*/ 421 h 724"/>
                <a:gd name="T48" fmla="*/ 367 w 700"/>
                <a:gd name="T49" fmla="*/ 496 h 724"/>
                <a:gd name="T50" fmla="*/ 301 w 700"/>
                <a:gd name="T51" fmla="*/ 521 h 724"/>
                <a:gd name="T52" fmla="*/ 329 w 700"/>
                <a:gd name="T53" fmla="*/ 594 h 724"/>
                <a:gd name="T54" fmla="*/ 385 w 700"/>
                <a:gd name="T55" fmla="*/ 557 h 724"/>
                <a:gd name="T56" fmla="*/ 590 w 700"/>
                <a:gd name="T57" fmla="*/ 724 h 724"/>
                <a:gd name="T58" fmla="*/ 502 w 700"/>
                <a:gd name="T59" fmla="*/ 606 h 724"/>
                <a:gd name="T60" fmla="*/ 602 w 700"/>
                <a:gd name="T61" fmla="*/ 681 h 724"/>
                <a:gd name="T62" fmla="*/ 611 w 700"/>
                <a:gd name="T63" fmla="*/ 617 h 724"/>
                <a:gd name="T64" fmla="*/ 495 w 700"/>
                <a:gd name="T65" fmla="*/ 469 h 724"/>
                <a:gd name="T66" fmla="*/ 545 w 700"/>
                <a:gd name="T67" fmla="*/ 483 h 724"/>
                <a:gd name="T68" fmla="*/ 625 w 700"/>
                <a:gd name="T69" fmla="*/ 517 h 724"/>
                <a:gd name="T70" fmla="*/ 700 w 700"/>
                <a:gd name="T71" fmla="*/ 553 h 724"/>
                <a:gd name="T72" fmla="*/ 649 w 700"/>
                <a:gd name="T73" fmla="*/ 444 h 724"/>
                <a:gd name="T74" fmla="*/ 565 w 700"/>
                <a:gd name="T75" fmla="*/ 412 h 724"/>
                <a:gd name="T76" fmla="*/ 527 w 700"/>
                <a:gd name="T77" fmla="*/ 353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0" h="724">
                  <a:moveTo>
                    <a:pt x="527" y="353"/>
                  </a:moveTo>
                  <a:lnTo>
                    <a:pt x="524" y="330"/>
                  </a:lnTo>
                  <a:lnTo>
                    <a:pt x="488" y="328"/>
                  </a:lnTo>
                  <a:lnTo>
                    <a:pt x="485" y="302"/>
                  </a:lnTo>
                  <a:lnTo>
                    <a:pt x="508" y="302"/>
                  </a:lnTo>
                  <a:lnTo>
                    <a:pt x="506" y="280"/>
                  </a:lnTo>
                  <a:lnTo>
                    <a:pt x="483" y="280"/>
                  </a:lnTo>
                  <a:lnTo>
                    <a:pt x="467" y="266"/>
                  </a:lnTo>
                  <a:lnTo>
                    <a:pt x="461" y="234"/>
                  </a:lnTo>
                  <a:lnTo>
                    <a:pt x="401" y="180"/>
                  </a:lnTo>
                  <a:lnTo>
                    <a:pt x="399" y="161"/>
                  </a:lnTo>
                  <a:lnTo>
                    <a:pt x="385" y="150"/>
                  </a:lnTo>
                  <a:lnTo>
                    <a:pt x="367" y="150"/>
                  </a:lnTo>
                  <a:lnTo>
                    <a:pt x="269" y="63"/>
                  </a:lnTo>
                  <a:lnTo>
                    <a:pt x="283" y="47"/>
                  </a:lnTo>
                  <a:lnTo>
                    <a:pt x="235" y="6"/>
                  </a:lnTo>
                  <a:lnTo>
                    <a:pt x="190" y="6"/>
                  </a:lnTo>
                  <a:lnTo>
                    <a:pt x="167" y="27"/>
                  </a:lnTo>
                  <a:lnTo>
                    <a:pt x="167" y="4"/>
                  </a:lnTo>
                  <a:lnTo>
                    <a:pt x="133" y="4"/>
                  </a:lnTo>
                  <a:lnTo>
                    <a:pt x="99" y="36"/>
                  </a:lnTo>
                  <a:lnTo>
                    <a:pt x="101" y="70"/>
                  </a:lnTo>
                  <a:lnTo>
                    <a:pt x="128" y="95"/>
                  </a:lnTo>
                  <a:lnTo>
                    <a:pt x="105" y="116"/>
                  </a:lnTo>
                  <a:lnTo>
                    <a:pt x="80" y="116"/>
                  </a:lnTo>
                  <a:lnTo>
                    <a:pt x="78" y="86"/>
                  </a:lnTo>
                  <a:lnTo>
                    <a:pt x="55" y="65"/>
                  </a:lnTo>
                  <a:lnTo>
                    <a:pt x="55" y="49"/>
                  </a:lnTo>
                  <a:lnTo>
                    <a:pt x="76" y="18"/>
                  </a:lnTo>
                  <a:lnTo>
                    <a:pt x="96" y="0"/>
                  </a:lnTo>
                  <a:lnTo>
                    <a:pt x="66" y="0"/>
                  </a:lnTo>
                  <a:lnTo>
                    <a:pt x="0" y="79"/>
                  </a:lnTo>
                  <a:lnTo>
                    <a:pt x="1" y="164"/>
                  </a:lnTo>
                  <a:lnTo>
                    <a:pt x="39" y="164"/>
                  </a:lnTo>
                  <a:lnTo>
                    <a:pt x="58" y="184"/>
                  </a:lnTo>
                  <a:lnTo>
                    <a:pt x="16" y="184"/>
                  </a:lnTo>
                  <a:lnTo>
                    <a:pt x="48" y="214"/>
                  </a:lnTo>
                  <a:lnTo>
                    <a:pt x="82" y="214"/>
                  </a:lnTo>
                  <a:lnTo>
                    <a:pt x="105" y="237"/>
                  </a:lnTo>
                  <a:lnTo>
                    <a:pt x="212" y="237"/>
                  </a:lnTo>
                  <a:lnTo>
                    <a:pt x="230" y="254"/>
                  </a:lnTo>
                  <a:lnTo>
                    <a:pt x="247" y="236"/>
                  </a:lnTo>
                  <a:lnTo>
                    <a:pt x="308" y="293"/>
                  </a:lnTo>
                  <a:lnTo>
                    <a:pt x="287" y="314"/>
                  </a:lnTo>
                  <a:lnTo>
                    <a:pt x="308" y="334"/>
                  </a:lnTo>
                  <a:lnTo>
                    <a:pt x="331" y="309"/>
                  </a:lnTo>
                  <a:lnTo>
                    <a:pt x="403" y="375"/>
                  </a:lnTo>
                  <a:lnTo>
                    <a:pt x="408" y="421"/>
                  </a:lnTo>
                  <a:lnTo>
                    <a:pt x="365" y="473"/>
                  </a:lnTo>
                  <a:lnTo>
                    <a:pt x="367" y="496"/>
                  </a:lnTo>
                  <a:lnTo>
                    <a:pt x="346" y="521"/>
                  </a:lnTo>
                  <a:lnTo>
                    <a:pt x="301" y="521"/>
                  </a:lnTo>
                  <a:lnTo>
                    <a:pt x="281" y="544"/>
                  </a:lnTo>
                  <a:lnTo>
                    <a:pt x="329" y="594"/>
                  </a:lnTo>
                  <a:lnTo>
                    <a:pt x="360" y="557"/>
                  </a:lnTo>
                  <a:lnTo>
                    <a:pt x="385" y="557"/>
                  </a:lnTo>
                  <a:lnTo>
                    <a:pt x="558" y="724"/>
                  </a:lnTo>
                  <a:lnTo>
                    <a:pt x="590" y="724"/>
                  </a:lnTo>
                  <a:lnTo>
                    <a:pt x="583" y="683"/>
                  </a:lnTo>
                  <a:lnTo>
                    <a:pt x="502" y="606"/>
                  </a:lnTo>
                  <a:lnTo>
                    <a:pt x="524" y="606"/>
                  </a:lnTo>
                  <a:lnTo>
                    <a:pt x="602" y="681"/>
                  </a:lnTo>
                  <a:lnTo>
                    <a:pt x="618" y="658"/>
                  </a:lnTo>
                  <a:lnTo>
                    <a:pt x="611" y="617"/>
                  </a:lnTo>
                  <a:lnTo>
                    <a:pt x="501" y="514"/>
                  </a:lnTo>
                  <a:lnTo>
                    <a:pt x="495" y="469"/>
                  </a:lnTo>
                  <a:lnTo>
                    <a:pt x="510" y="450"/>
                  </a:lnTo>
                  <a:lnTo>
                    <a:pt x="545" y="483"/>
                  </a:lnTo>
                  <a:lnTo>
                    <a:pt x="583" y="517"/>
                  </a:lnTo>
                  <a:lnTo>
                    <a:pt x="625" y="517"/>
                  </a:lnTo>
                  <a:lnTo>
                    <a:pt x="665" y="553"/>
                  </a:lnTo>
                  <a:lnTo>
                    <a:pt x="700" y="553"/>
                  </a:lnTo>
                  <a:lnTo>
                    <a:pt x="688" y="478"/>
                  </a:lnTo>
                  <a:lnTo>
                    <a:pt x="649" y="444"/>
                  </a:lnTo>
                  <a:lnTo>
                    <a:pt x="601" y="444"/>
                  </a:lnTo>
                  <a:lnTo>
                    <a:pt x="565" y="412"/>
                  </a:lnTo>
                  <a:lnTo>
                    <a:pt x="561" y="384"/>
                  </a:lnTo>
                  <a:lnTo>
                    <a:pt x="527" y="3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Freeform 325">
              <a:extLst>
                <a:ext uri="{FF2B5EF4-FFF2-40B4-BE49-F238E27FC236}">
                  <a16:creationId xmlns:a16="http://schemas.microsoft.com/office/drawing/2014/main" id="{F31F84AA-FCAF-43BF-B44D-38F5FB4B8BA1}"/>
                </a:ext>
              </a:extLst>
            </p:cNvPr>
            <p:cNvSpPr>
              <a:spLocks/>
            </p:cNvSpPr>
            <p:nvPr/>
          </p:nvSpPr>
          <p:spPr bwMode="auto">
            <a:xfrm>
              <a:off x="2620963" y="1177925"/>
              <a:ext cx="304800" cy="315913"/>
            </a:xfrm>
            <a:custGeom>
              <a:avLst/>
              <a:gdLst>
                <a:gd name="T0" fmla="*/ 44 w 383"/>
                <a:gd name="T1" fmla="*/ 128 h 397"/>
                <a:gd name="T2" fmla="*/ 103 w 383"/>
                <a:gd name="T3" fmla="*/ 144 h 397"/>
                <a:gd name="T4" fmla="*/ 165 w 383"/>
                <a:gd name="T5" fmla="*/ 114 h 397"/>
                <a:gd name="T6" fmla="*/ 148 w 383"/>
                <a:gd name="T7" fmla="*/ 142 h 397"/>
                <a:gd name="T8" fmla="*/ 187 w 383"/>
                <a:gd name="T9" fmla="*/ 149 h 397"/>
                <a:gd name="T10" fmla="*/ 148 w 383"/>
                <a:gd name="T11" fmla="*/ 158 h 397"/>
                <a:gd name="T12" fmla="*/ 103 w 383"/>
                <a:gd name="T13" fmla="*/ 171 h 397"/>
                <a:gd name="T14" fmla="*/ 130 w 383"/>
                <a:gd name="T15" fmla="*/ 217 h 397"/>
                <a:gd name="T16" fmla="*/ 64 w 383"/>
                <a:gd name="T17" fmla="*/ 180 h 397"/>
                <a:gd name="T18" fmla="*/ 87 w 383"/>
                <a:gd name="T19" fmla="*/ 215 h 397"/>
                <a:gd name="T20" fmla="*/ 76 w 383"/>
                <a:gd name="T21" fmla="*/ 247 h 397"/>
                <a:gd name="T22" fmla="*/ 92 w 383"/>
                <a:gd name="T23" fmla="*/ 272 h 397"/>
                <a:gd name="T24" fmla="*/ 37 w 383"/>
                <a:gd name="T25" fmla="*/ 249 h 397"/>
                <a:gd name="T26" fmla="*/ 26 w 383"/>
                <a:gd name="T27" fmla="*/ 274 h 397"/>
                <a:gd name="T28" fmla="*/ 67 w 383"/>
                <a:gd name="T29" fmla="*/ 328 h 397"/>
                <a:gd name="T30" fmla="*/ 46 w 383"/>
                <a:gd name="T31" fmla="*/ 306 h 397"/>
                <a:gd name="T32" fmla="*/ 17 w 383"/>
                <a:gd name="T33" fmla="*/ 333 h 397"/>
                <a:gd name="T34" fmla="*/ 0 w 383"/>
                <a:gd name="T35" fmla="*/ 367 h 397"/>
                <a:gd name="T36" fmla="*/ 51 w 383"/>
                <a:gd name="T37" fmla="*/ 385 h 397"/>
                <a:gd name="T38" fmla="*/ 78 w 383"/>
                <a:gd name="T39" fmla="*/ 374 h 397"/>
                <a:gd name="T40" fmla="*/ 130 w 383"/>
                <a:gd name="T41" fmla="*/ 397 h 397"/>
                <a:gd name="T42" fmla="*/ 101 w 383"/>
                <a:gd name="T43" fmla="*/ 345 h 397"/>
                <a:gd name="T44" fmla="*/ 140 w 383"/>
                <a:gd name="T45" fmla="*/ 338 h 397"/>
                <a:gd name="T46" fmla="*/ 176 w 383"/>
                <a:gd name="T47" fmla="*/ 320 h 397"/>
                <a:gd name="T48" fmla="*/ 171 w 383"/>
                <a:gd name="T49" fmla="*/ 295 h 397"/>
                <a:gd name="T50" fmla="*/ 189 w 383"/>
                <a:gd name="T51" fmla="*/ 274 h 397"/>
                <a:gd name="T52" fmla="*/ 178 w 383"/>
                <a:gd name="T53" fmla="*/ 254 h 397"/>
                <a:gd name="T54" fmla="*/ 222 w 383"/>
                <a:gd name="T55" fmla="*/ 237 h 397"/>
                <a:gd name="T56" fmla="*/ 345 w 383"/>
                <a:gd name="T57" fmla="*/ 139 h 397"/>
                <a:gd name="T58" fmla="*/ 299 w 383"/>
                <a:gd name="T59" fmla="*/ 126 h 397"/>
                <a:gd name="T60" fmla="*/ 383 w 383"/>
                <a:gd name="T61" fmla="*/ 89 h 397"/>
                <a:gd name="T62" fmla="*/ 313 w 383"/>
                <a:gd name="T63" fmla="*/ 23 h 397"/>
                <a:gd name="T64" fmla="*/ 281 w 383"/>
                <a:gd name="T65" fmla="*/ 10 h 397"/>
                <a:gd name="T66" fmla="*/ 233 w 383"/>
                <a:gd name="T67" fmla="*/ 0 h 397"/>
                <a:gd name="T68" fmla="*/ 114 w 383"/>
                <a:gd name="T69" fmla="*/ 37 h 397"/>
                <a:gd name="T70" fmla="*/ 67 w 383"/>
                <a:gd name="T71" fmla="*/ 49 h 397"/>
                <a:gd name="T72" fmla="*/ 21 w 383"/>
                <a:gd name="T73" fmla="*/ 76 h 397"/>
                <a:gd name="T74" fmla="*/ 55 w 383"/>
                <a:gd name="T75" fmla="*/ 11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397">
                  <a:moveTo>
                    <a:pt x="55" y="119"/>
                  </a:moveTo>
                  <a:lnTo>
                    <a:pt x="44" y="128"/>
                  </a:lnTo>
                  <a:lnTo>
                    <a:pt x="85" y="160"/>
                  </a:lnTo>
                  <a:lnTo>
                    <a:pt x="103" y="144"/>
                  </a:lnTo>
                  <a:lnTo>
                    <a:pt x="117" y="156"/>
                  </a:lnTo>
                  <a:lnTo>
                    <a:pt x="165" y="114"/>
                  </a:lnTo>
                  <a:lnTo>
                    <a:pt x="174" y="119"/>
                  </a:lnTo>
                  <a:lnTo>
                    <a:pt x="148" y="142"/>
                  </a:lnTo>
                  <a:lnTo>
                    <a:pt x="156" y="149"/>
                  </a:lnTo>
                  <a:lnTo>
                    <a:pt x="187" y="149"/>
                  </a:lnTo>
                  <a:lnTo>
                    <a:pt x="187" y="158"/>
                  </a:lnTo>
                  <a:lnTo>
                    <a:pt x="148" y="158"/>
                  </a:lnTo>
                  <a:lnTo>
                    <a:pt x="135" y="171"/>
                  </a:lnTo>
                  <a:lnTo>
                    <a:pt x="103" y="171"/>
                  </a:lnTo>
                  <a:lnTo>
                    <a:pt x="144" y="205"/>
                  </a:lnTo>
                  <a:lnTo>
                    <a:pt x="130" y="217"/>
                  </a:lnTo>
                  <a:lnTo>
                    <a:pt x="82" y="180"/>
                  </a:lnTo>
                  <a:lnTo>
                    <a:pt x="64" y="180"/>
                  </a:lnTo>
                  <a:lnTo>
                    <a:pt x="65" y="199"/>
                  </a:lnTo>
                  <a:lnTo>
                    <a:pt x="87" y="215"/>
                  </a:lnTo>
                  <a:lnTo>
                    <a:pt x="89" y="237"/>
                  </a:lnTo>
                  <a:lnTo>
                    <a:pt x="76" y="247"/>
                  </a:lnTo>
                  <a:lnTo>
                    <a:pt x="98" y="265"/>
                  </a:lnTo>
                  <a:lnTo>
                    <a:pt x="92" y="272"/>
                  </a:lnTo>
                  <a:lnTo>
                    <a:pt x="64" y="249"/>
                  </a:lnTo>
                  <a:lnTo>
                    <a:pt x="37" y="249"/>
                  </a:lnTo>
                  <a:lnTo>
                    <a:pt x="39" y="263"/>
                  </a:lnTo>
                  <a:lnTo>
                    <a:pt x="26" y="274"/>
                  </a:lnTo>
                  <a:lnTo>
                    <a:pt x="78" y="317"/>
                  </a:lnTo>
                  <a:lnTo>
                    <a:pt x="67" y="328"/>
                  </a:lnTo>
                  <a:lnTo>
                    <a:pt x="48" y="328"/>
                  </a:lnTo>
                  <a:lnTo>
                    <a:pt x="46" y="306"/>
                  </a:lnTo>
                  <a:lnTo>
                    <a:pt x="16" y="304"/>
                  </a:lnTo>
                  <a:lnTo>
                    <a:pt x="17" y="333"/>
                  </a:lnTo>
                  <a:lnTo>
                    <a:pt x="0" y="351"/>
                  </a:lnTo>
                  <a:lnTo>
                    <a:pt x="0" y="367"/>
                  </a:lnTo>
                  <a:lnTo>
                    <a:pt x="21" y="385"/>
                  </a:lnTo>
                  <a:lnTo>
                    <a:pt x="51" y="385"/>
                  </a:lnTo>
                  <a:lnTo>
                    <a:pt x="51" y="374"/>
                  </a:lnTo>
                  <a:lnTo>
                    <a:pt x="78" y="374"/>
                  </a:lnTo>
                  <a:lnTo>
                    <a:pt x="103" y="397"/>
                  </a:lnTo>
                  <a:lnTo>
                    <a:pt x="130" y="397"/>
                  </a:lnTo>
                  <a:lnTo>
                    <a:pt x="128" y="367"/>
                  </a:lnTo>
                  <a:lnTo>
                    <a:pt x="101" y="345"/>
                  </a:lnTo>
                  <a:lnTo>
                    <a:pt x="99" y="338"/>
                  </a:lnTo>
                  <a:lnTo>
                    <a:pt x="140" y="338"/>
                  </a:lnTo>
                  <a:lnTo>
                    <a:pt x="139" y="320"/>
                  </a:lnTo>
                  <a:lnTo>
                    <a:pt x="176" y="320"/>
                  </a:lnTo>
                  <a:lnTo>
                    <a:pt x="187" y="308"/>
                  </a:lnTo>
                  <a:lnTo>
                    <a:pt x="171" y="295"/>
                  </a:lnTo>
                  <a:lnTo>
                    <a:pt x="190" y="295"/>
                  </a:lnTo>
                  <a:lnTo>
                    <a:pt x="189" y="274"/>
                  </a:lnTo>
                  <a:lnTo>
                    <a:pt x="172" y="262"/>
                  </a:lnTo>
                  <a:lnTo>
                    <a:pt x="178" y="254"/>
                  </a:lnTo>
                  <a:lnTo>
                    <a:pt x="192" y="267"/>
                  </a:lnTo>
                  <a:lnTo>
                    <a:pt x="222" y="237"/>
                  </a:lnTo>
                  <a:lnTo>
                    <a:pt x="246" y="237"/>
                  </a:lnTo>
                  <a:lnTo>
                    <a:pt x="345" y="139"/>
                  </a:lnTo>
                  <a:lnTo>
                    <a:pt x="301" y="139"/>
                  </a:lnTo>
                  <a:lnTo>
                    <a:pt x="299" y="126"/>
                  </a:lnTo>
                  <a:lnTo>
                    <a:pt x="345" y="126"/>
                  </a:lnTo>
                  <a:lnTo>
                    <a:pt x="383" y="89"/>
                  </a:lnTo>
                  <a:lnTo>
                    <a:pt x="379" y="71"/>
                  </a:lnTo>
                  <a:lnTo>
                    <a:pt x="313" y="23"/>
                  </a:lnTo>
                  <a:lnTo>
                    <a:pt x="299" y="23"/>
                  </a:lnTo>
                  <a:lnTo>
                    <a:pt x="281" y="10"/>
                  </a:lnTo>
                  <a:lnTo>
                    <a:pt x="246" y="10"/>
                  </a:lnTo>
                  <a:lnTo>
                    <a:pt x="233" y="0"/>
                  </a:lnTo>
                  <a:lnTo>
                    <a:pt x="156" y="0"/>
                  </a:lnTo>
                  <a:lnTo>
                    <a:pt x="114" y="37"/>
                  </a:lnTo>
                  <a:lnTo>
                    <a:pt x="98" y="23"/>
                  </a:lnTo>
                  <a:lnTo>
                    <a:pt x="67" y="49"/>
                  </a:lnTo>
                  <a:lnTo>
                    <a:pt x="58" y="42"/>
                  </a:lnTo>
                  <a:lnTo>
                    <a:pt x="21" y="76"/>
                  </a:lnTo>
                  <a:lnTo>
                    <a:pt x="53" y="101"/>
                  </a:lnTo>
                  <a:lnTo>
                    <a:pt x="55" y="11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Freeform 326">
              <a:extLst>
                <a:ext uri="{FF2B5EF4-FFF2-40B4-BE49-F238E27FC236}">
                  <a16:creationId xmlns:a16="http://schemas.microsoft.com/office/drawing/2014/main" id="{82A443E1-ED15-4F15-904D-5F4ECB68A320}"/>
                </a:ext>
              </a:extLst>
            </p:cNvPr>
            <p:cNvSpPr>
              <a:spLocks/>
            </p:cNvSpPr>
            <p:nvPr/>
          </p:nvSpPr>
          <p:spPr bwMode="auto">
            <a:xfrm>
              <a:off x="2551113" y="1246188"/>
              <a:ext cx="98425" cy="158750"/>
            </a:xfrm>
            <a:custGeom>
              <a:avLst/>
              <a:gdLst>
                <a:gd name="T0" fmla="*/ 31 w 125"/>
                <a:gd name="T1" fmla="*/ 130 h 202"/>
                <a:gd name="T2" fmla="*/ 13 w 125"/>
                <a:gd name="T3" fmla="*/ 145 h 202"/>
                <a:gd name="T4" fmla="*/ 15 w 125"/>
                <a:gd name="T5" fmla="*/ 178 h 202"/>
                <a:gd name="T6" fmla="*/ 41 w 125"/>
                <a:gd name="T7" fmla="*/ 202 h 202"/>
                <a:gd name="T8" fmla="*/ 66 w 125"/>
                <a:gd name="T9" fmla="*/ 202 h 202"/>
                <a:gd name="T10" fmla="*/ 125 w 125"/>
                <a:gd name="T11" fmla="*/ 148 h 202"/>
                <a:gd name="T12" fmla="*/ 122 w 125"/>
                <a:gd name="T13" fmla="*/ 116 h 202"/>
                <a:gd name="T14" fmla="*/ 104 w 125"/>
                <a:gd name="T15" fmla="*/ 102 h 202"/>
                <a:gd name="T16" fmla="*/ 102 w 125"/>
                <a:gd name="T17" fmla="*/ 75 h 202"/>
                <a:gd name="T18" fmla="*/ 63 w 125"/>
                <a:gd name="T19" fmla="*/ 43 h 202"/>
                <a:gd name="T20" fmla="*/ 59 w 125"/>
                <a:gd name="T21" fmla="*/ 0 h 202"/>
                <a:gd name="T22" fmla="*/ 24 w 125"/>
                <a:gd name="T23" fmla="*/ 0 h 202"/>
                <a:gd name="T24" fmla="*/ 25 w 125"/>
                <a:gd name="T25" fmla="*/ 30 h 202"/>
                <a:gd name="T26" fmla="*/ 13 w 125"/>
                <a:gd name="T27" fmla="*/ 41 h 202"/>
                <a:gd name="T28" fmla="*/ 15 w 125"/>
                <a:gd name="T29" fmla="*/ 57 h 202"/>
                <a:gd name="T30" fmla="*/ 0 w 125"/>
                <a:gd name="T31" fmla="*/ 68 h 202"/>
                <a:gd name="T32" fmla="*/ 2 w 125"/>
                <a:gd name="T33" fmla="*/ 120 h 202"/>
                <a:gd name="T34" fmla="*/ 29 w 125"/>
                <a:gd name="T35" fmla="*/ 120 h 202"/>
                <a:gd name="T36" fmla="*/ 31 w 125"/>
                <a:gd name="T37" fmla="*/ 13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202">
                  <a:moveTo>
                    <a:pt x="31" y="130"/>
                  </a:moveTo>
                  <a:lnTo>
                    <a:pt x="13" y="145"/>
                  </a:lnTo>
                  <a:lnTo>
                    <a:pt x="15" y="178"/>
                  </a:lnTo>
                  <a:lnTo>
                    <a:pt x="41" y="202"/>
                  </a:lnTo>
                  <a:lnTo>
                    <a:pt x="66" y="202"/>
                  </a:lnTo>
                  <a:lnTo>
                    <a:pt x="125" y="148"/>
                  </a:lnTo>
                  <a:lnTo>
                    <a:pt x="122" y="116"/>
                  </a:lnTo>
                  <a:lnTo>
                    <a:pt x="104" y="102"/>
                  </a:lnTo>
                  <a:lnTo>
                    <a:pt x="102" y="75"/>
                  </a:lnTo>
                  <a:lnTo>
                    <a:pt x="63" y="43"/>
                  </a:lnTo>
                  <a:lnTo>
                    <a:pt x="59" y="0"/>
                  </a:lnTo>
                  <a:lnTo>
                    <a:pt x="24" y="0"/>
                  </a:lnTo>
                  <a:lnTo>
                    <a:pt x="25" y="30"/>
                  </a:lnTo>
                  <a:lnTo>
                    <a:pt x="13" y="41"/>
                  </a:lnTo>
                  <a:lnTo>
                    <a:pt x="15" y="57"/>
                  </a:lnTo>
                  <a:lnTo>
                    <a:pt x="0" y="68"/>
                  </a:lnTo>
                  <a:lnTo>
                    <a:pt x="2" y="120"/>
                  </a:lnTo>
                  <a:lnTo>
                    <a:pt x="29" y="120"/>
                  </a:lnTo>
                  <a:lnTo>
                    <a:pt x="31" y="13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0" name="Freeform 327">
              <a:extLst>
                <a:ext uri="{FF2B5EF4-FFF2-40B4-BE49-F238E27FC236}">
                  <a16:creationId xmlns:a16="http://schemas.microsoft.com/office/drawing/2014/main" id="{234A3A4F-4E97-4B7C-99EE-AB923FDD7730}"/>
                </a:ext>
              </a:extLst>
            </p:cNvPr>
            <p:cNvSpPr>
              <a:spLocks/>
            </p:cNvSpPr>
            <p:nvPr/>
          </p:nvSpPr>
          <p:spPr bwMode="auto">
            <a:xfrm>
              <a:off x="2479676" y="1412875"/>
              <a:ext cx="192088" cy="141288"/>
            </a:xfrm>
            <a:custGeom>
              <a:avLst/>
              <a:gdLst>
                <a:gd name="T0" fmla="*/ 55 w 243"/>
                <a:gd name="T1" fmla="*/ 58 h 179"/>
                <a:gd name="T2" fmla="*/ 57 w 243"/>
                <a:gd name="T3" fmla="*/ 99 h 179"/>
                <a:gd name="T4" fmla="*/ 48 w 243"/>
                <a:gd name="T5" fmla="*/ 106 h 179"/>
                <a:gd name="T6" fmla="*/ 50 w 243"/>
                <a:gd name="T7" fmla="*/ 150 h 179"/>
                <a:gd name="T8" fmla="*/ 80 w 243"/>
                <a:gd name="T9" fmla="*/ 150 h 179"/>
                <a:gd name="T10" fmla="*/ 98 w 243"/>
                <a:gd name="T11" fmla="*/ 164 h 179"/>
                <a:gd name="T12" fmla="*/ 189 w 243"/>
                <a:gd name="T13" fmla="*/ 166 h 179"/>
                <a:gd name="T14" fmla="*/ 203 w 243"/>
                <a:gd name="T15" fmla="*/ 179 h 179"/>
                <a:gd name="T16" fmla="*/ 243 w 243"/>
                <a:gd name="T17" fmla="*/ 179 h 179"/>
                <a:gd name="T18" fmla="*/ 239 w 243"/>
                <a:gd name="T19" fmla="*/ 134 h 179"/>
                <a:gd name="T20" fmla="*/ 196 w 243"/>
                <a:gd name="T21" fmla="*/ 95 h 179"/>
                <a:gd name="T22" fmla="*/ 175 w 243"/>
                <a:gd name="T23" fmla="*/ 95 h 179"/>
                <a:gd name="T24" fmla="*/ 150 w 243"/>
                <a:gd name="T25" fmla="*/ 120 h 179"/>
                <a:gd name="T26" fmla="*/ 136 w 243"/>
                <a:gd name="T27" fmla="*/ 106 h 179"/>
                <a:gd name="T28" fmla="*/ 98 w 243"/>
                <a:gd name="T29" fmla="*/ 106 h 179"/>
                <a:gd name="T30" fmla="*/ 98 w 243"/>
                <a:gd name="T31" fmla="*/ 86 h 179"/>
                <a:gd name="T32" fmla="*/ 77 w 243"/>
                <a:gd name="T33" fmla="*/ 86 h 179"/>
                <a:gd name="T34" fmla="*/ 75 w 243"/>
                <a:gd name="T35" fmla="*/ 75 h 179"/>
                <a:gd name="T36" fmla="*/ 95 w 243"/>
                <a:gd name="T37" fmla="*/ 75 h 179"/>
                <a:gd name="T38" fmla="*/ 104 w 243"/>
                <a:gd name="T39" fmla="*/ 66 h 179"/>
                <a:gd name="T40" fmla="*/ 91 w 243"/>
                <a:gd name="T41" fmla="*/ 54 h 179"/>
                <a:gd name="T42" fmla="*/ 91 w 243"/>
                <a:gd name="T43" fmla="*/ 43 h 179"/>
                <a:gd name="T44" fmla="*/ 79 w 243"/>
                <a:gd name="T45" fmla="*/ 33 h 179"/>
                <a:gd name="T46" fmla="*/ 39 w 243"/>
                <a:gd name="T47" fmla="*/ 33 h 179"/>
                <a:gd name="T48" fmla="*/ 38 w 243"/>
                <a:gd name="T49" fmla="*/ 0 h 179"/>
                <a:gd name="T50" fmla="*/ 0 w 243"/>
                <a:gd name="T51" fmla="*/ 0 h 179"/>
                <a:gd name="T52" fmla="*/ 0 w 243"/>
                <a:gd name="T53" fmla="*/ 43 h 179"/>
                <a:gd name="T54" fmla="*/ 14 w 243"/>
                <a:gd name="T55" fmla="*/ 56 h 179"/>
                <a:gd name="T56" fmla="*/ 55 w 243"/>
                <a:gd name="T57" fmla="*/ 5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3" h="179">
                  <a:moveTo>
                    <a:pt x="55" y="58"/>
                  </a:moveTo>
                  <a:lnTo>
                    <a:pt x="57" y="99"/>
                  </a:lnTo>
                  <a:lnTo>
                    <a:pt x="48" y="106"/>
                  </a:lnTo>
                  <a:lnTo>
                    <a:pt x="50" y="150"/>
                  </a:lnTo>
                  <a:lnTo>
                    <a:pt x="80" y="150"/>
                  </a:lnTo>
                  <a:lnTo>
                    <a:pt x="98" y="164"/>
                  </a:lnTo>
                  <a:lnTo>
                    <a:pt x="189" y="166"/>
                  </a:lnTo>
                  <a:lnTo>
                    <a:pt x="203" y="179"/>
                  </a:lnTo>
                  <a:lnTo>
                    <a:pt x="243" y="179"/>
                  </a:lnTo>
                  <a:lnTo>
                    <a:pt x="239" y="134"/>
                  </a:lnTo>
                  <a:lnTo>
                    <a:pt x="196" y="95"/>
                  </a:lnTo>
                  <a:lnTo>
                    <a:pt x="175" y="95"/>
                  </a:lnTo>
                  <a:lnTo>
                    <a:pt x="150" y="120"/>
                  </a:lnTo>
                  <a:lnTo>
                    <a:pt x="136" y="106"/>
                  </a:lnTo>
                  <a:lnTo>
                    <a:pt x="98" y="106"/>
                  </a:lnTo>
                  <a:lnTo>
                    <a:pt x="98" y="86"/>
                  </a:lnTo>
                  <a:lnTo>
                    <a:pt x="77" y="86"/>
                  </a:lnTo>
                  <a:lnTo>
                    <a:pt x="75" y="75"/>
                  </a:lnTo>
                  <a:lnTo>
                    <a:pt x="95" y="75"/>
                  </a:lnTo>
                  <a:lnTo>
                    <a:pt x="104" y="66"/>
                  </a:lnTo>
                  <a:lnTo>
                    <a:pt x="91" y="54"/>
                  </a:lnTo>
                  <a:lnTo>
                    <a:pt x="91" y="43"/>
                  </a:lnTo>
                  <a:lnTo>
                    <a:pt x="79" y="33"/>
                  </a:lnTo>
                  <a:lnTo>
                    <a:pt x="39" y="33"/>
                  </a:lnTo>
                  <a:lnTo>
                    <a:pt x="38" y="0"/>
                  </a:lnTo>
                  <a:lnTo>
                    <a:pt x="0" y="0"/>
                  </a:lnTo>
                  <a:lnTo>
                    <a:pt x="0" y="43"/>
                  </a:lnTo>
                  <a:lnTo>
                    <a:pt x="14" y="56"/>
                  </a:lnTo>
                  <a:lnTo>
                    <a:pt x="55" y="5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328">
              <a:extLst>
                <a:ext uri="{FF2B5EF4-FFF2-40B4-BE49-F238E27FC236}">
                  <a16:creationId xmlns:a16="http://schemas.microsoft.com/office/drawing/2014/main" id="{9C152FBD-7707-4B3E-9E1C-8DBB5DD78672}"/>
                </a:ext>
              </a:extLst>
            </p:cNvPr>
            <p:cNvSpPr>
              <a:spLocks/>
            </p:cNvSpPr>
            <p:nvPr/>
          </p:nvSpPr>
          <p:spPr bwMode="auto">
            <a:xfrm>
              <a:off x="2484438" y="1343025"/>
              <a:ext cx="44450" cy="50800"/>
            </a:xfrm>
            <a:custGeom>
              <a:avLst/>
              <a:gdLst>
                <a:gd name="T0" fmla="*/ 8 w 57"/>
                <a:gd name="T1" fmla="*/ 57 h 64"/>
                <a:gd name="T2" fmla="*/ 16 w 57"/>
                <a:gd name="T3" fmla="*/ 64 h 64"/>
                <a:gd name="T4" fmla="*/ 39 w 57"/>
                <a:gd name="T5" fmla="*/ 64 h 64"/>
                <a:gd name="T6" fmla="*/ 57 w 57"/>
                <a:gd name="T7" fmla="*/ 48 h 64"/>
                <a:gd name="T8" fmla="*/ 57 w 57"/>
                <a:gd name="T9" fmla="*/ 36 h 64"/>
                <a:gd name="T10" fmla="*/ 16 w 57"/>
                <a:gd name="T11" fmla="*/ 0 h 64"/>
                <a:gd name="T12" fmla="*/ 0 w 57"/>
                <a:gd name="T13" fmla="*/ 0 h 64"/>
                <a:gd name="T14" fmla="*/ 0 w 57"/>
                <a:gd name="T15" fmla="*/ 13 h 64"/>
                <a:gd name="T16" fmla="*/ 8 w 57"/>
                <a:gd name="T17" fmla="*/ 20 h 64"/>
                <a:gd name="T18" fmla="*/ 8 w 57"/>
                <a:gd name="T19"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4">
                  <a:moveTo>
                    <a:pt x="8" y="57"/>
                  </a:moveTo>
                  <a:lnTo>
                    <a:pt x="16" y="64"/>
                  </a:lnTo>
                  <a:lnTo>
                    <a:pt x="39" y="64"/>
                  </a:lnTo>
                  <a:lnTo>
                    <a:pt x="57" y="48"/>
                  </a:lnTo>
                  <a:lnTo>
                    <a:pt x="57" y="36"/>
                  </a:lnTo>
                  <a:lnTo>
                    <a:pt x="16" y="0"/>
                  </a:lnTo>
                  <a:lnTo>
                    <a:pt x="0" y="0"/>
                  </a:lnTo>
                  <a:lnTo>
                    <a:pt x="0" y="13"/>
                  </a:lnTo>
                  <a:lnTo>
                    <a:pt x="8" y="20"/>
                  </a:lnTo>
                  <a:lnTo>
                    <a:pt x="8" y="5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Freeform 329">
              <a:extLst>
                <a:ext uri="{FF2B5EF4-FFF2-40B4-BE49-F238E27FC236}">
                  <a16:creationId xmlns:a16="http://schemas.microsoft.com/office/drawing/2014/main" id="{C3003808-1306-4B0B-933C-A6F22FE48798}"/>
                </a:ext>
              </a:extLst>
            </p:cNvPr>
            <p:cNvSpPr>
              <a:spLocks/>
            </p:cNvSpPr>
            <p:nvPr/>
          </p:nvSpPr>
          <p:spPr bwMode="auto">
            <a:xfrm>
              <a:off x="2432051" y="1541463"/>
              <a:ext cx="88900" cy="103188"/>
            </a:xfrm>
            <a:custGeom>
              <a:avLst/>
              <a:gdLst>
                <a:gd name="T0" fmla="*/ 25 w 112"/>
                <a:gd name="T1" fmla="*/ 92 h 130"/>
                <a:gd name="T2" fmla="*/ 62 w 112"/>
                <a:gd name="T3" fmla="*/ 92 h 130"/>
                <a:gd name="T4" fmla="*/ 83 w 112"/>
                <a:gd name="T5" fmla="*/ 73 h 130"/>
                <a:gd name="T6" fmla="*/ 74 w 112"/>
                <a:gd name="T7" fmla="*/ 64 h 130"/>
                <a:gd name="T8" fmla="*/ 112 w 112"/>
                <a:gd name="T9" fmla="*/ 28 h 130"/>
                <a:gd name="T10" fmla="*/ 90 w 112"/>
                <a:gd name="T11" fmla="*/ 9 h 130"/>
                <a:gd name="T12" fmla="*/ 64 w 112"/>
                <a:gd name="T13" fmla="*/ 9 h 130"/>
                <a:gd name="T14" fmla="*/ 55 w 112"/>
                <a:gd name="T15" fmla="*/ 0 h 130"/>
                <a:gd name="T16" fmla="*/ 1 w 112"/>
                <a:gd name="T17" fmla="*/ 0 h 130"/>
                <a:gd name="T18" fmla="*/ 0 w 112"/>
                <a:gd name="T19" fmla="*/ 130 h 130"/>
                <a:gd name="T20" fmla="*/ 25 w 112"/>
                <a:gd name="T21" fmla="*/ 130 h 130"/>
                <a:gd name="T22" fmla="*/ 25 w 112"/>
                <a:gd name="T23" fmla="*/ 9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130">
                  <a:moveTo>
                    <a:pt x="25" y="92"/>
                  </a:moveTo>
                  <a:lnTo>
                    <a:pt x="62" y="92"/>
                  </a:lnTo>
                  <a:lnTo>
                    <a:pt x="83" y="73"/>
                  </a:lnTo>
                  <a:lnTo>
                    <a:pt x="74" y="64"/>
                  </a:lnTo>
                  <a:lnTo>
                    <a:pt x="112" y="28"/>
                  </a:lnTo>
                  <a:lnTo>
                    <a:pt x="90" y="9"/>
                  </a:lnTo>
                  <a:lnTo>
                    <a:pt x="64" y="9"/>
                  </a:lnTo>
                  <a:lnTo>
                    <a:pt x="55" y="0"/>
                  </a:lnTo>
                  <a:lnTo>
                    <a:pt x="1" y="0"/>
                  </a:lnTo>
                  <a:lnTo>
                    <a:pt x="0" y="130"/>
                  </a:lnTo>
                  <a:lnTo>
                    <a:pt x="25" y="130"/>
                  </a:lnTo>
                  <a:lnTo>
                    <a:pt x="25" y="9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3" name="Freeform 330">
              <a:extLst>
                <a:ext uri="{FF2B5EF4-FFF2-40B4-BE49-F238E27FC236}">
                  <a16:creationId xmlns:a16="http://schemas.microsoft.com/office/drawing/2014/main" id="{5109D9DF-3F18-4D89-8404-88696C64A8C0}"/>
                </a:ext>
              </a:extLst>
            </p:cNvPr>
            <p:cNvSpPr>
              <a:spLocks/>
            </p:cNvSpPr>
            <p:nvPr/>
          </p:nvSpPr>
          <p:spPr bwMode="auto">
            <a:xfrm>
              <a:off x="2341563" y="1446213"/>
              <a:ext cx="73025" cy="92075"/>
            </a:xfrm>
            <a:custGeom>
              <a:avLst/>
              <a:gdLst>
                <a:gd name="T0" fmla="*/ 40 w 93"/>
                <a:gd name="T1" fmla="*/ 88 h 116"/>
                <a:gd name="T2" fmla="*/ 38 w 93"/>
                <a:gd name="T3" fmla="*/ 116 h 116"/>
                <a:gd name="T4" fmla="*/ 77 w 93"/>
                <a:gd name="T5" fmla="*/ 116 h 116"/>
                <a:gd name="T6" fmla="*/ 79 w 93"/>
                <a:gd name="T7" fmla="*/ 93 h 116"/>
                <a:gd name="T8" fmla="*/ 91 w 93"/>
                <a:gd name="T9" fmla="*/ 80 h 116"/>
                <a:gd name="T10" fmla="*/ 93 w 93"/>
                <a:gd name="T11" fmla="*/ 15 h 116"/>
                <a:gd name="T12" fmla="*/ 77 w 93"/>
                <a:gd name="T13" fmla="*/ 0 h 116"/>
                <a:gd name="T14" fmla="*/ 47 w 93"/>
                <a:gd name="T15" fmla="*/ 0 h 116"/>
                <a:gd name="T16" fmla="*/ 33 w 93"/>
                <a:gd name="T17" fmla="*/ 13 h 116"/>
                <a:gd name="T18" fmla="*/ 43 w 93"/>
                <a:gd name="T19" fmla="*/ 34 h 116"/>
                <a:gd name="T20" fmla="*/ 43 w 93"/>
                <a:gd name="T21" fmla="*/ 48 h 116"/>
                <a:gd name="T22" fmla="*/ 20 w 93"/>
                <a:gd name="T23" fmla="*/ 27 h 116"/>
                <a:gd name="T24" fmla="*/ 18 w 93"/>
                <a:gd name="T25" fmla="*/ 57 h 116"/>
                <a:gd name="T26" fmla="*/ 0 w 93"/>
                <a:gd name="T27" fmla="*/ 57 h 116"/>
                <a:gd name="T28" fmla="*/ 0 w 93"/>
                <a:gd name="T29" fmla="*/ 66 h 116"/>
                <a:gd name="T30" fmla="*/ 52 w 93"/>
                <a:gd name="T31" fmla="*/ 66 h 116"/>
                <a:gd name="T32" fmla="*/ 52 w 93"/>
                <a:gd name="T33" fmla="*/ 75 h 116"/>
                <a:gd name="T34" fmla="*/ 40 w 93"/>
                <a:gd name="T35"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 h="116">
                  <a:moveTo>
                    <a:pt x="40" y="88"/>
                  </a:moveTo>
                  <a:lnTo>
                    <a:pt x="38" y="116"/>
                  </a:lnTo>
                  <a:lnTo>
                    <a:pt x="77" y="116"/>
                  </a:lnTo>
                  <a:lnTo>
                    <a:pt x="79" y="93"/>
                  </a:lnTo>
                  <a:lnTo>
                    <a:pt x="91" y="80"/>
                  </a:lnTo>
                  <a:lnTo>
                    <a:pt x="93" y="15"/>
                  </a:lnTo>
                  <a:lnTo>
                    <a:pt x="77" y="0"/>
                  </a:lnTo>
                  <a:lnTo>
                    <a:pt x="47" y="0"/>
                  </a:lnTo>
                  <a:lnTo>
                    <a:pt x="33" y="13"/>
                  </a:lnTo>
                  <a:lnTo>
                    <a:pt x="43" y="34"/>
                  </a:lnTo>
                  <a:lnTo>
                    <a:pt x="43" y="48"/>
                  </a:lnTo>
                  <a:lnTo>
                    <a:pt x="20" y="27"/>
                  </a:lnTo>
                  <a:lnTo>
                    <a:pt x="18" y="57"/>
                  </a:lnTo>
                  <a:lnTo>
                    <a:pt x="0" y="57"/>
                  </a:lnTo>
                  <a:lnTo>
                    <a:pt x="0" y="66"/>
                  </a:lnTo>
                  <a:lnTo>
                    <a:pt x="52" y="66"/>
                  </a:lnTo>
                  <a:lnTo>
                    <a:pt x="52" y="75"/>
                  </a:lnTo>
                  <a:lnTo>
                    <a:pt x="40" y="8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331">
              <a:extLst>
                <a:ext uri="{FF2B5EF4-FFF2-40B4-BE49-F238E27FC236}">
                  <a16:creationId xmlns:a16="http://schemas.microsoft.com/office/drawing/2014/main" id="{92F3F269-4DC7-414A-9EFE-EBC5B080AA55}"/>
                </a:ext>
              </a:extLst>
            </p:cNvPr>
            <p:cNvSpPr>
              <a:spLocks/>
            </p:cNvSpPr>
            <p:nvPr/>
          </p:nvSpPr>
          <p:spPr bwMode="auto">
            <a:xfrm>
              <a:off x="2338388" y="1333500"/>
              <a:ext cx="90488" cy="96838"/>
            </a:xfrm>
            <a:custGeom>
              <a:avLst/>
              <a:gdLst>
                <a:gd name="T0" fmla="*/ 19 w 114"/>
                <a:gd name="T1" fmla="*/ 53 h 123"/>
                <a:gd name="T2" fmla="*/ 0 w 114"/>
                <a:gd name="T3" fmla="*/ 69 h 123"/>
                <a:gd name="T4" fmla="*/ 23 w 114"/>
                <a:gd name="T5" fmla="*/ 91 h 123"/>
                <a:gd name="T6" fmla="*/ 37 w 114"/>
                <a:gd name="T7" fmla="*/ 80 h 123"/>
                <a:gd name="T8" fmla="*/ 50 w 114"/>
                <a:gd name="T9" fmla="*/ 91 h 123"/>
                <a:gd name="T10" fmla="*/ 84 w 114"/>
                <a:gd name="T11" fmla="*/ 91 h 123"/>
                <a:gd name="T12" fmla="*/ 84 w 114"/>
                <a:gd name="T13" fmla="*/ 123 h 123"/>
                <a:gd name="T14" fmla="*/ 112 w 114"/>
                <a:gd name="T15" fmla="*/ 123 h 123"/>
                <a:gd name="T16" fmla="*/ 114 w 114"/>
                <a:gd name="T17" fmla="*/ 108 h 123"/>
                <a:gd name="T18" fmla="*/ 105 w 114"/>
                <a:gd name="T19" fmla="*/ 101 h 123"/>
                <a:gd name="T20" fmla="*/ 105 w 114"/>
                <a:gd name="T21" fmla="*/ 51 h 123"/>
                <a:gd name="T22" fmla="*/ 84 w 114"/>
                <a:gd name="T23" fmla="*/ 32 h 123"/>
                <a:gd name="T24" fmla="*/ 71 w 114"/>
                <a:gd name="T25" fmla="*/ 30 h 123"/>
                <a:gd name="T26" fmla="*/ 71 w 114"/>
                <a:gd name="T27" fmla="*/ 16 h 123"/>
                <a:gd name="T28" fmla="*/ 55 w 114"/>
                <a:gd name="T29" fmla="*/ 0 h 123"/>
                <a:gd name="T30" fmla="*/ 0 w 114"/>
                <a:gd name="T31" fmla="*/ 0 h 123"/>
                <a:gd name="T32" fmla="*/ 0 w 114"/>
                <a:gd name="T33" fmla="*/ 21 h 123"/>
                <a:gd name="T34" fmla="*/ 19 w 114"/>
                <a:gd name="T35" fmla="*/ 41 h 123"/>
                <a:gd name="T36" fmla="*/ 19 w 114"/>
                <a:gd name="T37" fmla="*/ 5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123">
                  <a:moveTo>
                    <a:pt x="19" y="53"/>
                  </a:moveTo>
                  <a:lnTo>
                    <a:pt x="0" y="69"/>
                  </a:lnTo>
                  <a:lnTo>
                    <a:pt x="23" y="91"/>
                  </a:lnTo>
                  <a:lnTo>
                    <a:pt x="37" y="80"/>
                  </a:lnTo>
                  <a:lnTo>
                    <a:pt x="50" y="91"/>
                  </a:lnTo>
                  <a:lnTo>
                    <a:pt x="84" y="91"/>
                  </a:lnTo>
                  <a:lnTo>
                    <a:pt x="84" y="123"/>
                  </a:lnTo>
                  <a:lnTo>
                    <a:pt x="112" y="123"/>
                  </a:lnTo>
                  <a:lnTo>
                    <a:pt x="114" y="108"/>
                  </a:lnTo>
                  <a:lnTo>
                    <a:pt x="105" y="101"/>
                  </a:lnTo>
                  <a:lnTo>
                    <a:pt x="105" y="51"/>
                  </a:lnTo>
                  <a:lnTo>
                    <a:pt x="84" y="32"/>
                  </a:lnTo>
                  <a:lnTo>
                    <a:pt x="71" y="30"/>
                  </a:lnTo>
                  <a:lnTo>
                    <a:pt x="71" y="16"/>
                  </a:lnTo>
                  <a:lnTo>
                    <a:pt x="55" y="0"/>
                  </a:lnTo>
                  <a:lnTo>
                    <a:pt x="0" y="0"/>
                  </a:lnTo>
                  <a:lnTo>
                    <a:pt x="0" y="21"/>
                  </a:lnTo>
                  <a:lnTo>
                    <a:pt x="19" y="41"/>
                  </a:lnTo>
                  <a:lnTo>
                    <a:pt x="19" y="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332">
              <a:extLst>
                <a:ext uri="{FF2B5EF4-FFF2-40B4-BE49-F238E27FC236}">
                  <a16:creationId xmlns:a16="http://schemas.microsoft.com/office/drawing/2014/main" id="{F53A9103-80EE-4600-90FF-CEB3F81388F6}"/>
                </a:ext>
              </a:extLst>
            </p:cNvPr>
            <p:cNvSpPr>
              <a:spLocks/>
            </p:cNvSpPr>
            <p:nvPr/>
          </p:nvSpPr>
          <p:spPr bwMode="auto">
            <a:xfrm>
              <a:off x="2582863" y="1955800"/>
              <a:ext cx="107950" cy="127000"/>
            </a:xfrm>
            <a:custGeom>
              <a:avLst/>
              <a:gdLst>
                <a:gd name="T0" fmla="*/ 29 w 136"/>
                <a:gd name="T1" fmla="*/ 0 h 160"/>
                <a:gd name="T2" fmla="*/ 20 w 136"/>
                <a:gd name="T3" fmla="*/ 36 h 160"/>
                <a:gd name="T4" fmla="*/ 22 w 136"/>
                <a:gd name="T5" fmla="*/ 103 h 160"/>
                <a:gd name="T6" fmla="*/ 0 w 136"/>
                <a:gd name="T7" fmla="*/ 128 h 160"/>
                <a:gd name="T8" fmla="*/ 36 w 136"/>
                <a:gd name="T9" fmla="*/ 128 h 160"/>
                <a:gd name="T10" fmla="*/ 66 w 136"/>
                <a:gd name="T11" fmla="*/ 160 h 160"/>
                <a:gd name="T12" fmla="*/ 65 w 136"/>
                <a:gd name="T13" fmla="*/ 134 h 160"/>
                <a:gd name="T14" fmla="*/ 136 w 136"/>
                <a:gd name="T15" fmla="*/ 134 h 160"/>
                <a:gd name="T16" fmla="*/ 134 w 136"/>
                <a:gd name="T17" fmla="*/ 105 h 160"/>
                <a:gd name="T18" fmla="*/ 50 w 136"/>
                <a:gd name="T19" fmla="*/ 21 h 160"/>
                <a:gd name="T20" fmla="*/ 29 w 136"/>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60">
                  <a:moveTo>
                    <a:pt x="29" y="0"/>
                  </a:moveTo>
                  <a:lnTo>
                    <a:pt x="20" y="36"/>
                  </a:lnTo>
                  <a:lnTo>
                    <a:pt x="22" y="103"/>
                  </a:lnTo>
                  <a:lnTo>
                    <a:pt x="0" y="128"/>
                  </a:lnTo>
                  <a:lnTo>
                    <a:pt x="36" y="128"/>
                  </a:lnTo>
                  <a:lnTo>
                    <a:pt x="66" y="160"/>
                  </a:lnTo>
                  <a:lnTo>
                    <a:pt x="65" y="134"/>
                  </a:lnTo>
                  <a:lnTo>
                    <a:pt x="136" y="134"/>
                  </a:lnTo>
                  <a:lnTo>
                    <a:pt x="134" y="105"/>
                  </a:lnTo>
                  <a:lnTo>
                    <a:pt x="50" y="21"/>
                  </a:lnTo>
                  <a:lnTo>
                    <a:pt x="29"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Freeform 333">
              <a:extLst>
                <a:ext uri="{FF2B5EF4-FFF2-40B4-BE49-F238E27FC236}">
                  <a16:creationId xmlns:a16="http://schemas.microsoft.com/office/drawing/2014/main" id="{9EF2BB00-7ECA-417F-93C3-3C41053C488C}"/>
                </a:ext>
              </a:extLst>
            </p:cNvPr>
            <p:cNvSpPr>
              <a:spLocks/>
            </p:cNvSpPr>
            <p:nvPr/>
          </p:nvSpPr>
          <p:spPr bwMode="auto">
            <a:xfrm>
              <a:off x="2354263" y="1760538"/>
              <a:ext cx="69850" cy="47625"/>
            </a:xfrm>
            <a:custGeom>
              <a:avLst/>
              <a:gdLst>
                <a:gd name="T0" fmla="*/ 18 w 90"/>
                <a:gd name="T1" fmla="*/ 61 h 61"/>
                <a:gd name="T2" fmla="*/ 75 w 90"/>
                <a:gd name="T3" fmla="*/ 61 h 61"/>
                <a:gd name="T4" fmla="*/ 90 w 90"/>
                <a:gd name="T5" fmla="*/ 48 h 61"/>
                <a:gd name="T6" fmla="*/ 45 w 90"/>
                <a:gd name="T7" fmla="*/ 0 h 61"/>
                <a:gd name="T8" fmla="*/ 0 w 90"/>
                <a:gd name="T9" fmla="*/ 43 h 61"/>
                <a:gd name="T10" fmla="*/ 18 w 90"/>
                <a:gd name="T11" fmla="*/ 61 h 61"/>
              </a:gdLst>
              <a:ahLst/>
              <a:cxnLst>
                <a:cxn ang="0">
                  <a:pos x="T0" y="T1"/>
                </a:cxn>
                <a:cxn ang="0">
                  <a:pos x="T2" y="T3"/>
                </a:cxn>
                <a:cxn ang="0">
                  <a:pos x="T4" y="T5"/>
                </a:cxn>
                <a:cxn ang="0">
                  <a:pos x="T6" y="T7"/>
                </a:cxn>
                <a:cxn ang="0">
                  <a:pos x="T8" y="T9"/>
                </a:cxn>
                <a:cxn ang="0">
                  <a:pos x="T10" y="T11"/>
                </a:cxn>
              </a:cxnLst>
              <a:rect l="0" t="0" r="r" b="b"/>
              <a:pathLst>
                <a:path w="90" h="61">
                  <a:moveTo>
                    <a:pt x="18" y="61"/>
                  </a:moveTo>
                  <a:lnTo>
                    <a:pt x="75" y="61"/>
                  </a:lnTo>
                  <a:lnTo>
                    <a:pt x="90" y="48"/>
                  </a:lnTo>
                  <a:lnTo>
                    <a:pt x="45" y="0"/>
                  </a:lnTo>
                  <a:lnTo>
                    <a:pt x="0" y="43"/>
                  </a:lnTo>
                  <a:lnTo>
                    <a:pt x="18" y="6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334">
              <a:extLst>
                <a:ext uri="{FF2B5EF4-FFF2-40B4-BE49-F238E27FC236}">
                  <a16:creationId xmlns:a16="http://schemas.microsoft.com/office/drawing/2014/main" id="{F3F16169-A932-4D9C-AE19-4EACA96F70EC}"/>
                </a:ext>
              </a:extLst>
            </p:cNvPr>
            <p:cNvSpPr>
              <a:spLocks/>
            </p:cNvSpPr>
            <p:nvPr/>
          </p:nvSpPr>
          <p:spPr bwMode="auto">
            <a:xfrm>
              <a:off x="2309813" y="1557338"/>
              <a:ext cx="107950" cy="134938"/>
            </a:xfrm>
            <a:custGeom>
              <a:avLst/>
              <a:gdLst>
                <a:gd name="T0" fmla="*/ 47 w 136"/>
                <a:gd name="T1" fmla="*/ 114 h 171"/>
                <a:gd name="T2" fmla="*/ 63 w 136"/>
                <a:gd name="T3" fmla="*/ 130 h 171"/>
                <a:gd name="T4" fmla="*/ 61 w 136"/>
                <a:gd name="T5" fmla="*/ 145 h 171"/>
                <a:gd name="T6" fmla="*/ 89 w 136"/>
                <a:gd name="T7" fmla="*/ 171 h 171"/>
                <a:gd name="T8" fmla="*/ 136 w 136"/>
                <a:gd name="T9" fmla="*/ 129 h 171"/>
                <a:gd name="T10" fmla="*/ 136 w 136"/>
                <a:gd name="T11" fmla="*/ 84 h 171"/>
                <a:gd name="T12" fmla="*/ 111 w 136"/>
                <a:gd name="T13" fmla="*/ 59 h 171"/>
                <a:gd name="T14" fmla="*/ 88 w 136"/>
                <a:gd name="T15" fmla="*/ 59 h 171"/>
                <a:gd name="T16" fmla="*/ 113 w 136"/>
                <a:gd name="T17" fmla="*/ 38 h 171"/>
                <a:gd name="T18" fmla="*/ 114 w 136"/>
                <a:gd name="T19" fmla="*/ 0 h 171"/>
                <a:gd name="T20" fmla="*/ 57 w 136"/>
                <a:gd name="T21" fmla="*/ 0 h 171"/>
                <a:gd name="T22" fmla="*/ 41 w 136"/>
                <a:gd name="T23" fmla="*/ 25 h 171"/>
                <a:gd name="T24" fmla="*/ 61 w 136"/>
                <a:gd name="T25" fmla="*/ 43 h 171"/>
                <a:gd name="T26" fmla="*/ 59 w 136"/>
                <a:gd name="T27" fmla="*/ 80 h 171"/>
                <a:gd name="T28" fmla="*/ 38 w 136"/>
                <a:gd name="T29" fmla="*/ 80 h 171"/>
                <a:gd name="T30" fmla="*/ 23 w 136"/>
                <a:gd name="T31" fmla="*/ 66 h 171"/>
                <a:gd name="T32" fmla="*/ 0 w 136"/>
                <a:gd name="T33" fmla="*/ 86 h 171"/>
                <a:gd name="T34" fmla="*/ 29 w 136"/>
                <a:gd name="T35" fmla="*/ 114 h 171"/>
                <a:gd name="T36" fmla="*/ 47 w 136"/>
                <a:gd name="T37" fmla="*/ 11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6" h="171">
                  <a:moveTo>
                    <a:pt x="47" y="114"/>
                  </a:moveTo>
                  <a:lnTo>
                    <a:pt x="63" y="130"/>
                  </a:lnTo>
                  <a:lnTo>
                    <a:pt x="61" y="145"/>
                  </a:lnTo>
                  <a:lnTo>
                    <a:pt x="89" y="171"/>
                  </a:lnTo>
                  <a:lnTo>
                    <a:pt x="136" y="129"/>
                  </a:lnTo>
                  <a:lnTo>
                    <a:pt x="136" y="84"/>
                  </a:lnTo>
                  <a:lnTo>
                    <a:pt x="111" y="59"/>
                  </a:lnTo>
                  <a:lnTo>
                    <a:pt x="88" y="59"/>
                  </a:lnTo>
                  <a:lnTo>
                    <a:pt x="113" y="38"/>
                  </a:lnTo>
                  <a:lnTo>
                    <a:pt x="114" y="0"/>
                  </a:lnTo>
                  <a:lnTo>
                    <a:pt x="57" y="0"/>
                  </a:lnTo>
                  <a:lnTo>
                    <a:pt x="41" y="25"/>
                  </a:lnTo>
                  <a:lnTo>
                    <a:pt x="61" y="43"/>
                  </a:lnTo>
                  <a:lnTo>
                    <a:pt x="59" y="80"/>
                  </a:lnTo>
                  <a:lnTo>
                    <a:pt x="38" y="80"/>
                  </a:lnTo>
                  <a:lnTo>
                    <a:pt x="23" y="66"/>
                  </a:lnTo>
                  <a:lnTo>
                    <a:pt x="0" y="86"/>
                  </a:lnTo>
                  <a:lnTo>
                    <a:pt x="29" y="114"/>
                  </a:lnTo>
                  <a:lnTo>
                    <a:pt x="47" y="11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335">
              <a:extLst>
                <a:ext uri="{FF2B5EF4-FFF2-40B4-BE49-F238E27FC236}">
                  <a16:creationId xmlns:a16="http://schemas.microsoft.com/office/drawing/2014/main" id="{CEDF48B1-561C-4ABB-A100-0FF534E83C84}"/>
                </a:ext>
              </a:extLst>
            </p:cNvPr>
            <p:cNvSpPr>
              <a:spLocks/>
            </p:cNvSpPr>
            <p:nvPr/>
          </p:nvSpPr>
          <p:spPr bwMode="auto">
            <a:xfrm>
              <a:off x="2127251" y="1433513"/>
              <a:ext cx="188913" cy="138113"/>
            </a:xfrm>
            <a:custGeom>
              <a:avLst/>
              <a:gdLst>
                <a:gd name="T0" fmla="*/ 14 w 237"/>
                <a:gd name="T1" fmla="*/ 93 h 173"/>
                <a:gd name="T2" fmla="*/ 0 w 237"/>
                <a:gd name="T3" fmla="*/ 105 h 173"/>
                <a:gd name="T4" fmla="*/ 29 w 237"/>
                <a:gd name="T5" fmla="*/ 132 h 173"/>
                <a:gd name="T6" fmla="*/ 63 w 237"/>
                <a:gd name="T7" fmla="*/ 104 h 173"/>
                <a:gd name="T8" fmla="*/ 75 w 237"/>
                <a:gd name="T9" fmla="*/ 104 h 173"/>
                <a:gd name="T10" fmla="*/ 73 w 237"/>
                <a:gd name="T11" fmla="*/ 121 h 173"/>
                <a:gd name="T12" fmla="*/ 86 w 237"/>
                <a:gd name="T13" fmla="*/ 112 h 173"/>
                <a:gd name="T14" fmla="*/ 111 w 237"/>
                <a:gd name="T15" fmla="*/ 112 h 173"/>
                <a:gd name="T16" fmla="*/ 111 w 237"/>
                <a:gd name="T17" fmla="*/ 130 h 173"/>
                <a:gd name="T18" fmla="*/ 80 w 237"/>
                <a:gd name="T19" fmla="*/ 130 h 173"/>
                <a:gd name="T20" fmla="*/ 55 w 237"/>
                <a:gd name="T21" fmla="*/ 153 h 173"/>
                <a:gd name="T22" fmla="*/ 75 w 237"/>
                <a:gd name="T23" fmla="*/ 173 h 173"/>
                <a:gd name="T24" fmla="*/ 102 w 237"/>
                <a:gd name="T25" fmla="*/ 173 h 173"/>
                <a:gd name="T26" fmla="*/ 102 w 237"/>
                <a:gd name="T27" fmla="*/ 161 h 173"/>
                <a:gd name="T28" fmla="*/ 125 w 237"/>
                <a:gd name="T29" fmla="*/ 161 h 173"/>
                <a:gd name="T30" fmla="*/ 162 w 237"/>
                <a:gd name="T31" fmla="*/ 129 h 173"/>
                <a:gd name="T32" fmla="*/ 234 w 237"/>
                <a:gd name="T33" fmla="*/ 129 h 173"/>
                <a:gd name="T34" fmla="*/ 237 w 237"/>
                <a:gd name="T35" fmla="*/ 80 h 173"/>
                <a:gd name="T36" fmla="*/ 228 w 237"/>
                <a:gd name="T37" fmla="*/ 73 h 173"/>
                <a:gd name="T38" fmla="*/ 209 w 237"/>
                <a:gd name="T39" fmla="*/ 54 h 173"/>
                <a:gd name="T40" fmla="*/ 209 w 237"/>
                <a:gd name="T41" fmla="*/ 61 h 173"/>
                <a:gd name="T42" fmla="*/ 186 w 237"/>
                <a:gd name="T43" fmla="*/ 61 h 173"/>
                <a:gd name="T44" fmla="*/ 189 w 237"/>
                <a:gd name="T45" fmla="*/ 9 h 173"/>
                <a:gd name="T46" fmla="*/ 180 w 237"/>
                <a:gd name="T47" fmla="*/ 0 h 173"/>
                <a:gd name="T48" fmla="*/ 141 w 237"/>
                <a:gd name="T49" fmla="*/ 34 h 173"/>
                <a:gd name="T50" fmla="*/ 162 w 237"/>
                <a:gd name="T51" fmla="*/ 55 h 173"/>
                <a:gd name="T52" fmla="*/ 150 w 237"/>
                <a:gd name="T53" fmla="*/ 66 h 173"/>
                <a:gd name="T54" fmla="*/ 162 w 237"/>
                <a:gd name="T55" fmla="*/ 79 h 173"/>
                <a:gd name="T56" fmla="*/ 161 w 237"/>
                <a:gd name="T57" fmla="*/ 89 h 173"/>
                <a:gd name="T58" fmla="*/ 116 w 237"/>
                <a:gd name="T59" fmla="*/ 89 h 173"/>
                <a:gd name="T60" fmla="*/ 118 w 237"/>
                <a:gd name="T61" fmla="*/ 64 h 173"/>
                <a:gd name="T62" fmla="*/ 95 w 237"/>
                <a:gd name="T63" fmla="*/ 41 h 173"/>
                <a:gd name="T64" fmla="*/ 66 w 237"/>
                <a:gd name="T65" fmla="*/ 41 h 173"/>
                <a:gd name="T66" fmla="*/ 68 w 237"/>
                <a:gd name="T67" fmla="*/ 25 h 173"/>
                <a:gd name="T68" fmla="*/ 48 w 237"/>
                <a:gd name="T69" fmla="*/ 25 h 173"/>
                <a:gd name="T70" fmla="*/ 18 w 237"/>
                <a:gd name="T71" fmla="*/ 63 h 173"/>
                <a:gd name="T72" fmla="*/ 14 w 237"/>
                <a:gd name="T73"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7" h="173">
                  <a:moveTo>
                    <a:pt x="14" y="93"/>
                  </a:moveTo>
                  <a:lnTo>
                    <a:pt x="0" y="105"/>
                  </a:lnTo>
                  <a:lnTo>
                    <a:pt x="29" y="132"/>
                  </a:lnTo>
                  <a:lnTo>
                    <a:pt x="63" y="104"/>
                  </a:lnTo>
                  <a:lnTo>
                    <a:pt x="75" y="104"/>
                  </a:lnTo>
                  <a:lnTo>
                    <a:pt x="73" y="121"/>
                  </a:lnTo>
                  <a:lnTo>
                    <a:pt x="86" y="112"/>
                  </a:lnTo>
                  <a:lnTo>
                    <a:pt x="111" y="112"/>
                  </a:lnTo>
                  <a:lnTo>
                    <a:pt x="111" y="130"/>
                  </a:lnTo>
                  <a:lnTo>
                    <a:pt x="80" y="130"/>
                  </a:lnTo>
                  <a:lnTo>
                    <a:pt x="55" y="153"/>
                  </a:lnTo>
                  <a:lnTo>
                    <a:pt x="75" y="173"/>
                  </a:lnTo>
                  <a:lnTo>
                    <a:pt x="102" y="173"/>
                  </a:lnTo>
                  <a:lnTo>
                    <a:pt x="102" y="161"/>
                  </a:lnTo>
                  <a:lnTo>
                    <a:pt x="125" y="161"/>
                  </a:lnTo>
                  <a:lnTo>
                    <a:pt x="162" y="129"/>
                  </a:lnTo>
                  <a:lnTo>
                    <a:pt x="234" y="129"/>
                  </a:lnTo>
                  <a:lnTo>
                    <a:pt x="237" y="80"/>
                  </a:lnTo>
                  <a:lnTo>
                    <a:pt x="228" y="73"/>
                  </a:lnTo>
                  <a:lnTo>
                    <a:pt x="209" y="54"/>
                  </a:lnTo>
                  <a:lnTo>
                    <a:pt x="209" y="61"/>
                  </a:lnTo>
                  <a:lnTo>
                    <a:pt x="186" y="61"/>
                  </a:lnTo>
                  <a:lnTo>
                    <a:pt x="189" y="9"/>
                  </a:lnTo>
                  <a:lnTo>
                    <a:pt x="180" y="0"/>
                  </a:lnTo>
                  <a:lnTo>
                    <a:pt x="141" y="34"/>
                  </a:lnTo>
                  <a:lnTo>
                    <a:pt x="162" y="55"/>
                  </a:lnTo>
                  <a:lnTo>
                    <a:pt x="150" y="66"/>
                  </a:lnTo>
                  <a:lnTo>
                    <a:pt x="162" y="79"/>
                  </a:lnTo>
                  <a:lnTo>
                    <a:pt x="161" y="89"/>
                  </a:lnTo>
                  <a:lnTo>
                    <a:pt x="116" y="89"/>
                  </a:lnTo>
                  <a:lnTo>
                    <a:pt x="118" y="64"/>
                  </a:lnTo>
                  <a:lnTo>
                    <a:pt x="95" y="41"/>
                  </a:lnTo>
                  <a:lnTo>
                    <a:pt x="66" y="41"/>
                  </a:lnTo>
                  <a:lnTo>
                    <a:pt x="68" y="25"/>
                  </a:lnTo>
                  <a:lnTo>
                    <a:pt x="48" y="25"/>
                  </a:lnTo>
                  <a:lnTo>
                    <a:pt x="18" y="63"/>
                  </a:lnTo>
                  <a:lnTo>
                    <a:pt x="14" y="9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336">
              <a:extLst>
                <a:ext uri="{FF2B5EF4-FFF2-40B4-BE49-F238E27FC236}">
                  <a16:creationId xmlns:a16="http://schemas.microsoft.com/office/drawing/2014/main" id="{2CFFFE4C-6CF2-4829-8453-D066DCC0216E}"/>
                </a:ext>
              </a:extLst>
            </p:cNvPr>
            <p:cNvSpPr>
              <a:spLocks/>
            </p:cNvSpPr>
            <p:nvPr/>
          </p:nvSpPr>
          <p:spPr bwMode="auto">
            <a:xfrm>
              <a:off x="2046288" y="1579563"/>
              <a:ext cx="280988" cy="239713"/>
            </a:xfrm>
            <a:custGeom>
              <a:avLst/>
              <a:gdLst>
                <a:gd name="T0" fmla="*/ 351 w 353"/>
                <a:gd name="T1" fmla="*/ 235 h 301"/>
                <a:gd name="T2" fmla="*/ 353 w 353"/>
                <a:gd name="T3" fmla="*/ 217 h 301"/>
                <a:gd name="T4" fmla="*/ 322 w 353"/>
                <a:gd name="T5" fmla="*/ 185 h 301"/>
                <a:gd name="T6" fmla="*/ 288 w 353"/>
                <a:gd name="T7" fmla="*/ 151 h 301"/>
                <a:gd name="T8" fmla="*/ 292 w 353"/>
                <a:gd name="T9" fmla="*/ 101 h 301"/>
                <a:gd name="T10" fmla="*/ 272 w 353"/>
                <a:gd name="T11" fmla="*/ 80 h 301"/>
                <a:gd name="T12" fmla="*/ 276 w 353"/>
                <a:gd name="T13" fmla="*/ 39 h 301"/>
                <a:gd name="T14" fmla="*/ 242 w 353"/>
                <a:gd name="T15" fmla="*/ 5 h 301"/>
                <a:gd name="T16" fmla="*/ 233 w 353"/>
                <a:gd name="T17" fmla="*/ 14 h 301"/>
                <a:gd name="T18" fmla="*/ 224 w 353"/>
                <a:gd name="T19" fmla="*/ 112 h 301"/>
                <a:gd name="T20" fmla="*/ 203 w 353"/>
                <a:gd name="T21" fmla="*/ 112 h 301"/>
                <a:gd name="T22" fmla="*/ 206 w 353"/>
                <a:gd name="T23" fmla="*/ 55 h 301"/>
                <a:gd name="T24" fmla="*/ 178 w 353"/>
                <a:gd name="T25" fmla="*/ 25 h 301"/>
                <a:gd name="T26" fmla="*/ 174 w 353"/>
                <a:gd name="T27" fmla="*/ 57 h 301"/>
                <a:gd name="T28" fmla="*/ 149 w 353"/>
                <a:gd name="T29" fmla="*/ 57 h 301"/>
                <a:gd name="T30" fmla="*/ 131 w 353"/>
                <a:gd name="T31" fmla="*/ 37 h 301"/>
                <a:gd name="T32" fmla="*/ 112 w 353"/>
                <a:gd name="T33" fmla="*/ 53 h 301"/>
                <a:gd name="T34" fmla="*/ 85 w 353"/>
                <a:gd name="T35" fmla="*/ 53 h 301"/>
                <a:gd name="T36" fmla="*/ 92 w 353"/>
                <a:gd name="T37" fmla="*/ 0 h 301"/>
                <a:gd name="T38" fmla="*/ 21 w 353"/>
                <a:gd name="T39" fmla="*/ 60 h 301"/>
                <a:gd name="T40" fmla="*/ 21 w 353"/>
                <a:gd name="T41" fmla="*/ 76 h 301"/>
                <a:gd name="T42" fmla="*/ 3 w 353"/>
                <a:gd name="T43" fmla="*/ 92 h 301"/>
                <a:gd name="T44" fmla="*/ 0 w 353"/>
                <a:gd name="T45" fmla="*/ 119 h 301"/>
                <a:gd name="T46" fmla="*/ 39 w 353"/>
                <a:gd name="T47" fmla="*/ 121 h 301"/>
                <a:gd name="T48" fmla="*/ 44 w 353"/>
                <a:gd name="T49" fmla="*/ 128 h 301"/>
                <a:gd name="T50" fmla="*/ 17 w 353"/>
                <a:gd name="T51" fmla="*/ 151 h 301"/>
                <a:gd name="T52" fmla="*/ 14 w 353"/>
                <a:gd name="T53" fmla="*/ 182 h 301"/>
                <a:gd name="T54" fmla="*/ 33 w 353"/>
                <a:gd name="T55" fmla="*/ 182 h 301"/>
                <a:gd name="T56" fmla="*/ 37 w 353"/>
                <a:gd name="T57" fmla="*/ 166 h 301"/>
                <a:gd name="T58" fmla="*/ 103 w 353"/>
                <a:gd name="T59" fmla="*/ 166 h 301"/>
                <a:gd name="T60" fmla="*/ 123 w 353"/>
                <a:gd name="T61" fmla="*/ 189 h 301"/>
                <a:gd name="T62" fmla="*/ 123 w 353"/>
                <a:gd name="T63" fmla="*/ 201 h 301"/>
                <a:gd name="T64" fmla="*/ 87 w 353"/>
                <a:gd name="T65" fmla="*/ 201 h 301"/>
                <a:gd name="T66" fmla="*/ 73 w 353"/>
                <a:gd name="T67" fmla="*/ 214 h 301"/>
                <a:gd name="T68" fmla="*/ 23 w 353"/>
                <a:gd name="T69" fmla="*/ 214 h 301"/>
                <a:gd name="T70" fmla="*/ 10 w 353"/>
                <a:gd name="T71" fmla="*/ 224 h 301"/>
                <a:gd name="T72" fmla="*/ 39 w 353"/>
                <a:gd name="T73" fmla="*/ 258 h 301"/>
                <a:gd name="T74" fmla="*/ 80 w 353"/>
                <a:gd name="T75" fmla="*/ 258 h 301"/>
                <a:gd name="T76" fmla="*/ 78 w 353"/>
                <a:gd name="T77" fmla="*/ 276 h 301"/>
                <a:gd name="T78" fmla="*/ 99 w 353"/>
                <a:gd name="T79" fmla="*/ 301 h 301"/>
                <a:gd name="T80" fmla="*/ 203 w 353"/>
                <a:gd name="T81" fmla="*/ 301 h 301"/>
                <a:gd name="T82" fmla="*/ 233 w 353"/>
                <a:gd name="T83" fmla="*/ 271 h 301"/>
                <a:gd name="T84" fmla="*/ 235 w 353"/>
                <a:gd name="T85" fmla="*/ 253 h 301"/>
                <a:gd name="T86" fmla="*/ 251 w 353"/>
                <a:gd name="T87" fmla="*/ 253 h 301"/>
                <a:gd name="T88" fmla="*/ 265 w 353"/>
                <a:gd name="T89" fmla="*/ 269 h 301"/>
                <a:gd name="T90" fmla="*/ 290 w 353"/>
                <a:gd name="T91" fmla="*/ 269 h 301"/>
                <a:gd name="T92" fmla="*/ 288 w 353"/>
                <a:gd name="T93" fmla="*/ 296 h 301"/>
                <a:gd name="T94" fmla="*/ 322 w 353"/>
                <a:gd name="T95" fmla="*/ 296 h 301"/>
                <a:gd name="T96" fmla="*/ 337 w 353"/>
                <a:gd name="T97" fmla="*/ 281 h 301"/>
                <a:gd name="T98" fmla="*/ 338 w 353"/>
                <a:gd name="T99" fmla="*/ 264 h 301"/>
                <a:gd name="T100" fmla="*/ 329 w 353"/>
                <a:gd name="T101" fmla="*/ 253 h 301"/>
                <a:gd name="T102" fmla="*/ 331 w 353"/>
                <a:gd name="T103" fmla="*/ 235 h 301"/>
                <a:gd name="T104" fmla="*/ 351 w 353"/>
                <a:gd name="T105" fmla="*/ 23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301">
                  <a:moveTo>
                    <a:pt x="351" y="235"/>
                  </a:moveTo>
                  <a:lnTo>
                    <a:pt x="353" y="217"/>
                  </a:lnTo>
                  <a:lnTo>
                    <a:pt x="322" y="185"/>
                  </a:lnTo>
                  <a:lnTo>
                    <a:pt x="288" y="151"/>
                  </a:lnTo>
                  <a:lnTo>
                    <a:pt x="292" y="101"/>
                  </a:lnTo>
                  <a:lnTo>
                    <a:pt x="272" y="80"/>
                  </a:lnTo>
                  <a:lnTo>
                    <a:pt x="276" y="39"/>
                  </a:lnTo>
                  <a:lnTo>
                    <a:pt x="242" y="5"/>
                  </a:lnTo>
                  <a:lnTo>
                    <a:pt x="233" y="14"/>
                  </a:lnTo>
                  <a:lnTo>
                    <a:pt x="224" y="112"/>
                  </a:lnTo>
                  <a:lnTo>
                    <a:pt x="203" y="112"/>
                  </a:lnTo>
                  <a:lnTo>
                    <a:pt x="206" y="55"/>
                  </a:lnTo>
                  <a:lnTo>
                    <a:pt x="178" y="25"/>
                  </a:lnTo>
                  <a:lnTo>
                    <a:pt x="174" y="57"/>
                  </a:lnTo>
                  <a:lnTo>
                    <a:pt x="149" y="57"/>
                  </a:lnTo>
                  <a:lnTo>
                    <a:pt x="131" y="37"/>
                  </a:lnTo>
                  <a:lnTo>
                    <a:pt x="112" y="53"/>
                  </a:lnTo>
                  <a:lnTo>
                    <a:pt x="85" y="53"/>
                  </a:lnTo>
                  <a:lnTo>
                    <a:pt x="92" y="0"/>
                  </a:lnTo>
                  <a:lnTo>
                    <a:pt x="21" y="60"/>
                  </a:lnTo>
                  <a:lnTo>
                    <a:pt x="21" y="76"/>
                  </a:lnTo>
                  <a:lnTo>
                    <a:pt x="3" y="92"/>
                  </a:lnTo>
                  <a:lnTo>
                    <a:pt x="0" y="119"/>
                  </a:lnTo>
                  <a:lnTo>
                    <a:pt x="39" y="121"/>
                  </a:lnTo>
                  <a:lnTo>
                    <a:pt x="44" y="128"/>
                  </a:lnTo>
                  <a:lnTo>
                    <a:pt x="17" y="151"/>
                  </a:lnTo>
                  <a:lnTo>
                    <a:pt x="14" y="182"/>
                  </a:lnTo>
                  <a:lnTo>
                    <a:pt x="33" y="182"/>
                  </a:lnTo>
                  <a:lnTo>
                    <a:pt x="37" y="166"/>
                  </a:lnTo>
                  <a:lnTo>
                    <a:pt x="103" y="166"/>
                  </a:lnTo>
                  <a:lnTo>
                    <a:pt x="123" y="189"/>
                  </a:lnTo>
                  <a:lnTo>
                    <a:pt x="123" y="201"/>
                  </a:lnTo>
                  <a:lnTo>
                    <a:pt x="87" y="201"/>
                  </a:lnTo>
                  <a:lnTo>
                    <a:pt x="73" y="214"/>
                  </a:lnTo>
                  <a:lnTo>
                    <a:pt x="23" y="214"/>
                  </a:lnTo>
                  <a:lnTo>
                    <a:pt x="10" y="224"/>
                  </a:lnTo>
                  <a:lnTo>
                    <a:pt x="39" y="258"/>
                  </a:lnTo>
                  <a:lnTo>
                    <a:pt x="80" y="258"/>
                  </a:lnTo>
                  <a:lnTo>
                    <a:pt x="78" y="276"/>
                  </a:lnTo>
                  <a:lnTo>
                    <a:pt x="99" y="301"/>
                  </a:lnTo>
                  <a:lnTo>
                    <a:pt x="203" y="301"/>
                  </a:lnTo>
                  <a:lnTo>
                    <a:pt x="233" y="271"/>
                  </a:lnTo>
                  <a:lnTo>
                    <a:pt x="235" y="253"/>
                  </a:lnTo>
                  <a:lnTo>
                    <a:pt x="251" y="253"/>
                  </a:lnTo>
                  <a:lnTo>
                    <a:pt x="265" y="269"/>
                  </a:lnTo>
                  <a:lnTo>
                    <a:pt x="290" y="269"/>
                  </a:lnTo>
                  <a:lnTo>
                    <a:pt x="288" y="296"/>
                  </a:lnTo>
                  <a:lnTo>
                    <a:pt x="322" y="296"/>
                  </a:lnTo>
                  <a:lnTo>
                    <a:pt x="337" y="281"/>
                  </a:lnTo>
                  <a:lnTo>
                    <a:pt x="338" y="264"/>
                  </a:lnTo>
                  <a:lnTo>
                    <a:pt x="329" y="253"/>
                  </a:lnTo>
                  <a:lnTo>
                    <a:pt x="331" y="235"/>
                  </a:lnTo>
                  <a:lnTo>
                    <a:pt x="351" y="23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337">
              <a:extLst>
                <a:ext uri="{FF2B5EF4-FFF2-40B4-BE49-F238E27FC236}">
                  <a16:creationId xmlns:a16="http://schemas.microsoft.com/office/drawing/2014/main" id="{9C93C8D8-C2E0-4858-88E0-610D899E902A}"/>
                </a:ext>
              </a:extLst>
            </p:cNvPr>
            <p:cNvSpPr>
              <a:spLocks/>
            </p:cNvSpPr>
            <p:nvPr/>
          </p:nvSpPr>
          <p:spPr bwMode="auto">
            <a:xfrm>
              <a:off x="2170113" y="1395413"/>
              <a:ext cx="55563" cy="47625"/>
            </a:xfrm>
            <a:custGeom>
              <a:avLst/>
              <a:gdLst>
                <a:gd name="T0" fmla="*/ 35 w 71"/>
                <a:gd name="T1" fmla="*/ 61 h 61"/>
                <a:gd name="T2" fmla="*/ 66 w 71"/>
                <a:gd name="T3" fmla="*/ 36 h 61"/>
                <a:gd name="T4" fmla="*/ 35 w 71"/>
                <a:gd name="T5" fmla="*/ 36 h 61"/>
                <a:gd name="T6" fmla="*/ 37 w 71"/>
                <a:gd name="T7" fmla="*/ 21 h 61"/>
                <a:gd name="T8" fmla="*/ 69 w 71"/>
                <a:gd name="T9" fmla="*/ 21 h 61"/>
                <a:gd name="T10" fmla="*/ 71 w 71"/>
                <a:gd name="T11" fmla="*/ 0 h 61"/>
                <a:gd name="T12" fmla="*/ 55 w 71"/>
                <a:gd name="T13" fmla="*/ 0 h 61"/>
                <a:gd name="T14" fmla="*/ 1 w 71"/>
                <a:gd name="T15" fmla="*/ 16 h 61"/>
                <a:gd name="T16" fmla="*/ 0 w 71"/>
                <a:gd name="T17" fmla="*/ 43 h 61"/>
                <a:gd name="T18" fmla="*/ 17 w 71"/>
                <a:gd name="T19" fmla="*/ 61 h 61"/>
                <a:gd name="T20" fmla="*/ 35 w 7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61">
                  <a:moveTo>
                    <a:pt x="35" y="61"/>
                  </a:moveTo>
                  <a:lnTo>
                    <a:pt x="66" y="36"/>
                  </a:lnTo>
                  <a:lnTo>
                    <a:pt x="35" y="36"/>
                  </a:lnTo>
                  <a:lnTo>
                    <a:pt x="37" y="21"/>
                  </a:lnTo>
                  <a:lnTo>
                    <a:pt x="69" y="21"/>
                  </a:lnTo>
                  <a:lnTo>
                    <a:pt x="71" y="0"/>
                  </a:lnTo>
                  <a:lnTo>
                    <a:pt x="55" y="0"/>
                  </a:lnTo>
                  <a:lnTo>
                    <a:pt x="1" y="16"/>
                  </a:lnTo>
                  <a:lnTo>
                    <a:pt x="0" y="43"/>
                  </a:lnTo>
                  <a:lnTo>
                    <a:pt x="17" y="61"/>
                  </a:lnTo>
                  <a:lnTo>
                    <a:pt x="35" y="6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338">
              <a:extLst>
                <a:ext uri="{FF2B5EF4-FFF2-40B4-BE49-F238E27FC236}">
                  <a16:creationId xmlns:a16="http://schemas.microsoft.com/office/drawing/2014/main" id="{93FDBF0C-FE5A-48D3-9452-A6AB85B70232}"/>
                </a:ext>
              </a:extLst>
            </p:cNvPr>
            <p:cNvSpPr>
              <a:spLocks/>
            </p:cNvSpPr>
            <p:nvPr/>
          </p:nvSpPr>
          <p:spPr bwMode="auto">
            <a:xfrm>
              <a:off x="2033588" y="1404938"/>
              <a:ext cx="120650" cy="100013"/>
            </a:xfrm>
            <a:custGeom>
              <a:avLst/>
              <a:gdLst>
                <a:gd name="T0" fmla="*/ 34 w 152"/>
                <a:gd name="T1" fmla="*/ 107 h 124"/>
                <a:gd name="T2" fmla="*/ 52 w 152"/>
                <a:gd name="T3" fmla="*/ 124 h 124"/>
                <a:gd name="T4" fmla="*/ 84 w 152"/>
                <a:gd name="T5" fmla="*/ 99 h 124"/>
                <a:gd name="T6" fmla="*/ 90 w 152"/>
                <a:gd name="T7" fmla="*/ 58 h 124"/>
                <a:gd name="T8" fmla="*/ 99 w 152"/>
                <a:gd name="T9" fmla="*/ 58 h 124"/>
                <a:gd name="T10" fmla="*/ 95 w 152"/>
                <a:gd name="T11" fmla="*/ 96 h 124"/>
                <a:gd name="T12" fmla="*/ 118 w 152"/>
                <a:gd name="T13" fmla="*/ 96 h 124"/>
                <a:gd name="T14" fmla="*/ 120 w 152"/>
                <a:gd name="T15" fmla="*/ 82 h 124"/>
                <a:gd name="T16" fmla="*/ 131 w 152"/>
                <a:gd name="T17" fmla="*/ 73 h 124"/>
                <a:gd name="T18" fmla="*/ 136 w 152"/>
                <a:gd name="T19" fmla="*/ 30 h 124"/>
                <a:gd name="T20" fmla="*/ 152 w 152"/>
                <a:gd name="T21" fmla="*/ 16 h 124"/>
                <a:gd name="T22" fmla="*/ 134 w 152"/>
                <a:gd name="T23" fmla="*/ 0 h 124"/>
                <a:gd name="T24" fmla="*/ 129 w 152"/>
                <a:gd name="T25" fmla="*/ 3 h 124"/>
                <a:gd name="T26" fmla="*/ 127 w 152"/>
                <a:gd name="T27" fmla="*/ 16 h 124"/>
                <a:gd name="T28" fmla="*/ 97 w 152"/>
                <a:gd name="T29" fmla="*/ 16 h 124"/>
                <a:gd name="T30" fmla="*/ 59 w 152"/>
                <a:gd name="T31" fmla="*/ 44 h 124"/>
                <a:gd name="T32" fmla="*/ 36 w 152"/>
                <a:gd name="T33" fmla="*/ 62 h 124"/>
                <a:gd name="T34" fmla="*/ 34 w 152"/>
                <a:gd name="T35" fmla="*/ 76 h 124"/>
                <a:gd name="T36" fmla="*/ 18 w 152"/>
                <a:gd name="T37" fmla="*/ 90 h 124"/>
                <a:gd name="T38" fmla="*/ 0 w 152"/>
                <a:gd name="T39" fmla="*/ 105 h 124"/>
                <a:gd name="T40" fmla="*/ 20 w 152"/>
                <a:gd name="T41" fmla="*/ 119 h 124"/>
                <a:gd name="T42" fmla="*/ 34 w 152"/>
                <a:gd name="T43" fmla="*/ 10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2" h="124">
                  <a:moveTo>
                    <a:pt x="34" y="107"/>
                  </a:moveTo>
                  <a:lnTo>
                    <a:pt x="52" y="124"/>
                  </a:lnTo>
                  <a:lnTo>
                    <a:pt x="84" y="99"/>
                  </a:lnTo>
                  <a:lnTo>
                    <a:pt x="90" y="58"/>
                  </a:lnTo>
                  <a:lnTo>
                    <a:pt x="99" y="58"/>
                  </a:lnTo>
                  <a:lnTo>
                    <a:pt x="95" y="96"/>
                  </a:lnTo>
                  <a:lnTo>
                    <a:pt x="118" y="96"/>
                  </a:lnTo>
                  <a:lnTo>
                    <a:pt x="120" y="82"/>
                  </a:lnTo>
                  <a:lnTo>
                    <a:pt x="131" y="73"/>
                  </a:lnTo>
                  <a:lnTo>
                    <a:pt x="136" y="30"/>
                  </a:lnTo>
                  <a:lnTo>
                    <a:pt x="152" y="16"/>
                  </a:lnTo>
                  <a:lnTo>
                    <a:pt x="134" y="0"/>
                  </a:lnTo>
                  <a:lnTo>
                    <a:pt x="129" y="3"/>
                  </a:lnTo>
                  <a:lnTo>
                    <a:pt x="127" y="16"/>
                  </a:lnTo>
                  <a:lnTo>
                    <a:pt x="97" y="16"/>
                  </a:lnTo>
                  <a:lnTo>
                    <a:pt x="59" y="44"/>
                  </a:lnTo>
                  <a:lnTo>
                    <a:pt x="36" y="62"/>
                  </a:lnTo>
                  <a:lnTo>
                    <a:pt x="34" y="76"/>
                  </a:lnTo>
                  <a:lnTo>
                    <a:pt x="18" y="90"/>
                  </a:lnTo>
                  <a:lnTo>
                    <a:pt x="0" y="105"/>
                  </a:lnTo>
                  <a:lnTo>
                    <a:pt x="20" y="119"/>
                  </a:lnTo>
                  <a:lnTo>
                    <a:pt x="34" y="10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Freeform 339">
              <a:extLst>
                <a:ext uri="{FF2B5EF4-FFF2-40B4-BE49-F238E27FC236}">
                  <a16:creationId xmlns:a16="http://schemas.microsoft.com/office/drawing/2014/main" id="{5B7DB2DC-1998-45F2-A553-D608901C712C}"/>
                </a:ext>
              </a:extLst>
            </p:cNvPr>
            <p:cNvSpPr>
              <a:spLocks/>
            </p:cNvSpPr>
            <p:nvPr/>
          </p:nvSpPr>
          <p:spPr bwMode="auto">
            <a:xfrm>
              <a:off x="1935163" y="1516063"/>
              <a:ext cx="174625" cy="185738"/>
            </a:xfrm>
            <a:custGeom>
              <a:avLst/>
              <a:gdLst>
                <a:gd name="T0" fmla="*/ 87 w 221"/>
                <a:gd name="T1" fmla="*/ 208 h 235"/>
                <a:gd name="T2" fmla="*/ 92 w 221"/>
                <a:gd name="T3" fmla="*/ 178 h 235"/>
                <a:gd name="T4" fmla="*/ 148 w 221"/>
                <a:gd name="T5" fmla="*/ 131 h 235"/>
                <a:gd name="T6" fmla="*/ 221 w 221"/>
                <a:gd name="T7" fmla="*/ 71 h 235"/>
                <a:gd name="T8" fmla="*/ 182 w 221"/>
                <a:gd name="T9" fmla="*/ 32 h 235"/>
                <a:gd name="T10" fmla="*/ 137 w 221"/>
                <a:gd name="T11" fmla="*/ 32 h 235"/>
                <a:gd name="T12" fmla="*/ 108 w 221"/>
                <a:gd name="T13" fmla="*/ 0 h 235"/>
                <a:gd name="T14" fmla="*/ 92 w 221"/>
                <a:gd name="T15" fmla="*/ 12 h 235"/>
                <a:gd name="T16" fmla="*/ 51 w 221"/>
                <a:gd name="T17" fmla="*/ 12 h 235"/>
                <a:gd name="T18" fmla="*/ 51 w 221"/>
                <a:gd name="T19" fmla="*/ 44 h 235"/>
                <a:gd name="T20" fmla="*/ 46 w 221"/>
                <a:gd name="T21" fmla="*/ 78 h 235"/>
                <a:gd name="T22" fmla="*/ 35 w 221"/>
                <a:gd name="T23" fmla="*/ 85 h 235"/>
                <a:gd name="T24" fmla="*/ 32 w 221"/>
                <a:gd name="T25" fmla="*/ 107 h 235"/>
                <a:gd name="T26" fmla="*/ 7 w 221"/>
                <a:gd name="T27" fmla="*/ 126 h 235"/>
                <a:gd name="T28" fmla="*/ 0 w 221"/>
                <a:gd name="T29" fmla="*/ 169 h 235"/>
                <a:gd name="T30" fmla="*/ 57 w 221"/>
                <a:gd name="T31" fmla="*/ 235 h 235"/>
                <a:gd name="T32" fmla="*/ 87 w 221"/>
                <a:gd name="T33" fmla="*/ 20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235">
                  <a:moveTo>
                    <a:pt x="87" y="208"/>
                  </a:moveTo>
                  <a:lnTo>
                    <a:pt x="92" y="178"/>
                  </a:lnTo>
                  <a:lnTo>
                    <a:pt x="148" y="131"/>
                  </a:lnTo>
                  <a:lnTo>
                    <a:pt x="221" y="71"/>
                  </a:lnTo>
                  <a:lnTo>
                    <a:pt x="182" y="32"/>
                  </a:lnTo>
                  <a:lnTo>
                    <a:pt x="137" y="32"/>
                  </a:lnTo>
                  <a:lnTo>
                    <a:pt x="108" y="0"/>
                  </a:lnTo>
                  <a:lnTo>
                    <a:pt x="92" y="12"/>
                  </a:lnTo>
                  <a:lnTo>
                    <a:pt x="51" y="12"/>
                  </a:lnTo>
                  <a:lnTo>
                    <a:pt x="51" y="44"/>
                  </a:lnTo>
                  <a:lnTo>
                    <a:pt x="46" y="78"/>
                  </a:lnTo>
                  <a:lnTo>
                    <a:pt x="35" y="85"/>
                  </a:lnTo>
                  <a:lnTo>
                    <a:pt x="32" y="107"/>
                  </a:lnTo>
                  <a:lnTo>
                    <a:pt x="7" y="126"/>
                  </a:lnTo>
                  <a:lnTo>
                    <a:pt x="0" y="169"/>
                  </a:lnTo>
                  <a:lnTo>
                    <a:pt x="57" y="235"/>
                  </a:lnTo>
                  <a:lnTo>
                    <a:pt x="87" y="20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340">
              <a:extLst>
                <a:ext uri="{FF2B5EF4-FFF2-40B4-BE49-F238E27FC236}">
                  <a16:creationId xmlns:a16="http://schemas.microsoft.com/office/drawing/2014/main" id="{8F40ECDB-8F34-4976-AA70-B1D50ED14E76}"/>
                </a:ext>
              </a:extLst>
            </p:cNvPr>
            <p:cNvSpPr>
              <a:spLocks/>
            </p:cNvSpPr>
            <p:nvPr/>
          </p:nvSpPr>
          <p:spPr bwMode="auto">
            <a:xfrm>
              <a:off x="3154363" y="2540000"/>
              <a:ext cx="136525" cy="149225"/>
            </a:xfrm>
            <a:custGeom>
              <a:avLst/>
              <a:gdLst>
                <a:gd name="T0" fmla="*/ 96 w 171"/>
                <a:gd name="T1" fmla="*/ 13 h 187"/>
                <a:gd name="T2" fmla="*/ 96 w 171"/>
                <a:gd name="T3" fmla="*/ 0 h 187"/>
                <a:gd name="T4" fmla="*/ 75 w 171"/>
                <a:gd name="T5" fmla="*/ 0 h 187"/>
                <a:gd name="T6" fmla="*/ 69 w 171"/>
                <a:gd name="T7" fmla="*/ 5 h 187"/>
                <a:gd name="T8" fmla="*/ 46 w 171"/>
                <a:gd name="T9" fmla="*/ 45 h 187"/>
                <a:gd name="T10" fmla="*/ 53 w 171"/>
                <a:gd name="T11" fmla="*/ 52 h 187"/>
                <a:gd name="T12" fmla="*/ 39 w 171"/>
                <a:gd name="T13" fmla="*/ 66 h 187"/>
                <a:gd name="T14" fmla="*/ 39 w 171"/>
                <a:gd name="T15" fmla="*/ 79 h 187"/>
                <a:gd name="T16" fmla="*/ 34 w 171"/>
                <a:gd name="T17" fmla="*/ 84 h 187"/>
                <a:gd name="T18" fmla="*/ 34 w 171"/>
                <a:gd name="T19" fmla="*/ 93 h 187"/>
                <a:gd name="T20" fmla="*/ 12 w 171"/>
                <a:gd name="T21" fmla="*/ 114 h 187"/>
                <a:gd name="T22" fmla="*/ 19 w 171"/>
                <a:gd name="T23" fmla="*/ 121 h 187"/>
                <a:gd name="T24" fmla="*/ 0 w 171"/>
                <a:gd name="T25" fmla="*/ 141 h 187"/>
                <a:gd name="T26" fmla="*/ 0 w 171"/>
                <a:gd name="T27" fmla="*/ 157 h 187"/>
                <a:gd name="T28" fmla="*/ 10 w 171"/>
                <a:gd name="T29" fmla="*/ 157 h 187"/>
                <a:gd name="T30" fmla="*/ 19 w 171"/>
                <a:gd name="T31" fmla="*/ 150 h 187"/>
                <a:gd name="T32" fmla="*/ 32 w 171"/>
                <a:gd name="T33" fmla="*/ 150 h 187"/>
                <a:gd name="T34" fmla="*/ 37 w 171"/>
                <a:gd name="T35" fmla="*/ 155 h 187"/>
                <a:gd name="T36" fmla="*/ 78 w 171"/>
                <a:gd name="T37" fmla="*/ 155 h 187"/>
                <a:gd name="T38" fmla="*/ 87 w 171"/>
                <a:gd name="T39" fmla="*/ 146 h 187"/>
                <a:gd name="T40" fmla="*/ 98 w 171"/>
                <a:gd name="T41" fmla="*/ 159 h 187"/>
                <a:gd name="T42" fmla="*/ 107 w 171"/>
                <a:gd name="T43" fmla="*/ 150 h 187"/>
                <a:gd name="T44" fmla="*/ 112 w 171"/>
                <a:gd name="T45" fmla="*/ 153 h 187"/>
                <a:gd name="T46" fmla="*/ 89 w 171"/>
                <a:gd name="T47" fmla="*/ 177 h 187"/>
                <a:gd name="T48" fmla="*/ 96 w 171"/>
                <a:gd name="T49" fmla="*/ 184 h 187"/>
                <a:gd name="T50" fmla="*/ 121 w 171"/>
                <a:gd name="T51" fmla="*/ 159 h 187"/>
                <a:gd name="T52" fmla="*/ 130 w 171"/>
                <a:gd name="T53" fmla="*/ 150 h 187"/>
                <a:gd name="T54" fmla="*/ 130 w 171"/>
                <a:gd name="T55" fmla="*/ 141 h 187"/>
                <a:gd name="T56" fmla="*/ 139 w 171"/>
                <a:gd name="T57" fmla="*/ 141 h 187"/>
                <a:gd name="T58" fmla="*/ 139 w 171"/>
                <a:gd name="T59" fmla="*/ 180 h 187"/>
                <a:gd name="T60" fmla="*/ 151 w 171"/>
                <a:gd name="T61" fmla="*/ 168 h 187"/>
                <a:gd name="T62" fmla="*/ 171 w 171"/>
                <a:gd name="T63" fmla="*/ 187 h 187"/>
                <a:gd name="T64" fmla="*/ 171 w 171"/>
                <a:gd name="T65" fmla="*/ 157 h 187"/>
                <a:gd name="T66" fmla="*/ 164 w 171"/>
                <a:gd name="T67" fmla="*/ 150 h 187"/>
                <a:gd name="T68" fmla="*/ 164 w 171"/>
                <a:gd name="T69" fmla="*/ 139 h 187"/>
                <a:gd name="T70" fmla="*/ 157 w 171"/>
                <a:gd name="T71" fmla="*/ 132 h 187"/>
                <a:gd name="T72" fmla="*/ 157 w 171"/>
                <a:gd name="T73" fmla="*/ 118 h 187"/>
                <a:gd name="T74" fmla="*/ 139 w 171"/>
                <a:gd name="T75" fmla="*/ 118 h 187"/>
                <a:gd name="T76" fmla="*/ 139 w 171"/>
                <a:gd name="T77" fmla="*/ 102 h 187"/>
                <a:gd name="T78" fmla="*/ 153 w 171"/>
                <a:gd name="T79" fmla="*/ 87 h 187"/>
                <a:gd name="T80" fmla="*/ 142 w 171"/>
                <a:gd name="T81" fmla="*/ 79 h 187"/>
                <a:gd name="T82" fmla="*/ 125 w 171"/>
                <a:gd name="T83" fmla="*/ 79 h 187"/>
                <a:gd name="T84" fmla="*/ 125 w 171"/>
                <a:gd name="T85" fmla="*/ 86 h 187"/>
                <a:gd name="T86" fmla="*/ 100 w 171"/>
                <a:gd name="T87" fmla="*/ 86 h 187"/>
                <a:gd name="T88" fmla="*/ 85 w 171"/>
                <a:gd name="T89" fmla="*/ 73 h 187"/>
                <a:gd name="T90" fmla="*/ 94 w 171"/>
                <a:gd name="T91" fmla="*/ 66 h 187"/>
                <a:gd name="T92" fmla="*/ 84 w 171"/>
                <a:gd name="T93" fmla="*/ 55 h 187"/>
                <a:gd name="T94" fmla="*/ 68 w 171"/>
                <a:gd name="T95" fmla="*/ 70 h 187"/>
                <a:gd name="T96" fmla="*/ 68 w 171"/>
                <a:gd name="T97" fmla="*/ 41 h 187"/>
                <a:gd name="T98" fmla="*/ 96 w 171"/>
                <a:gd name="T99" fmla="*/ 1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87">
                  <a:moveTo>
                    <a:pt x="96" y="13"/>
                  </a:moveTo>
                  <a:lnTo>
                    <a:pt x="96" y="0"/>
                  </a:lnTo>
                  <a:lnTo>
                    <a:pt x="75" y="0"/>
                  </a:lnTo>
                  <a:lnTo>
                    <a:pt x="69" y="5"/>
                  </a:lnTo>
                  <a:lnTo>
                    <a:pt x="46" y="45"/>
                  </a:lnTo>
                  <a:lnTo>
                    <a:pt x="53" y="52"/>
                  </a:lnTo>
                  <a:lnTo>
                    <a:pt x="39" y="66"/>
                  </a:lnTo>
                  <a:lnTo>
                    <a:pt x="39" y="79"/>
                  </a:lnTo>
                  <a:lnTo>
                    <a:pt x="34" y="84"/>
                  </a:lnTo>
                  <a:lnTo>
                    <a:pt x="34" y="93"/>
                  </a:lnTo>
                  <a:lnTo>
                    <a:pt x="12" y="114"/>
                  </a:lnTo>
                  <a:lnTo>
                    <a:pt x="19" y="121"/>
                  </a:lnTo>
                  <a:lnTo>
                    <a:pt x="0" y="141"/>
                  </a:lnTo>
                  <a:lnTo>
                    <a:pt x="0" y="157"/>
                  </a:lnTo>
                  <a:lnTo>
                    <a:pt x="10" y="157"/>
                  </a:lnTo>
                  <a:lnTo>
                    <a:pt x="19" y="150"/>
                  </a:lnTo>
                  <a:lnTo>
                    <a:pt x="32" y="150"/>
                  </a:lnTo>
                  <a:lnTo>
                    <a:pt x="37" y="155"/>
                  </a:lnTo>
                  <a:lnTo>
                    <a:pt x="78" y="155"/>
                  </a:lnTo>
                  <a:lnTo>
                    <a:pt x="87" y="146"/>
                  </a:lnTo>
                  <a:lnTo>
                    <a:pt x="98" y="159"/>
                  </a:lnTo>
                  <a:lnTo>
                    <a:pt x="107" y="150"/>
                  </a:lnTo>
                  <a:lnTo>
                    <a:pt x="112" y="153"/>
                  </a:lnTo>
                  <a:lnTo>
                    <a:pt x="89" y="177"/>
                  </a:lnTo>
                  <a:lnTo>
                    <a:pt x="96" y="184"/>
                  </a:lnTo>
                  <a:lnTo>
                    <a:pt x="121" y="159"/>
                  </a:lnTo>
                  <a:lnTo>
                    <a:pt x="130" y="150"/>
                  </a:lnTo>
                  <a:lnTo>
                    <a:pt x="130" y="141"/>
                  </a:lnTo>
                  <a:lnTo>
                    <a:pt x="139" y="141"/>
                  </a:lnTo>
                  <a:lnTo>
                    <a:pt x="139" y="180"/>
                  </a:lnTo>
                  <a:lnTo>
                    <a:pt x="151" y="168"/>
                  </a:lnTo>
                  <a:lnTo>
                    <a:pt x="171" y="187"/>
                  </a:lnTo>
                  <a:lnTo>
                    <a:pt x="171" y="157"/>
                  </a:lnTo>
                  <a:lnTo>
                    <a:pt x="164" y="150"/>
                  </a:lnTo>
                  <a:lnTo>
                    <a:pt x="164" y="139"/>
                  </a:lnTo>
                  <a:lnTo>
                    <a:pt x="157" y="132"/>
                  </a:lnTo>
                  <a:lnTo>
                    <a:pt x="157" y="118"/>
                  </a:lnTo>
                  <a:lnTo>
                    <a:pt x="139" y="118"/>
                  </a:lnTo>
                  <a:lnTo>
                    <a:pt x="139" y="102"/>
                  </a:lnTo>
                  <a:lnTo>
                    <a:pt x="153" y="87"/>
                  </a:lnTo>
                  <a:lnTo>
                    <a:pt x="142" y="79"/>
                  </a:lnTo>
                  <a:lnTo>
                    <a:pt x="125" y="79"/>
                  </a:lnTo>
                  <a:lnTo>
                    <a:pt x="125" y="86"/>
                  </a:lnTo>
                  <a:lnTo>
                    <a:pt x="100" y="86"/>
                  </a:lnTo>
                  <a:lnTo>
                    <a:pt x="85" y="73"/>
                  </a:lnTo>
                  <a:lnTo>
                    <a:pt x="94" y="66"/>
                  </a:lnTo>
                  <a:lnTo>
                    <a:pt x="84" y="55"/>
                  </a:lnTo>
                  <a:lnTo>
                    <a:pt x="68" y="70"/>
                  </a:lnTo>
                  <a:lnTo>
                    <a:pt x="68" y="41"/>
                  </a:lnTo>
                  <a:lnTo>
                    <a:pt x="96" y="1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341">
              <a:extLst>
                <a:ext uri="{FF2B5EF4-FFF2-40B4-BE49-F238E27FC236}">
                  <a16:creationId xmlns:a16="http://schemas.microsoft.com/office/drawing/2014/main" id="{AC6B3672-433C-471A-B870-49BD8B451D54}"/>
                </a:ext>
              </a:extLst>
            </p:cNvPr>
            <p:cNvSpPr>
              <a:spLocks/>
            </p:cNvSpPr>
            <p:nvPr/>
          </p:nvSpPr>
          <p:spPr bwMode="auto">
            <a:xfrm>
              <a:off x="1574801" y="1666875"/>
              <a:ext cx="1631950" cy="1154113"/>
            </a:xfrm>
            <a:custGeom>
              <a:avLst/>
              <a:gdLst>
                <a:gd name="T0" fmla="*/ 1997 w 2056"/>
                <a:gd name="T1" fmla="*/ 931 h 1455"/>
                <a:gd name="T2" fmla="*/ 1895 w 2056"/>
                <a:gd name="T3" fmla="*/ 827 h 1455"/>
                <a:gd name="T4" fmla="*/ 1829 w 2056"/>
                <a:gd name="T5" fmla="*/ 719 h 1455"/>
                <a:gd name="T6" fmla="*/ 1787 w 2056"/>
                <a:gd name="T7" fmla="*/ 747 h 1455"/>
                <a:gd name="T8" fmla="*/ 1694 w 2056"/>
                <a:gd name="T9" fmla="*/ 720 h 1455"/>
                <a:gd name="T10" fmla="*/ 1576 w 2056"/>
                <a:gd name="T11" fmla="*/ 569 h 1455"/>
                <a:gd name="T12" fmla="*/ 1496 w 2056"/>
                <a:gd name="T13" fmla="*/ 699 h 1455"/>
                <a:gd name="T14" fmla="*/ 1467 w 2056"/>
                <a:gd name="T15" fmla="*/ 763 h 1455"/>
                <a:gd name="T16" fmla="*/ 1532 w 2056"/>
                <a:gd name="T17" fmla="*/ 870 h 1455"/>
                <a:gd name="T18" fmla="*/ 1437 w 2056"/>
                <a:gd name="T19" fmla="*/ 1084 h 1455"/>
                <a:gd name="T20" fmla="*/ 1221 w 2056"/>
                <a:gd name="T21" fmla="*/ 827 h 1455"/>
                <a:gd name="T22" fmla="*/ 1130 w 2056"/>
                <a:gd name="T23" fmla="*/ 747 h 1455"/>
                <a:gd name="T24" fmla="*/ 1173 w 2056"/>
                <a:gd name="T25" fmla="*/ 501 h 1455"/>
                <a:gd name="T26" fmla="*/ 1262 w 2056"/>
                <a:gd name="T27" fmla="*/ 416 h 1455"/>
                <a:gd name="T28" fmla="*/ 1243 w 2056"/>
                <a:gd name="T29" fmla="*/ 405 h 1455"/>
                <a:gd name="T30" fmla="*/ 1305 w 2056"/>
                <a:gd name="T31" fmla="*/ 343 h 1455"/>
                <a:gd name="T32" fmla="*/ 1367 w 2056"/>
                <a:gd name="T33" fmla="*/ 223 h 1455"/>
                <a:gd name="T34" fmla="*/ 1316 w 2056"/>
                <a:gd name="T35" fmla="*/ 152 h 1455"/>
                <a:gd name="T36" fmla="*/ 1244 w 2056"/>
                <a:gd name="T37" fmla="*/ 225 h 1455"/>
                <a:gd name="T38" fmla="*/ 1187 w 2056"/>
                <a:gd name="T39" fmla="*/ 154 h 1455"/>
                <a:gd name="T40" fmla="*/ 1127 w 2056"/>
                <a:gd name="T41" fmla="*/ 75 h 1455"/>
                <a:gd name="T42" fmla="*/ 1079 w 2056"/>
                <a:gd name="T43" fmla="*/ 0 h 1455"/>
                <a:gd name="T44" fmla="*/ 1093 w 2056"/>
                <a:gd name="T45" fmla="*/ 164 h 1455"/>
                <a:gd name="T46" fmla="*/ 1084 w 2056"/>
                <a:gd name="T47" fmla="*/ 250 h 1455"/>
                <a:gd name="T48" fmla="*/ 1048 w 2056"/>
                <a:gd name="T49" fmla="*/ 237 h 1455"/>
                <a:gd name="T50" fmla="*/ 904 w 2056"/>
                <a:gd name="T51" fmla="*/ 259 h 1455"/>
                <a:gd name="T52" fmla="*/ 834 w 2056"/>
                <a:gd name="T53" fmla="*/ 189 h 1455"/>
                <a:gd name="T54" fmla="*/ 813 w 2056"/>
                <a:gd name="T55" fmla="*/ 296 h 1455"/>
                <a:gd name="T56" fmla="*/ 613 w 2056"/>
                <a:gd name="T57" fmla="*/ 252 h 1455"/>
                <a:gd name="T58" fmla="*/ 561 w 2056"/>
                <a:gd name="T59" fmla="*/ 202 h 1455"/>
                <a:gd name="T60" fmla="*/ 438 w 2056"/>
                <a:gd name="T61" fmla="*/ 173 h 1455"/>
                <a:gd name="T62" fmla="*/ 396 w 2056"/>
                <a:gd name="T63" fmla="*/ 161 h 1455"/>
                <a:gd name="T64" fmla="*/ 322 w 2056"/>
                <a:gd name="T65" fmla="*/ 100 h 1455"/>
                <a:gd name="T66" fmla="*/ 189 w 2056"/>
                <a:gd name="T67" fmla="*/ 204 h 1455"/>
                <a:gd name="T68" fmla="*/ 0 w 2056"/>
                <a:gd name="T69" fmla="*/ 104 h 1455"/>
                <a:gd name="T70" fmla="*/ 51 w 2056"/>
                <a:gd name="T71" fmla="*/ 769 h 1455"/>
                <a:gd name="T72" fmla="*/ 207 w 2056"/>
                <a:gd name="T73" fmla="*/ 968 h 1455"/>
                <a:gd name="T74" fmla="*/ 265 w 2056"/>
                <a:gd name="T75" fmla="*/ 1118 h 1455"/>
                <a:gd name="T76" fmla="*/ 1104 w 2056"/>
                <a:gd name="T77" fmla="*/ 1225 h 1455"/>
                <a:gd name="T78" fmla="*/ 1344 w 2056"/>
                <a:gd name="T79" fmla="*/ 1257 h 1455"/>
                <a:gd name="T80" fmla="*/ 1441 w 2056"/>
                <a:gd name="T81" fmla="*/ 1357 h 1455"/>
                <a:gd name="T82" fmla="*/ 1458 w 2056"/>
                <a:gd name="T83" fmla="*/ 1421 h 1455"/>
                <a:gd name="T84" fmla="*/ 1699 w 2056"/>
                <a:gd name="T85" fmla="*/ 1318 h 1455"/>
                <a:gd name="T86" fmla="*/ 1785 w 2056"/>
                <a:gd name="T87" fmla="*/ 1364 h 1455"/>
                <a:gd name="T88" fmla="*/ 1835 w 2056"/>
                <a:gd name="T89" fmla="*/ 1302 h 1455"/>
                <a:gd name="T90" fmla="*/ 1842 w 2056"/>
                <a:gd name="T91" fmla="*/ 1332 h 1455"/>
                <a:gd name="T92" fmla="*/ 1888 w 2056"/>
                <a:gd name="T93" fmla="*/ 1362 h 1455"/>
                <a:gd name="T94" fmla="*/ 1819 w 2056"/>
                <a:gd name="T95" fmla="*/ 1264 h 1455"/>
                <a:gd name="T96" fmla="*/ 1828 w 2056"/>
                <a:gd name="T97" fmla="*/ 1173 h 1455"/>
                <a:gd name="T98" fmla="*/ 1808 w 2056"/>
                <a:gd name="T99" fmla="*/ 1120 h 1455"/>
                <a:gd name="T100" fmla="*/ 2029 w 2056"/>
                <a:gd name="T101" fmla="*/ 1050 h 1455"/>
                <a:gd name="T102" fmla="*/ 2011 w 2056"/>
                <a:gd name="T103" fmla="*/ 94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6" h="1455">
                  <a:moveTo>
                    <a:pt x="2011" y="945"/>
                  </a:moveTo>
                  <a:lnTo>
                    <a:pt x="1952" y="1004"/>
                  </a:lnTo>
                  <a:lnTo>
                    <a:pt x="1938" y="990"/>
                  </a:lnTo>
                  <a:lnTo>
                    <a:pt x="1997" y="931"/>
                  </a:lnTo>
                  <a:lnTo>
                    <a:pt x="1979" y="913"/>
                  </a:lnTo>
                  <a:lnTo>
                    <a:pt x="1938" y="913"/>
                  </a:lnTo>
                  <a:lnTo>
                    <a:pt x="1895" y="870"/>
                  </a:lnTo>
                  <a:lnTo>
                    <a:pt x="1895" y="827"/>
                  </a:lnTo>
                  <a:lnTo>
                    <a:pt x="1852" y="786"/>
                  </a:lnTo>
                  <a:lnTo>
                    <a:pt x="1865" y="774"/>
                  </a:lnTo>
                  <a:lnTo>
                    <a:pt x="1865" y="756"/>
                  </a:lnTo>
                  <a:lnTo>
                    <a:pt x="1829" y="719"/>
                  </a:lnTo>
                  <a:lnTo>
                    <a:pt x="1838" y="710"/>
                  </a:lnTo>
                  <a:lnTo>
                    <a:pt x="1803" y="674"/>
                  </a:lnTo>
                  <a:lnTo>
                    <a:pt x="1787" y="690"/>
                  </a:lnTo>
                  <a:lnTo>
                    <a:pt x="1787" y="747"/>
                  </a:lnTo>
                  <a:lnTo>
                    <a:pt x="1769" y="747"/>
                  </a:lnTo>
                  <a:lnTo>
                    <a:pt x="1769" y="763"/>
                  </a:lnTo>
                  <a:lnTo>
                    <a:pt x="1735" y="763"/>
                  </a:lnTo>
                  <a:lnTo>
                    <a:pt x="1694" y="720"/>
                  </a:lnTo>
                  <a:lnTo>
                    <a:pt x="1694" y="635"/>
                  </a:lnTo>
                  <a:lnTo>
                    <a:pt x="1665" y="635"/>
                  </a:lnTo>
                  <a:lnTo>
                    <a:pt x="1587" y="556"/>
                  </a:lnTo>
                  <a:lnTo>
                    <a:pt x="1576" y="569"/>
                  </a:lnTo>
                  <a:lnTo>
                    <a:pt x="1492" y="569"/>
                  </a:lnTo>
                  <a:lnTo>
                    <a:pt x="1476" y="585"/>
                  </a:lnTo>
                  <a:lnTo>
                    <a:pt x="1496" y="605"/>
                  </a:lnTo>
                  <a:lnTo>
                    <a:pt x="1496" y="699"/>
                  </a:lnTo>
                  <a:lnTo>
                    <a:pt x="1489" y="706"/>
                  </a:lnTo>
                  <a:lnTo>
                    <a:pt x="1489" y="729"/>
                  </a:lnTo>
                  <a:lnTo>
                    <a:pt x="1467" y="729"/>
                  </a:lnTo>
                  <a:lnTo>
                    <a:pt x="1467" y="763"/>
                  </a:lnTo>
                  <a:lnTo>
                    <a:pt x="1503" y="763"/>
                  </a:lnTo>
                  <a:lnTo>
                    <a:pt x="1503" y="845"/>
                  </a:lnTo>
                  <a:lnTo>
                    <a:pt x="1532" y="845"/>
                  </a:lnTo>
                  <a:lnTo>
                    <a:pt x="1532" y="870"/>
                  </a:lnTo>
                  <a:lnTo>
                    <a:pt x="1455" y="947"/>
                  </a:lnTo>
                  <a:lnTo>
                    <a:pt x="1455" y="1022"/>
                  </a:lnTo>
                  <a:lnTo>
                    <a:pt x="1476" y="1043"/>
                  </a:lnTo>
                  <a:lnTo>
                    <a:pt x="1437" y="1084"/>
                  </a:lnTo>
                  <a:lnTo>
                    <a:pt x="1375" y="1022"/>
                  </a:lnTo>
                  <a:lnTo>
                    <a:pt x="1375" y="918"/>
                  </a:lnTo>
                  <a:lnTo>
                    <a:pt x="1312" y="918"/>
                  </a:lnTo>
                  <a:lnTo>
                    <a:pt x="1221" y="827"/>
                  </a:lnTo>
                  <a:lnTo>
                    <a:pt x="1175" y="827"/>
                  </a:lnTo>
                  <a:lnTo>
                    <a:pt x="1162" y="815"/>
                  </a:lnTo>
                  <a:lnTo>
                    <a:pt x="1130" y="815"/>
                  </a:lnTo>
                  <a:lnTo>
                    <a:pt x="1130" y="747"/>
                  </a:lnTo>
                  <a:lnTo>
                    <a:pt x="1079" y="747"/>
                  </a:lnTo>
                  <a:lnTo>
                    <a:pt x="1079" y="621"/>
                  </a:lnTo>
                  <a:lnTo>
                    <a:pt x="1173" y="526"/>
                  </a:lnTo>
                  <a:lnTo>
                    <a:pt x="1173" y="501"/>
                  </a:lnTo>
                  <a:lnTo>
                    <a:pt x="1203" y="471"/>
                  </a:lnTo>
                  <a:lnTo>
                    <a:pt x="1232" y="471"/>
                  </a:lnTo>
                  <a:lnTo>
                    <a:pt x="1275" y="428"/>
                  </a:lnTo>
                  <a:lnTo>
                    <a:pt x="1262" y="416"/>
                  </a:lnTo>
                  <a:lnTo>
                    <a:pt x="1216" y="416"/>
                  </a:lnTo>
                  <a:lnTo>
                    <a:pt x="1187" y="389"/>
                  </a:lnTo>
                  <a:lnTo>
                    <a:pt x="1207" y="369"/>
                  </a:lnTo>
                  <a:lnTo>
                    <a:pt x="1243" y="405"/>
                  </a:lnTo>
                  <a:lnTo>
                    <a:pt x="1264" y="405"/>
                  </a:lnTo>
                  <a:lnTo>
                    <a:pt x="1264" y="328"/>
                  </a:lnTo>
                  <a:lnTo>
                    <a:pt x="1305" y="328"/>
                  </a:lnTo>
                  <a:lnTo>
                    <a:pt x="1305" y="343"/>
                  </a:lnTo>
                  <a:lnTo>
                    <a:pt x="1342" y="343"/>
                  </a:lnTo>
                  <a:lnTo>
                    <a:pt x="1403" y="284"/>
                  </a:lnTo>
                  <a:lnTo>
                    <a:pt x="1355" y="234"/>
                  </a:lnTo>
                  <a:lnTo>
                    <a:pt x="1367" y="223"/>
                  </a:lnTo>
                  <a:lnTo>
                    <a:pt x="1389" y="223"/>
                  </a:lnTo>
                  <a:lnTo>
                    <a:pt x="1401" y="212"/>
                  </a:lnTo>
                  <a:lnTo>
                    <a:pt x="1328" y="139"/>
                  </a:lnTo>
                  <a:lnTo>
                    <a:pt x="1316" y="152"/>
                  </a:lnTo>
                  <a:lnTo>
                    <a:pt x="1316" y="275"/>
                  </a:lnTo>
                  <a:lnTo>
                    <a:pt x="1262" y="275"/>
                  </a:lnTo>
                  <a:lnTo>
                    <a:pt x="1228" y="241"/>
                  </a:lnTo>
                  <a:lnTo>
                    <a:pt x="1244" y="225"/>
                  </a:lnTo>
                  <a:lnTo>
                    <a:pt x="1207" y="187"/>
                  </a:lnTo>
                  <a:lnTo>
                    <a:pt x="1207" y="230"/>
                  </a:lnTo>
                  <a:lnTo>
                    <a:pt x="1187" y="230"/>
                  </a:lnTo>
                  <a:lnTo>
                    <a:pt x="1187" y="154"/>
                  </a:lnTo>
                  <a:lnTo>
                    <a:pt x="1139" y="154"/>
                  </a:lnTo>
                  <a:lnTo>
                    <a:pt x="1139" y="120"/>
                  </a:lnTo>
                  <a:lnTo>
                    <a:pt x="1155" y="104"/>
                  </a:lnTo>
                  <a:lnTo>
                    <a:pt x="1127" y="75"/>
                  </a:lnTo>
                  <a:lnTo>
                    <a:pt x="1139" y="63"/>
                  </a:lnTo>
                  <a:lnTo>
                    <a:pt x="1139" y="36"/>
                  </a:lnTo>
                  <a:lnTo>
                    <a:pt x="1105" y="0"/>
                  </a:lnTo>
                  <a:lnTo>
                    <a:pt x="1079" y="0"/>
                  </a:lnTo>
                  <a:lnTo>
                    <a:pt x="1079" y="36"/>
                  </a:lnTo>
                  <a:lnTo>
                    <a:pt x="1059" y="36"/>
                  </a:lnTo>
                  <a:lnTo>
                    <a:pt x="1059" y="130"/>
                  </a:lnTo>
                  <a:lnTo>
                    <a:pt x="1093" y="164"/>
                  </a:lnTo>
                  <a:lnTo>
                    <a:pt x="1093" y="180"/>
                  </a:lnTo>
                  <a:lnTo>
                    <a:pt x="1112" y="198"/>
                  </a:lnTo>
                  <a:lnTo>
                    <a:pt x="1112" y="221"/>
                  </a:lnTo>
                  <a:lnTo>
                    <a:pt x="1084" y="250"/>
                  </a:lnTo>
                  <a:lnTo>
                    <a:pt x="1070" y="250"/>
                  </a:lnTo>
                  <a:lnTo>
                    <a:pt x="1070" y="291"/>
                  </a:lnTo>
                  <a:lnTo>
                    <a:pt x="1048" y="269"/>
                  </a:lnTo>
                  <a:lnTo>
                    <a:pt x="1048" y="237"/>
                  </a:lnTo>
                  <a:lnTo>
                    <a:pt x="1009" y="237"/>
                  </a:lnTo>
                  <a:lnTo>
                    <a:pt x="1009" y="246"/>
                  </a:lnTo>
                  <a:lnTo>
                    <a:pt x="997" y="259"/>
                  </a:lnTo>
                  <a:lnTo>
                    <a:pt x="904" y="259"/>
                  </a:lnTo>
                  <a:lnTo>
                    <a:pt x="884" y="239"/>
                  </a:lnTo>
                  <a:lnTo>
                    <a:pt x="852" y="239"/>
                  </a:lnTo>
                  <a:lnTo>
                    <a:pt x="852" y="207"/>
                  </a:lnTo>
                  <a:lnTo>
                    <a:pt x="834" y="189"/>
                  </a:lnTo>
                  <a:lnTo>
                    <a:pt x="799" y="227"/>
                  </a:lnTo>
                  <a:lnTo>
                    <a:pt x="799" y="241"/>
                  </a:lnTo>
                  <a:lnTo>
                    <a:pt x="813" y="255"/>
                  </a:lnTo>
                  <a:lnTo>
                    <a:pt x="813" y="296"/>
                  </a:lnTo>
                  <a:lnTo>
                    <a:pt x="790" y="319"/>
                  </a:lnTo>
                  <a:lnTo>
                    <a:pt x="790" y="289"/>
                  </a:lnTo>
                  <a:lnTo>
                    <a:pt x="752" y="252"/>
                  </a:lnTo>
                  <a:lnTo>
                    <a:pt x="613" y="252"/>
                  </a:lnTo>
                  <a:lnTo>
                    <a:pt x="613" y="236"/>
                  </a:lnTo>
                  <a:lnTo>
                    <a:pt x="642" y="236"/>
                  </a:lnTo>
                  <a:lnTo>
                    <a:pt x="608" y="202"/>
                  </a:lnTo>
                  <a:lnTo>
                    <a:pt x="561" y="202"/>
                  </a:lnTo>
                  <a:lnTo>
                    <a:pt x="510" y="150"/>
                  </a:lnTo>
                  <a:lnTo>
                    <a:pt x="451" y="150"/>
                  </a:lnTo>
                  <a:lnTo>
                    <a:pt x="438" y="138"/>
                  </a:lnTo>
                  <a:lnTo>
                    <a:pt x="438" y="173"/>
                  </a:lnTo>
                  <a:lnTo>
                    <a:pt x="415" y="173"/>
                  </a:lnTo>
                  <a:lnTo>
                    <a:pt x="415" y="122"/>
                  </a:lnTo>
                  <a:lnTo>
                    <a:pt x="396" y="122"/>
                  </a:lnTo>
                  <a:lnTo>
                    <a:pt x="396" y="161"/>
                  </a:lnTo>
                  <a:lnTo>
                    <a:pt x="367" y="161"/>
                  </a:lnTo>
                  <a:lnTo>
                    <a:pt x="367" y="111"/>
                  </a:lnTo>
                  <a:lnTo>
                    <a:pt x="340" y="84"/>
                  </a:lnTo>
                  <a:lnTo>
                    <a:pt x="322" y="100"/>
                  </a:lnTo>
                  <a:lnTo>
                    <a:pt x="322" y="123"/>
                  </a:lnTo>
                  <a:lnTo>
                    <a:pt x="296" y="123"/>
                  </a:lnTo>
                  <a:lnTo>
                    <a:pt x="283" y="111"/>
                  </a:lnTo>
                  <a:lnTo>
                    <a:pt x="189" y="204"/>
                  </a:lnTo>
                  <a:lnTo>
                    <a:pt x="135" y="204"/>
                  </a:lnTo>
                  <a:lnTo>
                    <a:pt x="98" y="166"/>
                  </a:lnTo>
                  <a:lnTo>
                    <a:pt x="62" y="166"/>
                  </a:lnTo>
                  <a:lnTo>
                    <a:pt x="0" y="104"/>
                  </a:lnTo>
                  <a:lnTo>
                    <a:pt x="0" y="667"/>
                  </a:lnTo>
                  <a:lnTo>
                    <a:pt x="14" y="667"/>
                  </a:lnTo>
                  <a:lnTo>
                    <a:pt x="14" y="731"/>
                  </a:lnTo>
                  <a:lnTo>
                    <a:pt x="51" y="769"/>
                  </a:lnTo>
                  <a:lnTo>
                    <a:pt x="123" y="769"/>
                  </a:lnTo>
                  <a:lnTo>
                    <a:pt x="123" y="840"/>
                  </a:lnTo>
                  <a:lnTo>
                    <a:pt x="207" y="922"/>
                  </a:lnTo>
                  <a:lnTo>
                    <a:pt x="207" y="968"/>
                  </a:lnTo>
                  <a:lnTo>
                    <a:pt x="242" y="1004"/>
                  </a:lnTo>
                  <a:lnTo>
                    <a:pt x="242" y="1057"/>
                  </a:lnTo>
                  <a:lnTo>
                    <a:pt x="265" y="1081"/>
                  </a:lnTo>
                  <a:lnTo>
                    <a:pt x="265" y="1118"/>
                  </a:lnTo>
                  <a:lnTo>
                    <a:pt x="315" y="1118"/>
                  </a:lnTo>
                  <a:lnTo>
                    <a:pt x="315" y="1187"/>
                  </a:lnTo>
                  <a:lnTo>
                    <a:pt x="1068" y="1187"/>
                  </a:lnTo>
                  <a:lnTo>
                    <a:pt x="1104" y="1225"/>
                  </a:lnTo>
                  <a:lnTo>
                    <a:pt x="1189" y="1225"/>
                  </a:lnTo>
                  <a:lnTo>
                    <a:pt x="1223" y="1191"/>
                  </a:lnTo>
                  <a:lnTo>
                    <a:pt x="1276" y="1191"/>
                  </a:lnTo>
                  <a:lnTo>
                    <a:pt x="1344" y="1257"/>
                  </a:lnTo>
                  <a:lnTo>
                    <a:pt x="1344" y="1302"/>
                  </a:lnTo>
                  <a:lnTo>
                    <a:pt x="1419" y="1302"/>
                  </a:lnTo>
                  <a:lnTo>
                    <a:pt x="1457" y="1339"/>
                  </a:lnTo>
                  <a:lnTo>
                    <a:pt x="1441" y="1357"/>
                  </a:lnTo>
                  <a:lnTo>
                    <a:pt x="1364" y="1433"/>
                  </a:lnTo>
                  <a:lnTo>
                    <a:pt x="1385" y="1455"/>
                  </a:lnTo>
                  <a:lnTo>
                    <a:pt x="1417" y="1421"/>
                  </a:lnTo>
                  <a:lnTo>
                    <a:pt x="1458" y="1421"/>
                  </a:lnTo>
                  <a:lnTo>
                    <a:pt x="1519" y="1360"/>
                  </a:lnTo>
                  <a:lnTo>
                    <a:pt x="1560" y="1360"/>
                  </a:lnTo>
                  <a:lnTo>
                    <a:pt x="1603" y="1318"/>
                  </a:lnTo>
                  <a:lnTo>
                    <a:pt x="1699" y="1318"/>
                  </a:lnTo>
                  <a:lnTo>
                    <a:pt x="1706" y="1318"/>
                  </a:lnTo>
                  <a:lnTo>
                    <a:pt x="1738" y="1287"/>
                  </a:lnTo>
                  <a:lnTo>
                    <a:pt x="1785" y="1287"/>
                  </a:lnTo>
                  <a:lnTo>
                    <a:pt x="1785" y="1364"/>
                  </a:lnTo>
                  <a:lnTo>
                    <a:pt x="1792" y="1364"/>
                  </a:lnTo>
                  <a:lnTo>
                    <a:pt x="1792" y="1327"/>
                  </a:lnTo>
                  <a:lnTo>
                    <a:pt x="1810" y="1327"/>
                  </a:lnTo>
                  <a:lnTo>
                    <a:pt x="1835" y="1302"/>
                  </a:lnTo>
                  <a:lnTo>
                    <a:pt x="1849" y="1318"/>
                  </a:lnTo>
                  <a:lnTo>
                    <a:pt x="1876" y="1318"/>
                  </a:lnTo>
                  <a:lnTo>
                    <a:pt x="1851" y="1341"/>
                  </a:lnTo>
                  <a:lnTo>
                    <a:pt x="1842" y="1332"/>
                  </a:lnTo>
                  <a:lnTo>
                    <a:pt x="1808" y="1364"/>
                  </a:lnTo>
                  <a:lnTo>
                    <a:pt x="1836" y="1392"/>
                  </a:lnTo>
                  <a:lnTo>
                    <a:pt x="1869" y="1362"/>
                  </a:lnTo>
                  <a:lnTo>
                    <a:pt x="1888" y="1362"/>
                  </a:lnTo>
                  <a:lnTo>
                    <a:pt x="1926" y="1325"/>
                  </a:lnTo>
                  <a:lnTo>
                    <a:pt x="1908" y="1307"/>
                  </a:lnTo>
                  <a:lnTo>
                    <a:pt x="1861" y="1307"/>
                  </a:lnTo>
                  <a:lnTo>
                    <a:pt x="1819" y="1264"/>
                  </a:lnTo>
                  <a:lnTo>
                    <a:pt x="1842" y="1243"/>
                  </a:lnTo>
                  <a:lnTo>
                    <a:pt x="1815" y="1218"/>
                  </a:lnTo>
                  <a:lnTo>
                    <a:pt x="1844" y="1189"/>
                  </a:lnTo>
                  <a:lnTo>
                    <a:pt x="1828" y="1173"/>
                  </a:lnTo>
                  <a:lnTo>
                    <a:pt x="1779" y="1173"/>
                  </a:lnTo>
                  <a:lnTo>
                    <a:pt x="1685" y="1266"/>
                  </a:lnTo>
                  <a:lnTo>
                    <a:pt x="1685" y="1243"/>
                  </a:lnTo>
                  <a:lnTo>
                    <a:pt x="1808" y="1120"/>
                  </a:lnTo>
                  <a:lnTo>
                    <a:pt x="1901" y="1120"/>
                  </a:lnTo>
                  <a:lnTo>
                    <a:pt x="1913" y="1132"/>
                  </a:lnTo>
                  <a:lnTo>
                    <a:pt x="1949" y="1132"/>
                  </a:lnTo>
                  <a:lnTo>
                    <a:pt x="2029" y="1050"/>
                  </a:lnTo>
                  <a:lnTo>
                    <a:pt x="2029" y="1073"/>
                  </a:lnTo>
                  <a:lnTo>
                    <a:pt x="2056" y="1045"/>
                  </a:lnTo>
                  <a:lnTo>
                    <a:pt x="2056" y="990"/>
                  </a:lnTo>
                  <a:lnTo>
                    <a:pt x="2011" y="94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Freeform 342">
              <a:extLst>
                <a:ext uri="{FF2B5EF4-FFF2-40B4-BE49-F238E27FC236}">
                  <a16:creationId xmlns:a16="http://schemas.microsoft.com/office/drawing/2014/main" id="{9CC2E59F-30CC-4E84-B839-7E29E1F91640}"/>
                </a:ext>
              </a:extLst>
            </p:cNvPr>
            <p:cNvSpPr>
              <a:spLocks/>
            </p:cNvSpPr>
            <p:nvPr/>
          </p:nvSpPr>
          <p:spPr bwMode="auto">
            <a:xfrm>
              <a:off x="1058863" y="1693863"/>
              <a:ext cx="515938" cy="766763"/>
            </a:xfrm>
            <a:custGeom>
              <a:avLst/>
              <a:gdLst>
                <a:gd name="T0" fmla="*/ 583 w 651"/>
                <a:gd name="T1" fmla="*/ 55 h 966"/>
                <a:gd name="T2" fmla="*/ 538 w 651"/>
                <a:gd name="T3" fmla="*/ 43 h 966"/>
                <a:gd name="T4" fmla="*/ 485 w 651"/>
                <a:gd name="T5" fmla="*/ 29 h 966"/>
                <a:gd name="T6" fmla="*/ 405 w 651"/>
                <a:gd name="T7" fmla="*/ 0 h 966"/>
                <a:gd name="T8" fmla="*/ 285 w 651"/>
                <a:gd name="T9" fmla="*/ 55 h 966"/>
                <a:gd name="T10" fmla="*/ 257 w 651"/>
                <a:gd name="T11" fmla="*/ 111 h 966"/>
                <a:gd name="T12" fmla="*/ 164 w 651"/>
                <a:gd name="T13" fmla="*/ 150 h 966"/>
                <a:gd name="T14" fmla="*/ 183 w 651"/>
                <a:gd name="T15" fmla="*/ 216 h 966"/>
                <a:gd name="T16" fmla="*/ 219 w 651"/>
                <a:gd name="T17" fmla="*/ 246 h 966"/>
                <a:gd name="T18" fmla="*/ 264 w 651"/>
                <a:gd name="T19" fmla="*/ 260 h 966"/>
                <a:gd name="T20" fmla="*/ 244 w 651"/>
                <a:gd name="T21" fmla="*/ 298 h 966"/>
                <a:gd name="T22" fmla="*/ 207 w 651"/>
                <a:gd name="T23" fmla="*/ 294 h 966"/>
                <a:gd name="T24" fmla="*/ 171 w 651"/>
                <a:gd name="T25" fmla="*/ 314 h 966"/>
                <a:gd name="T26" fmla="*/ 150 w 651"/>
                <a:gd name="T27" fmla="*/ 280 h 966"/>
                <a:gd name="T28" fmla="*/ 107 w 651"/>
                <a:gd name="T29" fmla="*/ 353 h 966"/>
                <a:gd name="T30" fmla="*/ 158 w 651"/>
                <a:gd name="T31" fmla="*/ 382 h 966"/>
                <a:gd name="T32" fmla="*/ 212 w 651"/>
                <a:gd name="T33" fmla="*/ 362 h 966"/>
                <a:gd name="T34" fmla="*/ 139 w 651"/>
                <a:gd name="T35" fmla="*/ 437 h 966"/>
                <a:gd name="T36" fmla="*/ 55 w 651"/>
                <a:gd name="T37" fmla="*/ 594 h 966"/>
                <a:gd name="T38" fmla="*/ 43 w 651"/>
                <a:gd name="T39" fmla="*/ 633 h 966"/>
                <a:gd name="T40" fmla="*/ 84 w 651"/>
                <a:gd name="T41" fmla="*/ 640 h 966"/>
                <a:gd name="T42" fmla="*/ 109 w 651"/>
                <a:gd name="T43" fmla="*/ 606 h 966"/>
                <a:gd name="T44" fmla="*/ 59 w 651"/>
                <a:gd name="T45" fmla="*/ 706 h 966"/>
                <a:gd name="T46" fmla="*/ 132 w 651"/>
                <a:gd name="T47" fmla="*/ 733 h 966"/>
                <a:gd name="T48" fmla="*/ 212 w 651"/>
                <a:gd name="T49" fmla="*/ 708 h 966"/>
                <a:gd name="T50" fmla="*/ 164 w 651"/>
                <a:gd name="T51" fmla="*/ 793 h 966"/>
                <a:gd name="T52" fmla="*/ 9 w 651"/>
                <a:gd name="T53" fmla="*/ 966 h 966"/>
                <a:gd name="T54" fmla="*/ 200 w 651"/>
                <a:gd name="T55" fmla="*/ 804 h 966"/>
                <a:gd name="T56" fmla="*/ 267 w 651"/>
                <a:gd name="T57" fmla="*/ 690 h 966"/>
                <a:gd name="T58" fmla="*/ 324 w 651"/>
                <a:gd name="T59" fmla="*/ 604 h 966"/>
                <a:gd name="T60" fmla="*/ 383 w 651"/>
                <a:gd name="T61" fmla="*/ 583 h 966"/>
                <a:gd name="T62" fmla="*/ 356 w 651"/>
                <a:gd name="T63" fmla="*/ 694 h 966"/>
                <a:gd name="T64" fmla="*/ 451 w 651"/>
                <a:gd name="T65" fmla="*/ 563 h 966"/>
                <a:gd name="T66" fmla="*/ 554 w 651"/>
                <a:gd name="T67" fmla="*/ 629 h 966"/>
                <a:gd name="T68" fmla="*/ 651 w 651"/>
                <a:gd name="T69" fmla="*/ 71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1" h="966">
                  <a:moveTo>
                    <a:pt x="599" y="71"/>
                  </a:moveTo>
                  <a:lnTo>
                    <a:pt x="583" y="55"/>
                  </a:lnTo>
                  <a:lnTo>
                    <a:pt x="553" y="55"/>
                  </a:lnTo>
                  <a:lnTo>
                    <a:pt x="538" y="43"/>
                  </a:lnTo>
                  <a:lnTo>
                    <a:pt x="497" y="43"/>
                  </a:lnTo>
                  <a:lnTo>
                    <a:pt x="485" y="29"/>
                  </a:lnTo>
                  <a:lnTo>
                    <a:pt x="433" y="29"/>
                  </a:lnTo>
                  <a:lnTo>
                    <a:pt x="405" y="0"/>
                  </a:lnTo>
                  <a:lnTo>
                    <a:pt x="349" y="55"/>
                  </a:lnTo>
                  <a:lnTo>
                    <a:pt x="285" y="55"/>
                  </a:lnTo>
                  <a:lnTo>
                    <a:pt x="257" y="84"/>
                  </a:lnTo>
                  <a:lnTo>
                    <a:pt x="257" y="111"/>
                  </a:lnTo>
                  <a:lnTo>
                    <a:pt x="219" y="150"/>
                  </a:lnTo>
                  <a:lnTo>
                    <a:pt x="164" y="150"/>
                  </a:lnTo>
                  <a:lnTo>
                    <a:pt x="164" y="198"/>
                  </a:lnTo>
                  <a:lnTo>
                    <a:pt x="183" y="216"/>
                  </a:lnTo>
                  <a:lnTo>
                    <a:pt x="183" y="246"/>
                  </a:lnTo>
                  <a:lnTo>
                    <a:pt x="219" y="246"/>
                  </a:lnTo>
                  <a:lnTo>
                    <a:pt x="219" y="260"/>
                  </a:lnTo>
                  <a:lnTo>
                    <a:pt x="264" y="260"/>
                  </a:lnTo>
                  <a:lnTo>
                    <a:pt x="264" y="278"/>
                  </a:lnTo>
                  <a:lnTo>
                    <a:pt x="244" y="298"/>
                  </a:lnTo>
                  <a:lnTo>
                    <a:pt x="223" y="278"/>
                  </a:lnTo>
                  <a:lnTo>
                    <a:pt x="207" y="294"/>
                  </a:lnTo>
                  <a:lnTo>
                    <a:pt x="207" y="314"/>
                  </a:lnTo>
                  <a:lnTo>
                    <a:pt x="171" y="314"/>
                  </a:lnTo>
                  <a:lnTo>
                    <a:pt x="171" y="280"/>
                  </a:lnTo>
                  <a:lnTo>
                    <a:pt x="150" y="280"/>
                  </a:lnTo>
                  <a:lnTo>
                    <a:pt x="93" y="339"/>
                  </a:lnTo>
                  <a:lnTo>
                    <a:pt x="107" y="353"/>
                  </a:lnTo>
                  <a:lnTo>
                    <a:pt x="107" y="382"/>
                  </a:lnTo>
                  <a:lnTo>
                    <a:pt x="158" y="382"/>
                  </a:lnTo>
                  <a:lnTo>
                    <a:pt x="176" y="362"/>
                  </a:lnTo>
                  <a:lnTo>
                    <a:pt x="212" y="362"/>
                  </a:lnTo>
                  <a:lnTo>
                    <a:pt x="212" y="437"/>
                  </a:lnTo>
                  <a:lnTo>
                    <a:pt x="139" y="437"/>
                  </a:lnTo>
                  <a:lnTo>
                    <a:pt x="55" y="521"/>
                  </a:lnTo>
                  <a:lnTo>
                    <a:pt x="55" y="594"/>
                  </a:lnTo>
                  <a:lnTo>
                    <a:pt x="82" y="594"/>
                  </a:lnTo>
                  <a:lnTo>
                    <a:pt x="43" y="633"/>
                  </a:lnTo>
                  <a:lnTo>
                    <a:pt x="68" y="656"/>
                  </a:lnTo>
                  <a:lnTo>
                    <a:pt x="84" y="640"/>
                  </a:lnTo>
                  <a:lnTo>
                    <a:pt x="84" y="606"/>
                  </a:lnTo>
                  <a:lnTo>
                    <a:pt x="109" y="606"/>
                  </a:lnTo>
                  <a:lnTo>
                    <a:pt x="109" y="656"/>
                  </a:lnTo>
                  <a:lnTo>
                    <a:pt x="59" y="706"/>
                  </a:lnTo>
                  <a:lnTo>
                    <a:pt x="105" y="706"/>
                  </a:lnTo>
                  <a:lnTo>
                    <a:pt x="132" y="733"/>
                  </a:lnTo>
                  <a:lnTo>
                    <a:pt x="157" y="708"/>
                  </a:lnTo>
                  <a:lnTo>
                    <a:pt x="212" y="708"/>
                  </a:lnTo>
                  <a:lnTo>
                    <a:pt x="164" y="756"/>
                  </a:lnTo>
                  <a:lnTo>
                    <a:pt x="164" y="793"/>
                  </a:lnTo>
                  <a:lnTo>
                    <a:pt x="0" y="957"/>
                  </a:lnTo>
                  <a:lnTo>
                    <a:pt x="9" y="966"/>
                  </a:lnTo>
                  <a:lnTo>
                    <a:pt x="171" y="804"/>
                  </a:lnTo>
                  <a:lnTo>
                    <a:pt x="200" y="804"/>
                  </a:lnTo>
                  <a:lnTo>
                    <a:pt x="290" y="713"/>
                  </a:lnTo>
                  <a:lnTo>
                    <a:pt x="267" y="690"/>
                  </a:lnTo>
                  <a:lnTo>
                    <a:pt x="324" y="633"/>
                  </a:lnTo>
                  <a:lnTo>
                    <a:pt x="324" y="604"/>
                  </a:lnTo>
                  <a:lnTo>
                    <a:pt x="383" y="546"/>
                  </a:lnTo>
                  <a:lnTo>
                    <a:pt x="383" y="583"/>
                  </a:lnTo>
                  <a:lnTo>
                    <a:pt x="356" y="612"/>
                  </a:lnTo>
                  <a:lnTo>
                    <a:pt x="356" y="694"/>
                  </a:lnTo>
                  <a:lnTo>
                    <a:pt x="451" y="599"/>
                  </a:lnTo>
                  <a:lnTo>
                    <a:pt x="451" y="563"/>
                  </a:lnTo>
                  <a:lnTo>
                    <a:pt x="488" y="563"/>
                  </a:lnTo>
                  <a:lnTo>
                    <a:pt x="554" y="629"/>
                  </a:lnTo>
                  <a:lnTo>
                    <a:pt x="651" y="629"/>
                  </a:lnTo>
                  <a:lnTo>
                    <a:pt x="651" y="71"/>
                  </a:lnTo>
                  <a:lnTo>
                    <a:pt x="599" y="7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Freeform 343">
              <a:extLst>
                <a:ext uri="{FF2B5EF4-FFF2-40B4-BE49-F238E27FC236}">
                  <a16:creationId xmlns:a16="http://schemas.microsoft.com/office/drawing/2014/main" id="{E6FC4632-5E65-4E05-8951-57F399C832E5}"/>
                </a:ext>
              </a:extLst>
            </p:cNvPr>
            <p:cNvSpPr>
              <a:spLocks/>
            </p:cNvSpPr>
            <p:nvPr/>
          </p:nvSpPr>
          <p:spPr bwMode="auto">
            <a:xfrm>
              <a:off x="7686676" y="4568825"/>
              <a:ext cx="115888" cy="174625"/>
            </a:xfrm>
            <a:custGeom>
              <a:avLst/>
              <a:gdLst>
                <a:gd name="T0" fmla="*/ 0 w 144"/>
                <a:gd name="T1" fmla="*/ 0 h 219"/>
                <a:gd name="T2" fmla="*/ 19 w 144"/>
                <a:gd name="T3" fmla="*/ 0 h 219"/>
                <a:gd name="T4" fmla="*/ 62 w 144"/>
                <a:gd name="T5" fmla="*/ 43 h 219"/>
                <a:gd name="T6" fmla="*/ 73 w 144"/>
                <a:gd name="T7" fmla="*/ 43 h 219"/>
                <a:gd name="T8" fmla="*/ 125 w 144"/>
                <a:gd name="T9" fmla="*/ 93 h 219"/>
                <a:gd name="T10" fmla="*/ 125 w 144"/>
                <a:gd name="T11" fmla="*/ 75 h 219"/>
                <a:gd name="T12" fmla="*/ 144 w 144"/>
                <a:gd name="T13" fmla="*/ 75 h 219"/>
                <a:gd name="T14" fmla="*/ 144 w 144"/>
                <a:gd name="T15" fmla="*/ 123 h 219"/>
                <a:gd name="T16" fmla="*/ 121 w 144"/>
                <a:gd name="T17" fmla="*/ 123 h 219"/>
                <a:gd name="T18" fmla="*/ 98 w 144"/>
                <a:gd name="T19" fmla="*/ 145 h 219"/>
                <a:gd name="T20" fmla="*/ 98 w 144"/>
                <a:gd name="T21" fmla="*/ 195 h 219"/>
                <a:gd name="T22" fmla="*/ 73 w 144"/>
                <a:gd name="T23" fmla="*/ 219 h 219"/>
                <a:gd name="T24" fmla="*/ 53 w 144"/>
                <a:gd name="T25" fmla="*/ 219 h 219"/>
                <a:gd name="T26" fmla="*/ 53 w 144"/>
                <a:gd name="T27" fmla="*/ 170 h 219"/>
                <a:gd name="T28" fmla="*/ 21 w 144"/>
                <a:gd name="T29" fmla="*/ 138 h 219"/>
                <a:gd name="T30" fmla="*/ 57 w 144"/>
                <a:gd name="T31" fmla="*/ 104 h 219"/>
                <a:gd name="T32" fmla="*/ 57 w 144"/>
                <a:gd name="T33" fmla="*/ 57 h 219"/>
                <a:gd name="T34" fmla="*/ 0 w 144"/>
                <a:gd name="T3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19">
                  <a:moveTo>
                    <a:pt x="0" y="0"/>
                  </a:moveTo>
                  <a:lnTo>
                    <a:pt x="19" y="0"/>
                  </a:lnTo>
                  <a:lnTo>
                    <a:pt x="62" y="43"/>
                  </a:lnTo>
                  <a:lnTo>
                    <a:pt x="73" y="43"/>
                  </a:lnTo>
                  <a:lnTo>
                    <a:pt x="125" y="93"/>
                  </a:lnTo>
                  <a:lnTo>
                    <a:pt x="125" y="75"/>
                  </a:lnTo>
                  <a:lnTo>
                    <a:pt x="144" y="75"/>
                  </a:lnTo>
                  <a:lnTo>
                    <a:pt x="144" y="123"/>
                  </a:lnTo>
                  <a:lnTo>
                    <a:pt x="121" y="123"/>
                  </a:lnTo>
                  <a:lnTo>
                    <a:pt x="98" y="145"/>
                  </a:lnTo>
                  <a:lnTo>
                    <a:pt x="98" y="195"/>
                  </a:lnTo>
                  <a:lnTo>
                    <a:pt x="73" y="219"/>
                  </a:lnTo>
                  <a:lnTo>
                    <a:pt x="53" y="219"/>
                  </a:lnTo>
                  <a:lnTo>
                    <a:pt x="53" y="170"/>
                  </a:lnTo>
                  <a:lnTo>
                    <a:pt x="21" y="138"/>
                  </a:lnTo>
                  <a:lnTo>
                    <a:pt x="57" y="104"/>
                  </a:lnTo>
                  <a:lnTo>
                    <a:pt x="57" y="57"/>
                  </a:lnTo>
                  <a:lnTo>
                    <a:pt x="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Freeform 344">
              <a:extLst>
                <a:ext uri="{FF2B5EF4-FFF2-40B4-BE49-F238E27FC236}">
                  <a16:creationId xmlns:a16="http://schemas.microsoft.com/office/drawing/2014/main" id="{4BB710DA-68E9-4564-A34B-E2F5669DDC2E}"/>
                </a:ext>
              </a:extLst>
            </p:cNvPr>
            <p:cNvSpPr>
              <a:spLocks/>
            </p:cNvSpPr>
            <p:nvPr/>
          </p:nvSpPr>
          <p:spPr bwMode="auto">
            <a:xfrm>
              <a:off x="7535863" y="4711700"/>
              <a:ext cx="169863" cy="176213"/>
            </a:xfrm>
            <a:custGeom>
              <a:avLst/>
              <a:gdLst>
                <a:gd name="T0" fmla="*/ 214 w 214"/>
                <a:gd name="T1" fmla="*/ 22 h 221"/>
                <a:gd name="T2" fmla="*/ 214 w 214"/>
                <a:gd name="T3" fmla="*/ 48 h 221"/>
                <a:gd name="T4" fmla="*/ 171 w 214"/>
                <a:gd name="T5" fmla="*/ 93 h 221"/>
                <a:gd name="T6" fmla="*/ 171 w 214"/>
                <a:gd name="T7" fmla="*/ 107 h 221"/>
                <a:gd name="T8" fmla="*/ 148 w 214"/>
                <a:gd name="T9" fmla="*/ 130 h 221"/>
                <a:gd name="T10" fmla="*/ 125 w 214"/>
                <a:gd name="T11" fmla="*/ 130 h 221"/>
                <a:gd name="T12" fmla="*/ 125 w 214"/>
                <a:gd name="T13" fmla="*/ 180 h 221"/>
                <a:gd name="T14" fmla="*/ 86 w 214"/>
                <a:gd name="T15" fmla="*/ 221 h 221"/>
                <a:gd name="T16" fmla="*/ 27 w 214"/>
                <a:gd name="T17" fmla="*/ 221 h 221"/>
                <a:gd name="T18" fmla="*/ 0 w 214"/>
                <a:gd name="T19" fmla="*/ 195 h 221"/>
                <a:gd name="T20" fmla="*/ 32 w 214"/>
                <a:gd name="T21" fmla="*/ 161 h 221"/>
                <a:gd name="T22" fmla="*/ 32 w 214"/>
                <a:gd name="T23" fmla="*/ 136 h 221"/>
                <a:gd name="T24" fmla="*/ 50 w 214"/>
                <a:gd name="T25" fmla="*/ 120 h 221"/>
                <a:gd name="T26" fmla="*/ 78 w 214"/>
                <a:gd name="T27" fmla="*/ 120 h 221"/>
                <a:gd name="T28" fmla="*/ 137 w 214"/>
                <a:gd name="T29" fmla="*/ 61 h 221"/>
                <a:gd name="T30" fmla="*/ 137 w 214"/>
                <a:gd name="T31" fmla="*/ 41 h 221"/>
                <a:gd name="T32" fmla="*/ 178 w 214"/>
                <a:gd name="T33" fmla="*/ 0 h 221"/>
                <a:gd name="T34" fmla="*/ 200 w 214"/>
                <a:gd name="T35" fmla="*/ 22 h 221"/>
                <a:gd name="T36" fmla="*/ 214 w 214"/>
                <a:gd name="T37" fmla="*/ 2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4" h="221">
                  <a:moveTo>
                    <a:pt x="214" y="22"/>
                  </a:moveTo>
                  <a:lnTo>
                    <a:pt x="214" y="48"/>
                  </a:lnTo>
                  <a:lnTo>
                    <a:pt x="171" y="93"/>
                  </a:lnTo>
                  <a:lnTo>
                    <a:pt x="171" y="107"/>
                  </a:lnTo>
                  <a:lnTo>
                    <a:pt x="148" y="130"/>
                  </a:lnTo>
                  <a:lnTo>
                    <a:pt x="125" y="130"/>
                  </a:lnTo>
                  <a:lnTo>
                    <a:pt x="125" y="180"/>
                  </a:lnTo>
                  <a:lnTo>
                    <a:pt x="86" y="221"/>
                  </a:lnTo>
                  <a:lnTo>
                    <a:pt x="27" y="221"/>
                  </a:lnTo>
                  <a:lnTo>
                    <a:pt x="0" y="195"/>
                  </a:lnTo>
                  <a:lnTo>
                    <a:pt x="32" y="161"/>
                  </a:lnTo>
                  <a:lnTo>
                    <a:pt x="32" y="136"/>
                  </a:lnTo>
                  <a:lnTo>
                    <a:pt x="50" y="120"/>
                  </a:lnTo>
                  <a:lnTo>
                    <a:pt x="78" y="120"/>
                  </a:lnTo>
                  <a:lnTo>
                    <a:pt x="137" y="61"/>
                  </a:lnTo>
                  <a:lnTo>
                    <a:pt x="137" y="41"/>
                  </a:lnTo>
                  <a:lnTo>
                    <a:pt x="178" y="0"/>
                  </a:lnTo>
                  <a:lnTo>
                    <a:pt x="200" y="22"/>
                  </a:lnTo>
                  <a:lnTo>
                    <a:pt x="214" y="2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8" name="Freeform 345">
              <a:extLst>
                <a:ext uri="{FF2B5EF4-FFF2-40B4-BE49-F238E27FC236}">
                  <a16:creationId xmlns:a16="http://schemas.microsoft.com/office/drawing/2014/main" id="{AA9D9002-957B-412D-95A3-FF8A94B458F2}"/>
                </a:ext>
              </a:extLst>
            </p:cNvPr>
            <p:cNvSpPr>
              <a:spLocks/>
            </p:cNvSpPr>
            <p:nvPr/>
          </p:nvSpPr>
          <p:spPr bwMode="auto">
            <a:xfrm>
              <a:off x="6683376" y="4000500"/>
              <a:ext cx="838200" cy="652463"/>
            </a:xfrm>
            <a:custGeom>
              <a:avLst/>
              <a:gdLst>
                <a:gd name="T0" fmla="*/ 815 w 1056"/>
                <a:gd name="T1" fmla="*/ 59 h 821"/>
                <a:gd name="T2" fmla="*/ 858 w 1056"/>
                <a:gd name="T3" fmla="*/ 83 h 821"/>
                <a:gd name="T4" fmla="*/ 881 w 1056"/>
                <a:gd name="T5" fmla="*/ 208 h 821"/>
                <a:gd name="T6" fmla="*/ 1056 w 1056"/>
                <a:gd name="T7" fmla="*/ 472 h 821"/>
                <a:gd name="T8" fmla="*/ 1028 w 1056"/>
                <a:gd name="T9" fmla="*/ 545 h 821"/>
                <a:gd name="T10" fmla="*/ 1008 w 1056"/>
                <a:gd name="T11" fmla="*/ 616 h 821"/>
                <a:gd name="T12" fmla="*/ 971 w 1056"/>
                <a:gd name="T13" fmla="*/ 693 h 821"/>
                <a:gd name="T14" fmla="*/ 940 w 1056"/>
                <a:gd name="T15" fmla="*/ 748 h 821"/>
                <a:gd name="T16" fmla="*/ 885 w 1056"/>
                <a:gd name="T17" fmla="*/ 773 h 821"/>
                <a:gd name="T18" fmla="*/ 826 w 1056"/>
                <a:gd name="T19" fmla="*/ 807 h 821"/>
                <a:gd name="T20" fmla="*/ 757 w 1056"/>
                <a:gd name="T21" fmla="*/ 821 h 821"/>
                <a:gd name="T22" fmla="*/ 714 w 1056"/>
                <a:gd name="T23" fmla="*/ 804 h 821"/>
                <a:gd name="T24" fmla="*/ 650 w 1056"/>
                <a:gd name="T25" fmla="*/ 702 h 821"/>
                <a:gd name="T26" fmla="*/ 646 w 1056"/>
                <a:gd name="T27" fmla="*/ 684 h 821"/>
                <a:gd name="T28" fmla="*/ 607 w 1056"/>
                <a:gd name="T29" fmla="*/ 691 h 821"/>
                <a:gd name="T30" fmla="*/ 619 w 1056"/>
                <a:gd name="T31" fmla="*/ 656 h 821"/>
                <a:gd name="T32" fmla="*/ 603 w 1056"/>
                <a:gd name="T33" fmla="*/ 624 h 821"/>
                <a:gd name="T34" fmla="*/ 571 w 1056"/>
                <a:gd name="T35" fmla="*/ 650 h 821"/>
                <a:gd name="T36" fmla="*/ 553 w 1056"/>
                <a:gd name="T37" fmla="*/ 668 h 821"/>
                <a:gd name="T38" fmla="*/ 505 w 1056"/>
                <a:gd name="T39" fmla="*/ 593 h 821"/>
                <a:gd name="T40" fmla="*/ 439 w 1056"/>
                <a:gd name="T41" fmla="*/ 572 h 821"/>
                <a:gd name="T42" fmla="*/ 364 w 1056"/>
                <a:gd name="T43" fmla="*/ 602 h 821"/>
                <a:gd name="T44" fmla="*/ 273 w 1056"/>
                <a:gd name="T45" fmla="*/ 624 h 821"/>
                <a:gd name="T46" fmla="*/ 159 w 1056"/>
                <a:gd name="T47" fmla="*/ 645 h 821"/>
                <a:gd name="T48" fmla="*/ 58 w 1056"/>
                <a:gd name="T49" fmla="*/ 693 h 821"/>
                <a:gd name="T50" fmla="*/ 54 w 1056"/>
                <a:gd name="T51" fmla="*/ 618 h 821"/>
                <a:gd name="T52" fmla="*/ 25 w 1056"/>
                <a:gd name="T53" fmla="*/ 549 h 821"/>
                <a:gd name="T54" fmla="*/ 0 w 1056"/>
                <a:gd name="T55" fmla="*/ 417 h 821"/>
                <a:gd name="T56" fmla="*/ 33 w 1056"/>
                <a:gd name="T57" fmla="*/ 397 h 821"/>
                <a:gd name="T58" fmla="*/ 43 w 1056"/>
                <a:gd name="T59" fmla="*/ 338 h 821"/>
                <a:gd name="T60" fmla="*/ 74 w 1056"/>
                <a:gd name="T61" fmla="*/ 274 h 821"/>
                <a:gd name="T62" fmla="*/ 200 w 1056"/>
                <a:gd name="T63" fmla="*/ 228 h 821"/>
                <a:gd name="T64" fmla="*/ 245 w 1056"/>
                <a:gd name="T65" fmla="*/ 212 h 821"/>
                <a:gd name="T66" fmla="*/ 263 w 1056"/>
                <a:gd name="T67" fmla="*/ 164 h 821"/>
                <a:gd name="T68" fmla="*/ 305 w 1056"/>
                <a:gd name="T69" fmla="*/ 167 h 821"/>
                <a:gd name="T70" fmla="*/ 334 w 1056"/>
                <a:gd name="T71" fmla="*/ 144 h 821"/>
                <a:gd name="T72" fmla="*/ 377 w 1056"/>
                <a:gd name="T73" fmla="*/ 62 h 821"/>
                <a:gd name="T74" fmla="*/ 469 w 1056"/>
                <a:gd name="T75" fmla="*/ 112 h 821"/>
                <a:gd name="T76" fmla="*/ 505 w 1056"/>
                <a:gd name="T77" fmla="*/ 53 h 821"/>
                <a:gd name="T78" fmla="*/ 544 w 1056"/>
                <a:gd name="T79" fmla="*/ 26 h 821"/>
                <a:gd name="T80" fmla="*/ 559 w 1056"/>
                <a:gd name="T81" fmla="*/ 0 h 821"/>
                <a:gd name="T82" fmla="*/ 626 w 1056"/>
                <a:gd name="T83" fmla="*/ 26 h 821"/>
                <a:gd name="T84" fmla="*/ 628 w 1056"/>
                <a:gd name="T85" fmla="*/ 87 h 821"/>
                <a:gd name="T86" fmla="*/ 644 w 1056"/>
                <a:gd name="T87" fmla="*/ 149 h 821"/>
                <a:gd name="T88" fmla="*/ 707 w 1056"/>
                <a:gd name="T89" fmla="*/ 180 h 821"/>
                <a:gd name="T90" fmla="*/ 769 w 1056"/>
                <a:gd name="T91" fmla="*/ 148 h 821"/>
                <a:gd name="T92" fmla="*/ 801 w 1056"/>
                <a:gd name="T93" fmla="*/ 59 h 821"/>
                <a:gd name="T94" fmla="*/ 815 w 1056"/>
                <a:gd name="T95" fmla="*/ 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56" h="821">
                  <a:moveTo>
                    <a:pt x="815" y="9"/>
                  </a:moveTo>
                  <a:lnTo>
                    <a:pt x="815" y="59"/>
                  </a:lnTo>
                  <a:lnTo>
                    <a:pt x="840" y="83"/>
                  </a:lnTo>
                  <a:lnTo>
                    <a:pt x="858" y="83"/>
                  </a:lnTo>
                  <a:lnTo>
                    <a:pt x="881" y="107"/>
                  </a:lnTo>
                  <a:lnTo>
                    <a:pt x="881" y="208"/>
                  </a:lnTo>
                  <a:lnTo>
                    <a:pt x="1056" y="385"/>
                  </a:lnTo>
                  <a:lnTo>
                    <a:pt x="1056" y="472"/>
                  </a:lnTo>
                  <a:lnTo>
                    <a:pt x="1028" y="501"/>
                  </a:lnTo>
                  <a:lnTo>
                    <a:pt x="1028" y="545"/>
                  </a:lnTo>
                  <a:lnTo>
                    <a:pt x="1008" y="565"/>
                  </a:lnTo>
                  <a:lnTo>
                    <a:pt x="1008" y="616"/>
                  </a:lnTo>
                  <a:lnTo>
                    <a:pt x="971" y="656"/>
                  </a:lnTo>
                  <a:lnTo>
                    <a:pt x="971" y="693"/>
                  </a:lnTo>
                  <a:lnTo>
                    <a:pt x="940" y="693"/>
                  </a:lnTo>
                  <a:lnTo>
                    <a:pt x="940" y="748"/>
                  </a:lnTo>
                  <a:lnTo>
                    <a:pt x="915" y="773"/>
                  </a:lnTo>
                  <a:lnTo>
                    <a:pt x="885" y="773"/>
                  </a:lnTo>
                  <a:lnTo>
                    <a:pt x="851" y="807"/>
                  </a:lnTo>
                  <a:lnTo>
                    <a:pt x="826" y="807"/>
                  </a:lnTo>
                  <a:lnTo>
                    <a:pt x="799" y="779"/>
                  </a:lnTo>
                  <a:lnTo>
                    <a:pt x="757" y="821"/>
                  </a:lnTo>
                  <a:lnTo>
                    <a:pt x="737" y="804"/>
                  </a:lnTo>
                  <a:lnTo>
                    <a:pt x="714" y="804"/>
                  </a:lnTo>
                  <a:lnTo>
                    <a:pt x="650" y="739"/>
                  </a:lnTo>
                  <a:lnTo>
                    <a:pt x="650" y="702"/>
                  </a:lnTo>
                  <a:lnTo>
                    <a:pt x="628" y="702"/>
                  </a:lnTo>
                  <a:lnTo>
                    <a:pt x="646" y="684"/>
                  </a:lnTo>
                  <a:lnTo>
                    <a:pt x="630" y="668"/>
                  </a:lnTo>
                  <a:lnTo>
                    <a:pt x="607" y="691"/>
                  </a:lnTo>
                  <a:lnTo>
                    <a:pt x="594" y="679"/>
                  </a:lnTo>
                  <a:lnTo>
                    <a:pt x="619" y="656"/>
                  </a:lnTo>
                  <a:lnTo>
                    <a:pt x="619" y="624"/>
                  </a:lnTo>
                  <a:lnTo>
                    <a:pt x="603" y="624"/>
                  </a:lnTo>
                  <a:lnTo>
                    <a:pt x="603" y="650"/>
                  </a:lnTo>
                  <a:lnTo>
                    <a:pt x="571" y="650"/>
                  </a:lnTo>
                  <a:lnTo>
                    <a:pt x="571" y="684"/>
                  </a:lnTo>
                  <a:lnTo>
                    <a:pt x="553" y="668"/>
                  </a:lnTo>
                  <a:lnTo>
                    <a:pt x="553" y="641"/>
                  </a:lnTo>
                  <a:lnTo>
                    <a:pt x="505" y="593"/>
                  </a:lnTo>
                  <a:lnTo>
                    <a:pt x="461" y="593"/>
                  </a:lnTo>
                  <a:lnTo>
                    <a:pt x="439" y="572"/>
                  </a:lnTo>
                  <a:lnTo>
                    <a:pt x="395" y="572"/>
                  </a:lnTo>
                  <a:lnTo>
                    <a:pt x="364" y="602"/>
                  </a:lnTo>
                  <a:lnTo>
                    <a:pt x="273" y="602"/>
                  </a:lnTo>
                  <a:lnTo>
                    <a:pt x="273" y="624"/>
                  </a:lnTo>
                  <a:lnTo>
                    <a:pt x="252" y="645"/>
                  </a:lnTo>
                  <a:lnTo>
                    <a:pt x="159" y="645"/>
                  </a:lnTo>
                  <a:lnTo>
                    <a:pt x="109" y="693"/>
                  </a:lnTo>
                  <a:lnTo>
                    <a:pt x="58" y="693"/>
                  </a:lnTo>
                  <a:lnTo>
                    <a:pt x="18" y="654"/>
                  </a:lnTo>
                  <a:lnTo>
                    <a:pt x="54" y="618"/>
                  </a:lnTo>
                  <a:lnTo>
                    <a:pt x="54" y="577"/>
                  </a:lnTo>
                  <a:lnTo>
                    <a:pt x="25" y="549"/>
                  </a:lnTo>
                  <a:lnTo>
                    <a:pt x="25" y="442"/>
                  </a:lnTo>
                  <a:lnTo>
                    <a:pt x="0" y="417"/>
                  </a:lnTo>
                  <a:lnTo>
                    <a:pt x="0" y="397"/>
                  </a:lnTo>
                  <a:lnTo>
                    <a:pt x="33" y="397"/>
                  </a:lnTo>
                  <a:lnTo>
                    <a:pt x="8" y="374"/>
                  </a:lnTo>
                  <a:lnTo>
                    <a:pt x="43" y="338"/>
                  </a:lnTo>
                  <a:lnTo>
                    <a:pt x="43" y="304"/>
                  </a:lnTo>
                  <a:lnTo>
                    <a:pt x="74" y="274"/>
                  </a:lnTo>
                  <a:lnTo>
                    <a:pt x="156" y="274"/>
                  </a:lnTo>
                  <a:lnTo>
                    <a:pt x="200" y="228"/>
                  </a:lnTo>
                  <a:lnTo>
                    <a:pt x="245" y="228"/>
                  </a:lnTo>
                  <a:lnTo>
                    <a:pt x="245" y="212"/>
                  </a:lnTo>
                  <a:lnTo>
                    <a:pt x="263" y="194"/>
                  </a:lnTo>
                  <a:lnTo>
                    <a:pt x="263" y="164"/>
                  </a:lnTo>
                  <a:lnTo>
                    <a:pt x="282" y="144"/>
                  </a:lnTo>
                  <a:lnTo>
                    <a:pt x="305" y="167"/>
                  </a:lnTo>
                  <a:lnTo>
                    <a:pt x="305" y="144"/>
                  </a:lnTo>
                  <a:lnTo>
                    <a:pt x="334" y="144"/>
                  </a:lnTo>
                  <a:lnTo>
                    <a:pt x="334" y="105"/>
                  </a:lnTo>
                  <a:lnTo>
                    <a:pt x="377" y="62"/>
                  </a:lnTo>
                  <a:lnTo>
                    <a:pt x="427" y="112"/>
                  </a:lnTo>
                  <a:lnTo>
                    <a:pt x="469" y="112"/>
                  </a:lnTo>
                  <a:lnTo>
                    <a:pt x="469" y="89"/>
                  </a:lnTo>
                  <a:lnTo>
                    <a:pt x="505" y="53"/>
                  </a:lnTo>
                  <a:lnTo>
                    <a:pt x="544" y="53"/>
                  </a:lnTo>
                  <a:lnTo>
                    <a:pt x="544" y="26"/>
                  </a:lnTo>
                  <a:lnTo>
                    <a:pt x="519" y="0"/>
                  </a:lnTo>
                  <a:lnTo>
                    <a:pt x="559" y="0"/>
                  </a:lnTo>
                  <a:lnTo>
                    <a:pt x="559" y="26"/>
                  </a:lnTo>
                  <a:lnTo>
                    <a:pt x="626" y="26"/>
                  </a:lnTo>
                  <a:lnTo>
                    <a:pt x="657" y="57"/>
                  </a:lnTo>
                  <a:lnTo>
                    <a:pt x="628" y="87"/>
                  </a:lnTo>
                  <a:lnTo>
                    <a:pt x="628" y="133"/>
                  </a:lnTo>
                  <a:lnTo>
                    <a:pt x="644" y="149"/>
                  </a:lnTo>
                  <a:lnTo>
                    <a:pt x="676" y="149"/>
                  </a:lnTo>
                  <a:lnTo>
                    <a:pt x="707" y="180"/>
                  </a:lnTo>
                  <a:lnTo>
                    <a:pt x="735" y="180"/>
                  </a:lnTo>
                  <a:lnTo>
                    <a:pt x="769" y="148"/>
                  </a:lnTo>
                  <a:lnTo>
                    <a:pt x="769" y="91"/>
                  </a:lnTo>
                  <a:lnTo>
                    <a:pt x="801" y="59"/>
                  </a:lnTo>
                  <a:lnTo>
                    <a:pt x="801" y="9"/>
                  </a:lnTo>
                  <a:lnTo>
                    <a:pt x="815" y="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29" name="Freeform 346">
              <a:extLst>
                <a:ext uri="{FF2B5EF4-FFF2-40B4-BE49-F238E27FC236}">
                  <a16:creationId xmlns:a16="http://schemas.microsoft.com/office/drawing/2014/main" id="{1E6094EB-DA7B-4D27-B4CD-43495BD3F223}"/>
                </a:ext>
              </a:extLst>
            </p:cNvPr>
            <p:cNvSpPr>
              <a:spLocks/>
            </p:cNvSpPr>
            <p:nvPr/>
          </p:nvSpPr>
          <p:spPr bwMode="auto">
            <a:xfrm>
              <a:off x="7289801" y="4689475"/>
              <a:ext cx="79375" cy="90488"/>
            </a:xfrm>
            <a:custGeom>
              <a:avLst/>
              <a:gdLst>
                <a:gd name="T0" fmla="*/ 100 w 100"/>
                <a:gd name="T1" fmla="*/ 0 h 114"/>
                <a:gd name="T2" fmla="*/ 100 w 100"/>
                <a:gd name="T3" fmla="*/ 62 h 114"/>
                <a:gd name="T4" fmla="*/ 48 w 100"/>
                <a:gd name="T5" fmla="*/ 114 h 114"/>
                <a:gd name="T6" fmla="*/ 28 w 100"/>
                <a:gd name="T7" fmla="*/ 92 h 114"/>
                <a:gd name="T8" fmla="*/ 28 w 100"/>
                <a:gd name="T9" fmla="*/ 57 h 114"/>
                <a:gd name="T10" fmla="*/ 0 w 100"/>
                <a:gd name="T11" fmla="*/ 26 h 114"/>
                <a:gd name="T12" fmla="*/ 18 w 100"/>
                <a:gd name="T13" fmla="*/ 9 h 114"/>
                <a:gd name="T14" fmla="*/ 43 w 100"/>
                <a:gd name="T15" fmla="*/ 34 h 114"/>
                <a:gd name="T16" fmla="*/ 75 w 100"/>
                <a:gd name="T17" fmla="*/ 0 h 114"/>
                <a:gd name="T18" fmla="*/ 100 w 100"/>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14">
                  <a:moveTo>
                    <a:pt x="100" y="0"/>
                  </a:moveTo>
                  <a:lnTo>
                    <a:pt x="100" y="62"/>
                  </a:lnTo>
                  <a:lnTo>
                    <a:pt x="48" y="114"/>
                  </a:lnTo>
                  <a:lnTo>
                    <a:pt x="28" y="92"/>
                  </a:lnTo>
                  <a:lnTo>
                    <a:pt x="28" y="57"/>
                  </a:lnTo>
                  <a:lnTo>
                    <a:pt x="0" y="26"/>
                  </a:lnTo>
                  <a:lnTo>
                    <a:pt x="18" y="9"/>
                  </a:lnTo>
                  <a:lnTo>
                    <a:pt x="43" y="34"/>
                  </a:lnTo>
                  <a:lnTo>
                    <a:pt x="75" y="0"/>
                  </a:lnTo>
                  <a:lnTo>
                    <a:pt x="10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0" name="Freeform 347">
              <a:extLst>
                <a:ext uri="{FF2B5EF4-FFF2-40B4-BE49-F238E27FC236}">
                  <a16:creationId xmlns:a16="http://schemas.microsoft.com/office/drawing/2014/main" id="{B8CC4A70-ADE5-4EB4-91B5-6B2513B1B41B}"/>
                </a:ext>
              </a:extLst>
            </p:cNvPr>
            <p:cNvSpPr>
              <a:spLocks/>
            </p:cNvSpPr>
            <p:nvPr/>
          </p:nvSpPr>
          <p:spPr bwMode="auto">
            <a:xfrm>
              <a:off x="4937126" y="1276350"/>
              <a:ext cx="3054350" cy="1577975"/>
            </a:xfrm>
            <a:custGeom>
              <a:avLst/>
              <a:gdLst>
                <a:gd name="T0" fmla="*/ 66 w 3848"/>
                <a:gd name="T1" fmla="*/ 999 h 1988"/>
                <a:gd name="T2" fmla="*/ 64 w 3848"/>
                <a:gd name="T3" fmla="*/ 724 h 1988"/>
                <a:gd name="T4" fmla="*/ 203 w 3848"/>
                <a:gd name="T5" fmla="*/ 642 h 1988"/>
                <a:gd name="T6" fmla="*/ 257 w 3848"/>
                <a:gd name="T7" fmla="*/ 813 h 1988"/>
                <a:gd name="T8" fmla="*/ 214 w 3848"/>
                <a:gd name="T9" fmla="*/ 938 h 1988"/>
                <a:gd name="T10" fmla="*/ 383 w 3848"/>
                <a:gd name="T11" fmla="*/ 792 h 1988"/>
                <a:gd name="T12" fmla="*/ 562 w 3848"/>
                <a:gd name="T13" fmla="*/ 701 h 1988"/>
                <a:gd name="T14" fmla="*/ 804 w 3848"/>
                <a:gd name="T15" fmla="*/ 688 h 1988"/>
                <a:gd name="T16" fmla="*/ 1013 w 3848"/>
                <a:gd name="T17" fmla="*/ 649 h 1988"/>
                <a:gd name="T18" fmla="*/ 1097 w 3848"/>
                <a:gd name="T19" fmla="*/ 366 h 1988"/>
                <a:gd name="T20" fmla="*/ 1104 w 3848"/>
                <a:gd name="T21" fmla="*/ 656 h 1988"/>
                <a:gd name="T22" fmla="*/ 1159 w 3848"/>
                <a:gd name="T23" fmla="*/ 704 h 1988"/>
                <a:gd name="T24" fmla="*/ 1205 w 3848"/>
                <a:gd name="T25" fmla="*/ 660 h 1988"/>
                <a:gd name="T26" fmla="*/ 1182 w 3848"/>
                <a:gd name="T27" fmla="*/ 394 h 1988"/>
                <a:gd name="T28" fmla="*/ 1243 w 3848"/>
                <a:gd name="T29" fmla="*/ 421 h 1988"/>
                <a:gd name="T30" fmla="*/ 1373 w 3848"/>
                <a:gd name="T31" fmla="*/ 564 h 1988"/>
                <a:gd name="T32" fmla="*/ 1368 w 3848"/>
                <a:gd name="T33" fmla="*/ 250 h 1988"/>
                <a:gd name="T34" fmla="*/ 1564 w 3848"/>
                <a:gd name="T35" fmla="*/ 109 h 1988"/>
                <a:gd name="T36" fmla="*/ 1707 w 3848"/>
                <a:gd name="T37" fmla="*/ 48 h 1988"/>
                <a:gd name="T38" fmla="*/ 1906 w 3848"/>
                <a:gd name="T39" fmla="*/ 68 h 1988"/>
                <a:gd name="T40" fmla="*/ 1919 w 3848"/>
                <a:gd name="T41" fmla="*/ 312 h 1988"/>
                <a:gd name="T42" fmla="*/ 2129 w 3848"/>
                <a:gd name="T43" fmla="*/ 339 h 1988"/>
                <a:gd name="T44" fmla="*/ 2300 w 3848"/>
                <a:gd name="T45" fmla="*/ 351 h 1988"/>
                <a:gd name="T46" fmla="*/ 2464 w 3848"/>
                <a:gd name="T47" fmla="*/ 523 h 1988"/>
                <a:gd name="T48" fmla="*/ 2628 w 3848"/>
                <a:gd name="T49" fmla="*/ 469 h 1988"/>
                <a:gd name="T50" fmla="*/ 2862 w 3848"/>
                <a:gd name="T51" fmla="*/ 507 h 1988"/>
                <a:gd name="T52" fmla="*/ 3117 w 3848"/>
                <a:gd name="T53" fmla="*/ 606 h 1988"/>
                <a:gd name="T54" fmla="*/ 3347 w 3848"/>
                <a:gd name="T55" fmla="*/ 669 h 1988"/>
                <a:gd name="T56" fmla="*/ 3602 w 3848"/>
                <a:gd name="T57" fmla="*/ 728 h 1988"/>
                <a:gd name="T58" fmla="*/ 3791 w 3848"/>
                <a:gd name="T59" fmla="*/ 861 h 1988"/>
                <a:gd name="T60" fmla="*/ 3714 w 3848"/>
                <a:gd name="T61" fmla="*/ 924 h 1988"/>
                <a:gd name="T62" fmla="*/ 3600 w 3848"/>
                <a:gd name="T63" fmla="*/ 974 h 1988"/>
                <a:gd name="T64" fmla="*/ 3627 w 3848"/>
                <a:gd name="T65" fmla="*/ 1107 h 1988"/>
                <a:gd name="T66" fmla="*/ 3374 w 3848"/>
                <a:gd name="T67" fmla="*/ 1232 h 1988"/>
                <a:gd name="T68" fmla="*/ 3344 w 3848"/>
                <a:gd name="T69" fmla="*/ 1505 h 1988"/>
                <a:gd name="T70" fmla="*/ 3238 w 3848"/>
                <a:gd name="T71" fmla="*/ 1573 h 1988"/>
                <a:gd name="T72" fmla="*/ 3347 w 3848"/>
                <a:gd name="T73" fmla="*/ 1186 h 1988"/>
                <a:gd name="T74" fmla="*/ 3156 w 3848"/>
                <a:gd name="T75" fmla="*/ 1195 h 1988"/>
                <a:gd name="T76" fmla="*/ 2889 w 3848"/>
                <a:gd name="T77" fmla="*/ 1248 h 1988"/>
                <a:gd name="T78" fmla="*/ 2791 w 3848"/>
                <a:gd name="T79" fmla="*/ 1458 h 1988"/>
                <a:gd name="T80" fmla="*/ 2930 w 3848"/>
                <a:gd name="T81" fmla="*/ 1580 h 1988"/>
                <a:gd name="T82" fmla="*/ 2848 w 3848"/>
                <a:gd name="T83" fmla="*/ 1774 h 1988"/>
                <a:gd name="T84" fmla="*/ 2693 w 3848"/>
                <a:gd name="T85" fmla="*/ 1835 h 1988"/>
                <a:gd name="T86" fmla="*/ 2529 w 3848"/>
                <a:gd name="T87" fmla="*/ 1505 h 1988"/>
                <a:gd name="T88" fmla="*/ 2295 w 3848"/>
                <a:gd name="T89" fmla="*/ 1662 h 1988"/>
                <a:gd name="T90" fmla="*/ 1915 w 3848"/>
                <a:gd name="T91" fmla="*/ 1574 h 1988"/>
                <a:gd name="T92" fmla="*/ 1551 w 3848"/>
                <a:gd name="T93" fmla="*/ 1701 h 1988"/>
                <a:gd name="T94" fmla="*/ 1264 w 3848"/>
                <a:gd name="T95" fmla="*/ 1464 h 1988"/>
                <a:gd name="T96" fmla="*/ 843 w 3848"/>
                <a:gd name="T97" fmla="*/ 1569 h 1988"/>
                <a:gd name="T98" fmla="*/ 535 w 3848"/>
                <a:gd name="T99" fmla="*/ 1662 h 1988"/>
                <a:gd name="T100" fmla="*/ 512 w 3848"/>
                <a:gd name="T101" fmla="*/ 1895 h 1988"/>
                <a:gd name="T102" fmla="*/ 324 w 3848"/>
                <a:gd name="T103" fmla="*/ 1883 h 1988"/>
                <a:gd name="T104" fmla="*/ 267 w 3848"/>
                <a:gd name="T105" fmla="*/ 1774 h 1988"/>
                <a:gd name="T106" fmla="*/ 319 w 3848"/>
                <a:gd name="T107" fmla="*/ 1713 h 1988"/>
                <a:gd name="T108" fmla="*/ 176 w 3848"/>
                <a:gd name="T109" fmla="*/ 1589 h 1988"/>
                <a:gd name="T110" fmla="*/ 100 w 3848"/>
                <a:gd name="T111" fmla="*/ 1473 h 1988"/>
                <a:gd name="T112" fmla="*/ 14 w 3848"/>
                <a:gd name="T113" fmla="*/ 1307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48" h="1988">
                  <a:moveTo>
                    <a:pt x="36" y="1205"/>
                  </a:moveTo>
                  <a:lnTo>
                    <a:pt x="9" y="1180"/>
                  </a:lnTo>
                  <a:lnTo>
                    <a:pt x="9" y="1141"/>
                  </a:lnTo>
                  <a:lnTo>
                    <a:pt x="46" y="1102"/>
                  </a:lnTo>
                  <a:lnTo>
                    <a:pt x="61" y="1102"/>
                  </a:lnTo>
                  <a:lnTo>
                    <a:pt x="96" y="1068"/>
                  </a:lnTo>
                  <a:lnTo>
                    <a:pt x="96" y="1029"/>
                  </a:lnTo>
                  <a:lnTo>
                    <a:pt x="66" y="999"/>
                  </a:lnTo>
                  <a:lnTo>
                    <a:pt x="66" y="968"/>
                  </a:lnTo>
                  <a:lnTo>
                    <a:pt x="66" y="927"/>
                  </a:lnTo>
                  <a:lnTo>
                    <a:pt x="50" y="911"/>
                  </a:lnTo>
                  <a:lnTo>
                    <a:pt x="50" y="849"/>
                  </a:lnTo>
                  <a:lnTo>
                    <a:pt x="50" y="801"/>
                  </a:lnTo>
                  <a:lnTo>
                    <a:pt x="34" y="785"/>
                  </a:lnTo>
                  <a:lnTo>
                    <a:pt x="64" y="754"/>
                  </a:lnTo>
                  <a:lnTo>
                    <a:pt x="64" y="724"/>
                  </a:lnTo>
                  <a:lnTo>
                    <a:pt x="36" y="696"/>
                  </a:lnTo>
                  <a:lnTo>
                    <a:pt x="18" y="678"/>
                  </a:lnTo>
                  <a:lnTo>
                    <a:pt x="16" y="647"/>
                  </a:lnTo>
                  <a:lnTo>
                    <a:pt x="64" y="599"/>
                  </a:lnTo>
                  <a:lnTo>
                    <a:pt x="89" y="624"/>
                  </a:lnTo>
                  <a:lnTo>
                    <a:pt x="143" y="624"/>
                  </a:lnTo>
                  <a:lnTo>
                    <a:pt x="160" y="642"/>
                  </a:lnTo>
                  <a:lnTo>
                    <a:pt x="203" y="642"/>
                  </a:lnTo>
                  <a:lnTo>
                    <a:pt x="232" y="672"/>
                  </a:lnTo>
                  <a:lnTo>
                    <a:pt x="276" y="672"/>
                  </a:lnTo>
                  <a:lnTo>
                    <a:pt x="294" y="688"/>
                  </a:lnTo>
                  <a:lnTo>
                    <a:pt x="294" y="708"/>
                  </a:lnTo>
                  <a:lnTo>
                    <a:pt x="324" y="738"/>
                  </a:lnTo>
                  <a:lnTo>
                    <a:pt x="324" y="769"/>
                  </a:lnTo>
                  <a:lnTo>
                    <a:pt x="303" y="769"/>
                  </a:lnTo>
                  <a:lnTo>
                    <a:pt x="257" y="813"/>
                  </a:lnTo>
                  <a:lnTo>
                    <a:pt x="166" y="813"/>
                  </a:lnTo>
                  <a:lnTo>
                    <a:pt x="143" y="790"/>
                  </a:lnTo>
                  <a:lnTo>
                    <a:pt x="125" y="808"/>
                  </a:lnTo>
                  <a:lnTo>
                    <a:pt x="166" y="849"/>
                  </a:lnTo>
                  <a:lnTo>
                    <a:pt x="152" y="861"/>
                  </a:lnTo>
                  <a:lnTo>
                    <a:pt x="152" y="908"/>
                  </a:lnTo>
                  <a:lnTo>
                    <a:pt x="198" y="954"/>
                  </a:lnTo>
                  <a:lnTo>
                    <a:pt x="214" y="938"/>
                  </a:lnTo>
                  <a:lnTo>
                    <a:pt x="239" y="963"/>
                  </a:lnTo>
                  <a:lnTo>
                    <a:pt x="282" y="920"/>
                  </a:lnTo>
                  <a:lnTo>
                    <a:pt x="323" y="920"/>
                  </a:lnTo>
                  <a:lnTo>
                    <a:pt x="323" y="870"/>
                  </a:lnTo>
                  <a:lnTo>
                    <a:pt x="374" y="819"/>
                  </a:lnTo>
                  <a:lnTo>
                    <a:pt x="415" y="860"/>
                  </a:lnTo>
                  <a:lnTo>
                    <a:pt x="415" y="824"/>
                  </a:lnTo>
                  <a:lnTo>
                    <a:pt x="383" y="792"/>
                  </a:lnTo>
                  <a:lnTo>
                    <a:pt x="383" y="701"/>
                  </a:lnTo>
                  <a:lnTo>
                    <a:pt x="412" y="672"/>
                  </a:lnTo>
                  <a:lnTo>
                    <a:pt x="444" y="672"/>
                  </a:lnTo>
                  <a:lnTo>
                    <a:pt x="444" y="737"/>
                  </a:lnTo>
                  <a:lnTo>
                    <a:pt x="431" y="751"/>
                  </a:lnTo>
                  <a:lnTo>
                    <a:pt x="492" y="810"/>
                  </a:lnTo>
                  <a:lnTo>
                    <a:pt x="581" y="720"/>
                  </a:lnTo>
                  <a:lnTo>
                    <a:pt x="562" y="701"/>
                  </a:lnTo>
                  <a:lnTo>
                    <a:pt x="603" y="660"/>
                  </a:lnTo>
                  <a:lnTo>
                    <a:pt x="645" y="660"/>
                  </a:lnTo>
                  <a:lnTo>
                    <a:pt x="645" y="713"/>
                  </a:lnTo>
                  <a:lnTo>
                    <a:pt x="670" y="687"/>
                  </a:lnTo>
                  <a:lnTo>
                    <a:pt x="736" y="687"/>
                  </a:lnTo>
                  <a:lnTo>
                    <a:pt x="754" y="669"/>
                  </a:lnTo>
                  <a:lnTo>
                    <a:pt x="774" y="688"/>
                  </a:lnTo>
                  <a:lnTo>
                    <a:pt x="804" y="688"/>
                  </a:lnTo>
                  <a:lnTo>
                    <a:pt x="838" y="655"/>
                  </a:lnTo>
                  <a:lnTo>
                    <a:pt x="817" y="631"/>
                  </a:lnTo>
                  <a:lnTo>
                    <a:pt x="817" y="594"/>
                  </a:lnTo>
                  <a:lnTo>
                    <a:pt x="943" y="594"/>
                  </a:lnTo>
                  <a:lnTo>
                    <a:pt x="943" y="638"/>
                  </a:lnTo>
                  <a:lnTo>
                    <a:pt x="1000" y="696"/>
                  </a:lnTo>
                  <a:lnTo>
                    <a:pt x="1013" y="683"/>
                  </a:lnTo>
                  <a:lnTo>
                    <a:pt x="1013" y="649"/>
                  </a:lnTo>
                  <a:lnTo>
                    <a:pt x="974" y="610"/>
                  </a:lnTo>
                  <a:lnTo>
                    <a:pt x="974" y="528"/>
                  </a:lnTo>
                  <a:lnTo>
                    <a:pt x="1020" y="480"/>
                  </a:lnTo>
                  <a:lnTo>
                    <a:pt x="1020" y="439"/>
                  </a:lnTo>
                  <a:lnTo>
                    <a:pt x="991" y="410"/>
                  </a:lnTo>
                  <a:lnTo>
                    <a:pt x="991" y="389"/>
                  </a:lnTo>
                  <a:lnTo>
                    <a:pt x="1013" y="366"/>
                  </a:lnTo>
                  <a:lnTo>
                    <a:pt x="1097" y="366"/>
                  </a:lnTo>
                  <a:lnTo>
                    <a:pt x="1097" y="391"/>
                  </a:lnTo>
                  <a:lnTo>
                    <a:pt x="1072" y="414"/>
                  </a:lnTo>
                  <a:lnTo>
                    <a:pt x="1072" y="458"/>
                  </a:lnTo>
                  <a:lnTo>
                    <a:pt x="1040" y="489"/>
                  </a:lnTo>
                  <a:lnTo>
                    <a:pt x="1072" y="519"/>
                  </a:lnTo>
                  <a:lnTo>
                    <a:pt x="1072" y="589"/>
                  </a:lnTo>
                  <a:lnTo>
                    <a:pt x="1104" y="621"/>
                  </a:lnTo>
                  <a:lnTo>
                    <a:pt x="1104" y="656"/>
                  </a:lnTo>
                  <a:lnTo>
                    <a:pt x="1134" y="687"/>
                  </a:lnTo>
                  <a:lnTo>
                    <a:pt x="1134" y="738"/>
                  </a:lnTo>
                  <a:lnTo>
                    <a:pt x="1068" y="806"/>
                  </a:lnTo>
                  <a:lnTo>
                    <a:pt x="1091" y="831"/>
                  </a:lnTo>
                  <a:lnTo>
                    <a:pt x="1114" y="831"/>
                  </a:lnTo>
                  <a:lnTo>
                    <a:pt x="1114" y="799"/>
                  </a:lnTo>
                  <a:lnTo>
                    <a:pt x="1159" y="753"/>
                  </a:lnTo>
                  <a:lnTo>
                    <a:pt x="1159" y="704"/>
                  </a:lnTo>
                  <a:lnTo>
                    <a:pt x="1175" y="688"/>
                  </a:lnTo>
                  <a:lnTo>
                    <a:pt x="1175" y="651"/>
                  </a:lnTo>
                  <a:lnTo>
                    <a:pt x="1198" y="672"/>
                  </a:lnTo>
                  <a:lnTo>
                    <a:pt x="1198" y="699"/>
                  </a:lnTo>
                  <a:lnTo>
                    <a:pt x="1241" y="742"/>
                  </a:lnTo>
                  <a:lnTo>
                    <a:pt x="1241" y="720"/>
                  </a:lnTo>
                  <a:lnTo>
                    <a:pt x="1205" y="685"/>
                  </a:lnTo>
                  <a:lnTo>
                    <a:pt x="1205" y="660"/>
                  </a:lnTo>
                  <a:lnTo>
                    <a:pt x="1147" y="603"/>
                  </a:lnTo>
                  <a:lnTo>
                    <a:pt x="1147" y="540"/>
                  </a:lnTo>
                  <a:lnTo>
                    <a:pt x="1109" y="503"/>
                  </a:lnTo>
                  <a:lnTo>
                    <a:pt x="1109" y="469"/>
                  </a:lnTo>
                  <a:lnTo>
                    <a:pt x="1122" y="458"/>
                  </a:lnTo>
                  <a:lnTo>
                    <a:pt x="1122" y="410"/>
                  </a:lnTo>
                  <a:lnTo>
                    <a:pt x="1136" y="394"/>
                  </a:lnTo>
                  <a:lnTo>
                    <a:pt x="1182" y="394"/>
                  </a:lnTo>
                  <a:lnTo>
                    <a:pt x="1163" y="414"/>
                  </a:lnTo>
                  <a:lnTo>
                    <a:pt x="1163" y="524"/>
                  </a:lnTo>
                  <a:lnTo>
                    <a:pt x="1207" y="524"/>
                  </a:lnTo>
                  <a:lnTo>
                    <a:pt x="1207" y="496"/>
                  </a:lnTo>
                  <a:lnTo>
                    <a:pt x="1188" y="476"/>
                  </a:lnTo>
                  <a:lnTo>
                    <a:pt x="1188" y="437"/>
                  </a:lnTo>
                  <a:lnTo>
                    <a:pt x="1205" y="421"/>
                  </a:lnTo>
                  <a:lnTo>
                    <a:pt x="1243" y="421"/>
                  </a:lnTo>
                  <a:lnTo>
                    <a:pt x="1296" y="474"/>
                  </a:lnTo>
                  <a:lnTo>
                    <a:pt x="1309" y="462"/>
                  </a:lnTo>
                  <a:lnTo>
                    <a:pt x="1323" y="478"/>
                  </a:lnTo>
                  <a:lnTo>
                    <a:pt x="1323" y="499"/>
                  </a:lnTo>
                  <a:lnTo>
                    <a:pt x="1311" y="514"/>
                  </a:lnTo>
                  <a:lnTo>
                    <a:pt x="1311" y="583"/>
                  </a:lnTo>
                  <a:lnTo>
                    <a:pt x="1352" y="583"/>
                  </a:lnTo>
                  <a:lnTo>
                    <a:pt x="1373" y="564"/>
                  </a:lnTo>
                  <a:lnTo>
                    <a:pt x="1373" y="482"/>
                  </a:lnTo>
                  <a:lnTo>
                    <a:pt x="1277" y="385"/>
                  </a:lnTo>
                  <a:lnTo>
                    <a:pt x="1277" y="341"/>
                  </a:lnTo>
                  <a:lnTo>
                    <a:pt x="1311" y="307"/>
                  </a:lnTo>
                  <a:lnTo>
                    <a:pt x="1353" y="307"/>
                  </a:lnTo>
                  <a:lnTo>
                    <a:pt x="1353" y="287"/>
                  </a:lnTo>
                  <a:lnTo>
                    <a:pt x="1368" y="271"/>
                  </a:lnTo>
                  <a:lnTo>
                    <a:pt x="1368" y="250"/>
                  </a:lnTo>
                  <a:lnTo>
                    <a:pt x="1393" y="227"/>
                  </a:lnTo>
                  <a:lnTo>
                    <a:pt x="1428" y="227"/>
                  </a:lnTo>
                  <a:lnTo>
                    <a:pt x="1453" y="200"/>
                  </a:lnTo>
                  <a:lnTo>
                    <a:pt x="1475" y="200"/>
                  </a:lnTo>
                  <a:lnTo>
                    <a:pt x="1516" y="159"/>
                  </a:lnTo>
                  <a:lnTo>
                    <a:pt x="1516" y="127"/>
                  </a:lnTo>
                  <a:lnTo>
                    <a:pt x="1534" y="109"/>
                  </a:lnTo>
                  <a:lnTo>
                    <a:pt x="1564" y="109"/>
                  </a:lnTo>
                  <a:lnTo>
                    <a:pt x="1583" y="129"/>
                  </a:lnTo>
                  <a:lnTo>
                    <a:pt x="1619" y="129"/>
                  </a:lnTo>
                  <a:lnTo>
                    <a:pt x="1635" y="113"/>
                  </a:lnTo>
                  <a:lnTo>
                    <a:pt x="1658" y="136"/>
                  </a:lnTo>
                  <a:lnTo>
                    <a:pt x="1658" y="95"/>
                  </a:lnTo>
                  <a:lnTo>
                    <a:pt x="1685" y="95"/>
                  </a:lnTo>
                  <a:lnTo>
                    <a:pt x="1685" y="70"/>
                  </a:lnTo>
                  <a:lnTo>
                    <a:pt x="1707" y="48"/>
                  </a:lnTo>
                  <a:lnTo>
                    <a:pt x="1682" y="24"/>
                  </a:lnTo>
                  <a:lnTo>
                    <a:pt x="1703" y="0"/>
                  </a:lnTo>
                  <a:lnTo>
                    <a:pt x="1771" y="0"/>
                  </a:lnTo>
                  <a:lnTo>
                    <a:pt x="1837" y="66"/>
                  </a:lnTo>
                  <a:lnTo>
                    <a:pt x="1810" y="93"/>
                  </a:lnTo>
                  <a:lnTo>
                    <a:pt x="1842" y="93"/>
                  </a:lnTo>
                  <a:lnTo>
                    <a:pt x="1865" y="68"/>
                  </a:lnTo>
                  <a:lnTo>
                    <a:pt x="1906" y="68"/>
                  </a:lnTo>
                  <a:lnTo>
                    <a:pt x="1926" y="86"/>
                  </a:lnTo>
                  <a:lnTo>
                    <a:pt x="1960" y="86"/>
                  </a:lnTo>
                  <a:lnTo>
                    <a:pt x="2008" y="136"/>
                  </a:lnTo>
                  <a:lnTo>
                    <a:pt x="2008" y="225"/>
                  </a:lnTo>
                  <a:lnTo>
                    <a:pt x="1985" y="248"/>
                  </a:lnTo>
                  <a:lnTo>
                    <a:pt x="1944" y="248"/>
                  </a:lnTo>
                  <a:lnTo>
                    <a:pt x="1919" y="273"/>
                  </a:lnTo>
                  <a:lnTo>
                    <a:pt x="1919" y="312"/>
                  </a:lnTo>
                  <a:lnTo>
                    <a:pt x="1897" y="335"/>
                  </a:lnTo>
                  <a:lnTo>
                    <a:pt x="1910" y="348"/>
                  </a:lnTo>
                  <a:lnTo>
                    <a:pt x="1947" y="309"/>
                  </a:lnTo>
                  <a:lnTo>
                    <a:pt x="1981" y="309"/>
                  </a:lnTo>
                  <a:lnTo>
                    <a:pt x="1995" y="323"/>
                  </a:lnTo>
                  <a:lnTo>
                    <a:pt x="2045" y="323"/>
                  </a:lnTo>
                  <a:lnTo>
                    <a:pt x="2061" y="339"/>
                  </a:lnTo>
                  <a:lnTo>
                    <a:pt x="2129" y="339"/>
                  </a:lnTo>
                  <a:lnTo>
                    <a:pt x="2143" y="355"/>
                  </a:lnTo>
                  <a:lnTo>
                    <a:pt x="2143" y="373"/>
                  </a:lnTo>
                  <a:lnTo>
                    <a:pt x="2163" y="392"/>
                  </a:lnTo>
                  <a:lnTo>
                    <a:pt x="2238" y="392"/>
                  </a:lnTo>
                  <a:lnTo>
                    <a:pt x="2256" y="375"/>
                  </a:lnTo>
                  <a:lnTo>
                    <a:pt x="2233" y="351"/>
                  </a:lnTo>
                  <a:lnTo>
                    <a:pt x="2266" y="318"/>
                  </a:lnTo>
                  <a:lnTo>
                    <a:pt x="2300" y="351"/>
                  </a:lnTo>
                  <a:lnTo>
                    <a:pt x="2354" y="351"/>
                  </a:lnTo>
                  <a:lnTo>
                    <a:pt x="2398" y="394"/>
                  </a:lnTo>
                  <a:lnTo>
                    <a:pt x="2398" y="410"/>
                  </a:lnTo>
                  <a:lnTo>
                    <a:pt x="2423" y="435"/>
                  </a:lnTo>
                  <a:lnTo>
                    <a:pt x="2423" y="485"/>
                  </a:lnTo>
                  <a:lnTo>
                    <a:pt x="2407" y="501"/>
                  </a:lnTo>
                  <a:lnTo>
                    <a:pt x="2447" y="540"/>
                  </a:lnTo>
                  <a:lnTo>
                    <a:pt x="2464" y="523"/>
                  </a:lnTo>
                  <a:lnTo>
                    <a:pt x="2464" y="496"/>
                  </a:lnTo>
                  <a:lnTo>
                    <a:pt x="2488" y="473"/>
                  </a:lnTo>
                  <a:lnTo>
                    <a:pt x="2509" y="494"/>
                  </a:lnTo>
                  <a:lnTo>
                    <a:pt x="2559" y="494"/>
                  </a:lnTo>
                  <a:lnTo>
                    <a:pt x="2616" y="551"/>
                  </a:lnTo>
                  <a:lnTo>
                    <a:pt x="2616" y="505"/>
                  </a:lnTo>
                  <a:lnTo>
                    <a:pt x="2628" y="494"/>
                  </a:lnTo>
                  <a:lnTo>
                    <a:pt x="2628" y="469"/>
                  </a:lnTo>
                  <a:lnTo>
                    <a:pt x="2650" y="469"/>
                  </a:lnTo>
                  <a:lnTo>
                    <a:pt x="2650" y="450"/>
                  </a:lnTo>
                  <a:lnTo>
                    <a:pt x="2657" y="441"/>
                  </a:lnTo>
                  <a:lnTo>
                    <a:pt x="2782" y="441"/>
                  </a:lnTo>
                  <a:lnTo>
                    <a:pt x="2801" y="462"/>
                  </a:lnTo>
                  <a:lnTo>
                    <a:pt x="2834" y="462"/>
                  </a:lnTo>
                  <a:lnTo>
                    <a:pt x="2862" y="489"/>
                  </a:lnTo>
                  <a:lnTo>
                    <a:pt x="2862" y="507"/>
                  </a:lnTo>
                  <a:lnTo>
                    <a:pt x="2889" y="533"/>
                  </a:lnTo>
                  <a:lnTo>
                    <a:pt x="2914" y="533"/>
                  </a:lnTo>
                  <a:lnTo>
                    <a:pt x="2948" y="567"/>
                  </a:lnTo>
                  <a:lnTo>
                    <a:pt x="2924" y="589"/>
                  </a:lnTo>
                  <a:lnTo>
                    <a:pt x="2994" y="589"/>
                  </a:lnTo>
                  <a:lnTo>
                    <a:pt x="3008" y="574"/>
                  </a:lnTo>
                  <a:lnTo>
                    <a:pt x="3085" y="574"/>
                  </a:lnTo>
                  <a:lnTo>
                    <a:pt x="3117" y="606"/>
                  </a:lnTo>
                  <a:lnTo>
                    <a:pt x="3117" y="635"/>
                  </a:lnTo>
                  <a:lnTo>
                    <a:pt x="3149" y="635"/>
                  </a:lnTo>
                  <a:lnTo>
                    <a:pt x="3163" y="647"/>
                  </a:lnTo>
                  <a:lnTo>
                    <a:pt x="3226" y="647"/>
                  </a:lnTo>
                  <a:lnTo>
                    <a:pt x="3253" y="674"/>
                  </a:lnTo>
                  <a:lnTo>
                    <a:pt x="3294" y="674"/>
                  </a:lnTo>
                  <a:lnTo>
                    <a:pt x="3347" y="726"/>
                  </a:lnTo>
                  <a:lnTo>
                    <a:pt x="3347" y="669"/>
                  </a:lnTo>
                  <a:lnTo>
                    <a:pt x="3367" y="647"/>
                  </a:lnTo>
                  <a:lnTo>
                    <a:pt x="3474" y="647"/>
                  </a:lnTo>
                  <a:lnTo>
                    <a:pt x="3486" y="660"/>
                  </a:lnTo>
                  <a:lnTo>
                    <a:pt x="3486" y="683"/>
                  </a:lnTo>
                  <a:lnTo>
                    <a:pt x="3506" y="701"/>
                  </a:lnTo>
                  <a:lnTo>
                    <a:pt x="3549" y="701"/>
                  </a:lnTo>
                  <a:lnTo>
                    <a:pt x="3574" y="728"/>
                  </a:lnTo>
                  <a:lnTo>
                    <a:pt x="3602" y="728"/>
                  </a:lnTo>
                  <a:lnTo>
                    <a:pt x="3652" y="778"/>
                  </a:lnTo>
                  <a:lnTo>
                    <a:pt x="3688" y="778"/>
                  </a:lnTo>
                  <a:lnTo>
                    <a:pt x="3713" y="801"/>
                  </a:lnTo>
                  <a:lnTo>
                    <a:pt x="3704" y="811"/>
                  </a:lnTo>
                  <a:lnTo>
                    <a:pt x="3736" y="843"/>
                  </a:lnTo>
                  <a:lnTo>
                    <a:pt x="3768" y="843"/>
                  </a:lnTo>
                  <a:lnTo>
                    <a:pt x="3768" y="861"/>
                  </a:lnTo>
                  <a:lnTo>
                    <a:pt x="3791" y="861"/>
                  </a:lnTo>
                  <a:lnTo>
                    <a:pt x="3848" y="920"/>
                  </a:lnTo>
                  <a:lnTo>
                    <a:pt x="3848" y="936"/>
                  </a:lnTo>
                  <a:lnTo>
                    <a:pt x="3821" y="936"/>
                  </a:lnTo>
                  <a:lnTo>
                    <a:pt x="3821" y="966"/>
                  </a:lnTo>
                  <a:lnTo>
                    <a:pt x="3802" y="986"/>
                  </a:lnTo>
                  <a:lnTo>
                    <a:pt x="3788" y="970"/>
                  </a:lnTo>
                  <a:lnTo>
                    <a:pt x="3761" y="970"/>
                  </a:lnTo>
                  <a:lnTo>
                    <a:pt x="3714" y="924"/>
                  </a:lnTo>
                  <a:lnTo>
                    <a:pt x="3665" y="924"/>
                  </a:lnTo>
                  <a:lnTo>
                    <a:pt x="3625" y="884"/>
                  </a:lnTo>
                  <a:lnTo>
                    <a:pt x="3604" y="884"/>
                  </a:lnTo>
                  <a:lnTo>
                    <a:pt x="3604" y="933"/>
                  </a:lnTo>
                  <a:lnTo>
                    <a:pt x="3620" y="933"/>
                  </a:lnTo>
                  <a:lnTo>
                    <a:pt x="3643" y="956"/>
                  </a:lnTo>
                  <a:lnTo>
                    <a:pt x="3627" y="974"/>
                  </a:lnTo>
                  <a:lnTo>
                    <a:pt x="3600" y="974"/>
                  </a:lnTo>
                  <a:lnTo>
                    <a:pt x="3600" y="1002"/>
                  </a:lnTo>
                  <a:lnTo>
                    <a:pt x="3632" y="1002"/>
                  </a:lnTo>
                  <a:lnTo>
                    <a:pt x="3648" y="1020"/>
                  </a:lnTo>
                  <a:lnTo>
                    <a:pt x="3648" y="1038"/>
                  </a:lnTo>
                  <a:lnTo>
                    <a:pt x="3663" y="1050"/>
                  </a:lnTo>
                  <a:lnTo>
                    <a:pt x="3663" y="1095"/>
                  </a:lnTo>
                  <a:lnTo>
                    <a:pt x="3638" y="1095"/>
                  </a:lnTo>
                  <a:lnTo>
                    <a:pt x="3627" y="1107"/>
                  </a:lnTo>
                  <a:lnTo>
                    <a:pt x="3577" y="1107"/>
                  </a:lnTo>
                  <a:lnTo>
                    <a:pt x="3577" y="1141"/>
                  </a:lnTo>
                  <a:lnTo>
                    <a:pt x="3500" y="1218"/>
                  </a:lnTo>
                  <a:lnTo>
                    <a:pt x="3477" y="1193"/>
                  </a:lnTo>
                  <a:lnTo>
                    <a:pt x="3436" y="1193"/>
                  </a:lnTo>
                  <a:lnTo>
                    <a:pt x="3402" y="1228"/>
                  </a:lnTo>
                  <a:lnTo>
                    <a:pt x="3402" y="1204"/>
                  </a:lnTo>
                  <a:lnTo>
                    <a:pt x="3374" y="1232"/>
                  </a:lnTo>
                  <a:lnTo>
                    <a:pt x="3342" y="1232"/>
                  </a:lnTo>
                  <a:lnTo>
                    <a:pt x="3319" y="1253"/>
                  </a:lnTo>
                  <a:lnTo>
                    <a:pt x="3338" y="1273"/>
                  </a:lnTo>
                  <a:lnTo>
                    <a:pt x="3338" y="1327"/>
                  </a:lnTo>
                  <a:lnTo>
                    <a:pt x="3374" y="1362"/>
                  </a:lnTo>
                  <a:lnTo>
                    <a:pt x="3374" y="1410"/>
                  </a:lnTo>
                  <a:lnTo>
                    <a:pt x="3344" y="1441"/>
                  </a:lnTo>
                  <a:lnTo>
                    <a:pt x="3344" y="1505"/>
                  </a:lnTo>
                  <a:lnTo>
                    <a:pt x="3320" y="1505"/>
                  </a:lnTo>
                  <a:lnTo>
                    <a:pt x="3320" y="1565"/>
                  </a:lnTo>
                  <a:lnTo>
                    <a:pt x="3301" y="1565"/>
                  </a:lnTo>
                  <a:lnTo>
                    <a:pt x="3301" y="1633"/>
                  </a:lnTo>
                  <a:lnTo>
                    <a:pt x="3281" y="1653"/>
                  </a:lnTo>
                  <a:lnTo>
                    <a:pt x="3260" y="1653"/>
                  </a:lnTo>
                  <a:lnTo>
                    <a:pt x="3260" y="1594"/>
                  </a:lnTo>
                  <a:lnTo>
                    <a:pt x="3238" y="1573"/>
                  </a:lnTo>
                  <a:lnTo>
                    <a:pt x="3238" y="1505"/>
                  </a:lnTo>
                  <a:lnTo>
                    <a:pt x="3217" y="1483"/>
                  </a:lnTo>
                  <a:lnTo>
                    <a:pt x="3217" y="1400"/>
                  </a:lnTo>
                  <a:lnTo>
                    <a:pt x="3240" y="1376"/>
                  </a:lnTo>
                  <a:lnTo>
                    <a:pt x="3240" y="1346"/>
                  </a:lnTo>
                  <a:lnTo>
                    <a:pt x="3265" y="1319"/>
                  </a:lnTo>
                  <a:lnTo>
                    <a:pt x="3265" y="1268"/>
                  </a:lnTo>
                  <a:lnTo>
                    <a:pt x="3347" y="1186"/>
                  </a:lnTo>
                  <a:lnTo>
                    <a:pt x="3331" y="1170"/>
                  </a:lnTo>
                  <a:lnTo>
                    <a:pt x="3331" y="1118"/>
                  </a:lnTo>
                  <a:lnTo>
                    <a:pt x="3331" y="1105"/>
                  </a:lnTo>
                  <a:lnTo>
                    <a:pt x="3276" y="1105"/>
                  </a:lnTo>
                  <a:lnTo>
                    <a:pt x="3304" y="1136"/>
                  </a:lnTo>
                  <a:lnTo>
                    <a:pt x="3263" y="1177"/>
                  </a:lnTo>
                  <a:lnTo>
                    <a:pt x="3221" y="1132"/>
                  </a:lnTo>
                  <a:lnTo>
                    <a:pt x="3156" y="1195"/>
                  </a:lnTo>
                  <a:lnTo>
                    <a:pt x="3130" y="1195"/>
                  </a:lnTo>
                  <a:lnTo>
                    <a:pt x="3112" y="1212"/>
                  </a:lnTo>
                  <a:lnTo>
                    <a:pt x="3030" y="1212"/>
                  </a:lnTo>
                  <a:lnTo>
                    <a:pt x="3015" y="1228"/>
                  </a:lnTo>
                  <a:lnTo>
                    <a:pt x="2999" y="1212"/>
                  </a:lnTo>
                  <a:lnTo>
                    <a:pt x="2969" y="1212"/>
                  </a:lnTo>
                  <a:lnTo>
                    <a:pt x="2933" y="1248"/>
                  </a:lnTo>
                  <a:lnTo>
                    <a:pt x="2889" y="1248"/>
                  </a:lnTo>
                  <a:lnTo>
                    <a:pt x="2889" y="1230"/>
                  </a:lnTo>
                  <a:lnTo>
                    <a:pt x="2873" y="1230"/>
                  </a:lnTo>
                  <a:lnTo>
                    <a:pt x="2844" y="1259"/>
                  </a:lnTo>
                  <a:lnTo>
                    <a:pt x="2844" y="1305"/>
                  </a:lnTo>
                  <a:lnTo>
                    <a:pt x="2825" y="1325"/>
                  </a:lnTo>
                  <a:lnTo>
                    <a:pt x="2825" y="1375"/>
                  </a:lnTo>
                  <a:lnTo>
                    <a:pt x="2791" y="1409"/>
                  </a:lnTo>
                  <a:lnTo>
                    <a:pt x="2791" y="1458"/>
                  </a:lnTo>
                  <a:lnTo>
                    <a:pt x="2817" y="1458"/>
                  </a:lnTo>
                  <a:lnTo>
                    <a:pt x="2817" y="1492"/>
                  </a:lnTo>
                  <a:lnTo>
                    <a:pt x="2835" y="1510"/>
                  </a:lnTo>
                  <a:lnTo>
                    <a:pt x="2850" y="1510"/>
                  </a:lnTo>
                  <a:lnTo>
                    <a:pt x="2864" y="1496"/>
                  </a:lnTo>
                  <a:lnTo>
                    <a:pt x="2891" y="1496"/>
                  </a:lnTo>
                  <a:lnTo>
                    <a:pt x="2930" y="1533"/>
                  </a:lnTo>
                  <a:lnTo>
                    <a:pt x="2930" y="1580"/>
                  </a:lnTo>
                  <a:lnTo>
                    <a:pt x="2919" y="1590"/>
                  </a:lnTo>
                  <a:lnTo>
                    <a:pt x="2919" y="1646"/>
                  </a:lnTo>
                  <a:lnTo>
                    <a:pt x="2905" y="1660"/>
                  </a:lnTo>
                  <a:lnTo>
                    <a:pt x="2905" y="1697"/>
                  </a:lnTo>
                  <a:lnTo>
                    <a:pt x="2892" y="1710"/>
                  </a:lnTo>
                  <a:lnTo>
                    <a:pt x="2892" y="1756"/>
                  </a:lnTo>
                  <a:lnTo>
                    <a:pt x="2875" y="1774"/>
                  </a:lnTo>
                  <a:lnTo>
                    <a:pt x="2848" y="1774"/>
                  </a:lnTo>
                  <a:lnTo>
                    <a:pt x="2848" y="1835"/>
                  </a:lnTo>
                  <a:lnTo>
                    <a:pt x="2768" y="1915"/>
                  </a:lnTo>
                  <a:lnTo>
                    <a:pt x="2698" y="1915"/>
                  </a:lnTo>
                  <a:lnTo>
                    <a:pt x="2668" y="1945"/>
                  </a:lnTo>
                  <a:lnTo>
                    <a:pt x="2668" y="1943"/>
                  </a:lnTo>
                  <a:lnTo>
                    <a:pt x="2668" y="1931"/>
                  </a:lnTo>
                  <a:lnTo>
                    <a:pt x="2668" y="1860"/>
                  </a:lnTo>
                  <a:lnTo>
                    <a:pt x="2693" y="1835"/>
                  </a:lnTo>
                  <a:lnTo>
                    <a:pt x="2759" y="1769"/>
                  </a:lnTo>
                  <a:lnTo>
                    <a:pt x="2759" y="1740"/>
                  </a:lnTo>
                  <a:lnTo>
                    <a:pt x="2712" y="1740"/>
                  </a:lnTo>
                  <a:lnTo>
                    <a:pt x="2691" y="1719"/>
                  </a:lnTo>
                  <a:lnTo>
                    <a:pt x="2641" y="1669"/>
                  </a:lnTo>
                  <a:lnTo>
                    <a:pt x="2577" y="1669"/>
                  </a:lnTo>
                  <a:lnTo>
                    <a:pt x="2577" y="1553"/>
                  </a:lnTo>
                  <a:lnTo>
                    <a:pt x="2529" y="1505"/>
                  </a:lnTo>
                  <a:lnTo>
                    <a:pt x="2406" y="1505"/>
                  </a:lnTo>
                  <a:lnTo>
                    <a:pt x="2373" y="1535"/>
                  </a:lnTo>
                  <a:lnTo>
                    <a:pt x="2373" y="1555"/>
                  </a:lnTo>
                  <a:lnTo>
                    <a:pt x="2429" y="1555"/>
                  </a:lnTo>
                  <a:lnTo>
                    <a:pt x="2429" y="1580"/>
                  </a:lnTo>
                  <a:lnTo>
                    <a:pt x="2382" y="1626"/>
                  </a:lnTo>
                  <a:lnTo>
                    <a:pt x="2347" y="1662"/>
                  </a:lnTo>
                  <a:lnTo>
                    <a:pt x="2295" y="1662"/>
                  </a:lnTo>
                  <a:lnTo>
                    <a:pt x="2233" y="1662"/>
                  </a:lnTo>
                  <a:lnTo>
                    <a:pt x="2202" y="1694"/>
                  </a:lnTo>
                  <a:lnTo>
                    <a:pt x="2097" y="1694"/>
                  </a:lnTo>
                  <a:lnTo>
                    <a:pt x="2069" y="1665"/>
                  </a:lnTo>
                  <a:lnTo>
                    <a:pt x="2026" y="1622"/>
                  </a:lnTo>
                  <a:lnTo>
                    <a:pt x="1974" y="1622"/>
                  </a:lnTo>
                  <a:lnTo>
                    <a:pt x="1915" y="1622"/>
                  </a:lnTo>
                  <a:lnTo>
                    <a:pt x="1915" y="1574"/>
                  </a:lnTo>
                  <a:lnTo>
                    <a:pt x="1863" y="1574"/>
                  </a:lnTo>
                  <a:lnTo>
                    <a:pt x="1814" y="1624"/>
                  </a:lnTo>
                  <a:lnTo>
                    <a:pt x="1814" y="1669"/>
                  </a:lnTo>
                  <a:lnTo>
                    <a:pt x="1762" y="1669"/>
                  </a:lnTo>
                  <a:lnTo>
                    <a:pt x="1717" y="1626"/>
                  </a:lnTo>
                  <a:lnTo>
                    <a:pt x="1642" y="1626"/>
                  </a:lnTo>
                  <a:lnTo>
                    <a:pt x="1566" y="1701"/>
                  </a:lnTo>
                  <a:lnTo>
                    <a:pt x="1551" y="1701"/>
                  </a:lnTo>
                  <a:lnTo>
                    <a:pt x="1541" y="1701"/>
                  </a:lnTo>
                  <a:lnTo>
                    <a:pt x="1541" y="1678"/>
                  </a:lnTo>
                  <a:lnTo>
                    <a:pt x="1509" y="1678"/>
                  </a:lnTo>
                  <a:lnTo>
                    <a:pt x="1460" y="1630"/>
                  </a:lnTo>
                  <a:lnTo>
                    <a:pt x="1387" y="1630"/>
                  </a:lnTo>
                  <a:lnTo>
                    <a:pt x="1280" y="1523"/>
                  </a:lnTo>
                  <a:lnTo>
                    <a:pt x="1280" y="1480"/>
                  </a:lnTo>
                  <a:lnTo>
                    <a:pt x="1264" y="1464"/>
                  </a:lnTo>
                  <a:lnTo>
                    <a:pt x="1236" y="1491"/>
                  </a:lnTo>
                  <a:lnTo>
                    <a:pt x="1175" y="1491"/>
                  </a:lnTo>
                  <a:lnTo>
                    <a:pt x="1143" y="1460"/>
                  </a:lnTo>
                  <a:lnTo>
                    <a:pt x="1106" y="1421"/>
                  </a:lnTo>
                  <a:lnTo>
                    <a:pt x="1006" y="1421"/>
                  </a:lnTo>
                  <a:lnTo>
                    <a:pt x="943" y="1485"/>
                  </a:lnTo>
                  <a:lnTo>
                    <a:pt x="843" y="1485"/>
                  </a:lnTo>
                  <a:lnTo>
                    <a:pt x="843" y="1569"/>
                  </a:lnTo>
                  <a:lnTo>
                    <a:pt x="874" y="1599"/>
                  </a:lnTo>
                  <a:lnTo>
                    <a:pt x="859" y="1612"/>
                  </a:lnTo>
                  <a:lnTo>
                    <a:pt x="758" y="1612"/>
                  </a:lnTo>
                  <a:lnTo>
                    <a:pt x="710" y="1612"/>
                  </a:lnTo>
                  <a:lnTo>
                    <a:pt x="679" y="1581"/>
                  </a:lnTo>
                  <a:lnTo>
                    <a:pt x="587" y="1581"/>
                  </a:lnTo>
                  <a:lnTo>
                    <a:pt x="535" y="1631"/>
                  </a:lnTo>
                  <a:lnTo>
                    <a:pt x="535" y="1662"/>
                  </a:lnTo>
                  <a:lnTo>
                    <a:pt x="501" y="1626"/>
                  </a:lnTo>
                  <a:lnTo>
                    <a:pt x="501" y="1703"/>
                  </a:lnTo>
                  <a:lnTo>
                    <a:pt x="551" y="1754"/>
                  </a:lnTo>
                  <a:lnTo>
                    <a:pt x="551" y="1772"/>
                  </a:lnTo>
                  <a:lnTo>
                    <a:pt x="553" y="1772"/>
                  </a:lnTo>
                  <a:lnTo>
                    <a:pt x="553" y="1802"/>
                  </a:lnTo>
                  <a:lnTo>
                    <a:pt x="485" y="1870"/>
                  </a:lnTo>
                  <a:lnTo>
                    <a:pt x="512" y="1895"/>
                  </a:lnTo>
                  <a:lnTo>
                    <a:pt x="487" y="1922"/>
                  </a:lnTo>
                  <a:lnTo>
                    <a:pt x="528" y="1963"/>
                  </a:lnTo>
                  <a:lnTo>
                    <a:pt x="503" y="1988"/>
                  </a:lnTo>
                  <a:lnTo>
                    <a:pt x="458" y="1943"/>
                  </a:lnTo>
                  <a:lnTo>
                    <a:pt x="417" y="1943"/>
                  </a:lnTo>
                  <a:lnTo>
                    <a:pt x="380" y="1906"/>
                  </a:lnTo>
                  <a:lnTo>
                    <a:pt x="348" y="1906"/>
                  </a:lnTo>
                  <a:lnTo>
                    <a:pt x="324" y="1883"/>
                  </a:lnTo>
                  <a:lnTo>
                    <a:pt x="308" y="1899"/>
                  </a:lnTo>
                  <a:lnTo>
                    <a:pt x="308" y="1895"/>
                  </a:lnTo>
                  <a:lnTo>
                    <a:pt x="255" y="1895"/>
                  </a:lnTo>
                  <a:lnTo>
                    <a:pt x="235" y="1876"/>
                  </a:lnTo>
                  <a:lnTo>
                    <a:pt x="235" y="1845"/>
                  </a:lnTo>
                  <a:lnTo>
                    <a:pt x="267" y="1813"/>
                  </a:lnTo>
                  <a:lnTo>
                    <a:pt x="248" y="1794"/>
                  </a:lnTo>
                  <a:lnTo>
                    <a:pt x="267" y="1774"/>
                  </a:lnTo>
                  <a:lnTo>
                    <a:pt x="267" y="1772"/>
                  </a:lnTo>
                  <a:lnTo>
                    <a:pt x="269" y="1772"/>
                  </a:lnTo>
                  <a:lnTo>
                    <a:pt x="267" y="1776"/>
                  </a:lnTo>
                  <a:lnTo>
                    <a:pt x="287" y="1772"/>
                  </a:lnTo>
                  <a:lnTo>
                    <a:pt x="324" y="1772"/>
                  </a:lnTo>
                  <a:lnTo>
                    <a:pt x="341" y="1758"/>
                  </a:lnTo>
                  <a:lnTo>
                    <a:pt x="341" y="1733"/>
                  </a:lnTo>
                  <a:lnTo>
                    <a:pt x="319" y="1713"/>
                  </a:lnTo>
                  <a:lnTo>
                    <a:pt x="319" y="1687"/>
                  </a:lnTo>
                  <a:lnTo>
                    <a:pt x="294" y="1662"/>
                  </a:lnTo>
                  <a:lnTo>
                    <a:pt x="267" y="1662"/>
                  </a:lnTo>
                  <a:lnTo>
                    <a:pt x="234" y="1628"/>
                  </a:lnTo>
                  <a:lnTo>
                    <a:pt x="214" y="1647"/>
                  </a:lnTo>
                  <a:lnTo>
                    <a:pt x="193" y="1626"/>
                  </a:lnTo>
                  <a:lnTo>
                    <a:pt x="193" y="1603"/>
                  </a:lnTo>
                  <a:lnTo>
                    <a:pt x="176" y="1589"/>
                  </a:lnTo>
                  <a:lnTo>
                    <a:pt x="146" y="1558"/>
                  </a:lnTo>
                  <a:lnTo>
                    <a:pt x="110" y="1558"/>
                  </a:lnTo>
                  <a:lnTo>
                    <a:pt x="105" y="1553"/>
                  </a:lnTo>
                  <a:lnTo>
                    <a:pt x="96" y="1544"/>
                  </a:lnTo>
                  <a:lnTo>
                    <a:pt x="96" y="1517"/>
                  </a:lnTo>
                  <a:lnTo>
                    <a:pt x="128" y="1517"/>
                  </a:lnTo>
                  <a:lnTo>
                    <a:pt x="128" y="1501"/>
                  </a:lnTo>
                  <a:lnTo>
                    <a:pt x="100" y="1473"/>
                  </a:lnTo>
                  <a:lnTo>
                    <a:pt x="75" y="1448"/>
                  </a:lnTo>
                  <a:lnTo>
                    <a:pt x="75" y="1405"/>
                  </a:lnTo>
                  <a:lnTo>
                    <a:pt x="28" y="1405"/>
                  </a:lnTo>
                  <a:lnTo>
                    <a:pt x="14" y="1389"/>
                  </a:lnTo>
                  <a:lnTo>
                    <a:pt x="21" y="1382"/>
                  </a:lnTo>
                  <a:lnTo>
                    <a:pt x="21" y="1348"/>
                  </a:lnTo>
                  <a:lnTo>
                    <a:pt x="21" y="1314"/>
                  </a:lnTo>
                  <a:lnTo>
                    <a:pt x="14" y="1307"/>
                  </a:lnTo>
                  <a:lnTo>
                    <a:pt x="7" y="1300"/>
                  </a:lnTo>
                  <a:lnTo>
                    <a:pt x="0" y="1293"/>
                  </a:lnTo>
                  <a:lnTo>
                    <a:pt x="0" y="1253"/>
                  </a:lnTo>
                  <a:lnTo>
                    <a:pt x="0" y="1227"/>
                  </a:lnTo>
                  <a:lnTo>
                    <a:pt x="20" y="1205"/>
                  </a:lnTo>
                  <a:lnTo>
                    <a:pt x="36" y="120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1" name="Freeform 348">
              <a:extLst>
                <a:ext uri="{FF2B5EF4-FFF2-40B4-BE49-F238E27FC236}">
                  <a16:creationId xmlns:a16="http://schemas.microsoft.com/office/drawing/2014/main" id="{ED1727A3-CECB-4690-9755-D758D6127AE7}"/>
                </a:ext>
              </a:extLst>
            </p:cNvPr>
            <p:cNvSpPr>
              <a:spLocks/>
            </p:cNvSpPr>
            <p:nvPr/>
          </p:nvSpPr>
          <p:spPr bwMode="auto">
            <a:xfrm>
              <a:off x="5400676" y="1325563"/>
              <a:ext cx="273050" cy="373063"/>
            </a:xfrm>
            <a:custGeom>
              <a:avLst/>
              <a:gdLst>
                <a:gd name="T0" fmla="*/ 118 w 344"/>
                <a:gd name="T1" fmla="*/ 469 h 469"/>
                <a:gd name="T2" fmla="*/ 128 w 344"/>
                <a:gd name="T3" fmla="*/ 458 h 469"/>
                <a:gd name="T4" fmla="*/ 84 w 344"/>
                <a:gd name="T5" fmla="*/ 415 h 469"/>
                <a:gd name="T6" fmla="*/ 84 w 344"/>
                <a:gd name="T7" fmla="*/ 321 h 469"/>
                <a:gd name="T8" fmla="*/ 112 w 344"/>
                <a:gd name="T9" fmla="*/ 294 h 469"/>
                <a:gd name="T10" fmla="*/ 112 w 344"/>
                <a:gd name="T11" fmla="*/ 249 h 469"/>
                <a:gd name="T12" fmla="*/ 134 w 344"/>
                <a:gd name="T13" fmla="*/ 228 h 469"/>
                <a:gd name="T14" fmla="*/ 134 w 344"/>
                <a:gd name="T15" fmla="*/ 192 h 469"/>
                <a:gd name="T16" fmla="*/ 168 w 344"/>
                <a:gd name="T17" fmla="*/ 158 h 469"/>
                <a:gd name="T18" fmla="*/ 168 w 344"/>
                <a:gd name="T19" fmla="*/ 141 h 469"/>
                <a:gd name="T20" fmla="*/ 194 w 344"/>
                <a:gd name="T21" fmla="*/ 141 h 469"/>
                <a:gd name="T22" fmla="*/ 235 w 344"/>
                <a:gd name="T23" fmla="*/ 100 h 469"/>
                <a:gd name="T24" fmla="*/ 255 w 344"/>
                <a:gd name="T25" fmla="*/ 100 h 469"/>
                <a:gd name="T26" fmla="*/ 276 w 344"/>
                <a:gd name="T27" fmla="*/ 78 h 469"/>
                <a:gd name="T28" fmla="*/ 309 w 344"/>
                <a:gd name="T29" fmla="*/ 78 h 469"/>
                <a:gd name="T30" fmla="*/ 344 w 344"/>
                <a:gd name="T31" fmla="*/ 43 h 469"/>
                <a:gd name="T32" fmla="*/ 344 w 344"/>
                <a:gd name="T33" fmla="*/ 16 h 469"/>
                <a:gd name="T34" fmla="*/ 328 w 344"/>
                <a:gd name="T35" fmla="*/ 0 h 469"/>
                <a:gd name="T36" fmla="*/ 310 w 344"/>
                <a:gd name="T37" fmla="*/ 0 h 469"/>
                <a:gd name="T38" fmla="*/ 251 w 344"/>
                <a:gd name="T39" fmla="*/ 60 h 469"/>
                <a:gd name="T40" fmla="*/ 216 w 344"/>
                <a:gd name="T41" fmla="*/ 60 h 469"/>
                <a:gd name="T42" fmla="*/ 200 w 344"/>
                <a:gd name="T43" fmla="*/ 44 h 469"/>
                <a:gd name="T44" fmla="*/ 186 w 344"/>
                <a:gd name="T45" fmla="*/ 44 h 469"/>
                <a:gd name="T46" fmla="*/ 186 w 344"/>
                <a:gd name="T47" fmla="*/ 62 h 469"/>
                <a:gd name="T48" fmla="*/ 155 w 344"/>
                <a:gd name="T49" fmla="*/ 62 h 469"/>
                <a:gd name="T50" fmla="*/ 116 w 344"/>
                <a:gd name="T51" fmla="*/ 100 h 469"/>
                <a:gd name="T52" fmla="*/ 116 w 344"/>
                <a:gd name="T53" fmla="*/ 123 h 469"/>
                <a:gd name="T54" fmla="*/ 95 w 344"/>
                <a:gd name="T55" fmla="*/ 123 h 469"/>
                <a:gd name="T56" fmla="*/ 95 w 344"/>
                <a:gd name="T57" fmla="*/ 144 h 469"/>
                <a:gd name="T58" fmla="*/ 75 w 344"/>
                <a:gd name="T59" fmla="*/ 144 h 469"/>
                <a:gd name="T60" fmla="*/ 75 w 344"/>
                <a:gd name="T61" fmla="*/ 208 h 469"/>
                <a:gd name="T62" fmla="*/ 38 w 344"/>
                <a:gd name="T63" fmla="*/ 247 h 469"/>
                <a:gd name="T64" fmla="*/ 71 w 344"/>
                <a:gd name="T65" fmla="*/ 247 h 469"/>
                <a:gd name="T66" fmla="*/ 21 w 344"/>
                <a:gd name="T67" fmla="*/ 296 h 469"/>
                <a:gd name="T68" fmla="*/ 21 w 344"/>
                <a:gd name="T69" fmla="*/ 353 h 469"/>
                <a:gd name="T70" fmla="*/ 0 w 344"/>
                <a:gd name="T71" fmla="*/ 376 h 469"/>
                <a:gd name="T72" fmla="*/ 0 w 344"/>
                <a:gd name="T73" fmla="*/ 397 h 469"/>
                <a:gd name="T74" fmla="*/ 21 w 344"/>
                <a:gd name="T75" fmla="*/ 397 h 469"/>
                <a:gd name="T76" fmla="*/ 54 w 344"/>
                <a:gd name="T77" fmla="*/ 428 h 469"/>
                <a:gd name="T78" fmla="*/ 54 w 344"/>
                <a:gd name="T79" fmla="*/ 438 h 469"/>
                <a:gd name="T80" fmla="*/ 82 w 344"/>
                <a:gd name="T81" fmla="*/ 467 h 469"/>
                <a:gd name="T82" fmla="*/ 118 w 344"/>
                <a:gd name="T83"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4" h="469">
                  <a:moveTo>
                    <a:pt x="118" y="469"/>
                  </a:moveTo>
                  <a:lnTo>
                    <a:pt x="128" y="458"/>
                  </a:lnTo>
                  <a:lnTo>
                    <a:pt x="84" y="415"/>
                  </a:lnTo>
                  <a:lnTo>
                    <a:pt x="84" y="321"/>
                  </a:lnTo>
                  <a:lnTo>
                    <a:pt x="112" y="294"/>
                  </a:lnTo>
                  <a:lnTo>
                    <a:pt x="112" y="249"/>
                  </a:lnTo>
                  <a:lnTo>
                    <a:pt x="134" y="228"/>
                  </a:lnTo>
                  <a:lnTo>
                    <a:pt x="134" y="192"/>
                  </a:lnTo>
                  <a:lnTo>
                    <a:pt x="168" y="158"/>
                  </a:lnTo>
                  <a:lnTo>
                    <a:pt x="168" y="141"/>
                  </a:lnTo>
                  <a:lnTo>
                    <a:pt x="194" y="141"/>
                  </a:lnTo>
                  <a:lnTo>
                    <a:pt x="235" y="100"/>
                  </a:lnTo>
                  <a:lnTo>
                    <a:pt x="255" y="100"/>
                  </a:lnTo>
                  <a:lnTo>
                    <a:pt x="276" y="78"/>
                  </a:lnTo>
                  <a:lnTo>
                    <a:pt x="309" y="78"/>
                  </a:lnTo>
                  <a:lnTo>
                    <a:pt x="344" y="43"/>
                  </a:lnTo>
                  <a:lnTo>
                    <a:pt x="344" y="16"/>
                  </a:lnTo>
                  <a:lnTo>
                    <a:pt x="328" y="0"/>
                  </a:lnTo>
                  <a:lnTo>
                    <a:pt x="310" y="0"/>
                  </a:lnTo>
                  <a:lnTo>
                    <a:pt x="251" y="60"/>
                  </a:lnTo>
                  <a:lnTo>
                    <a:pt x="216" y="60"/>
                  </a:lnTo>
                  <a:lnTo>
                    <a:pt x="200" y="44"/>
                  </a:lnTo>
                  <a:lnTo>
                    <a:pt x="186" y="44"/>
                  </a:lnTo>
                  <a:lnTo>
                    <a:pt x="186" y="62"/>
                  </a:lnTo>
                  <a:lnTo>
                    <a:pt x="155" y="62"/>
                  </a:lnTo>
                  <a:lnTo>
                    <a:pt x="116" y="100"/>
                  </a:lnTo>
                  <a:lnTo>
                    <a:pt x="116" y="123"/>
                  </a:lnTo>
                  <a:lnTo>
                    <a:pt x="95" y="123"/>
                  </a:lnTo>
                  <a:lnTo>
                    <a:pt x="95" y="144"/>
                  </a:lnTo>
                  <a:lnTo>
                    <a:pt x="75" y="144"/>
                  </a:lnTo>
                  <a:lnTo>
                    <a:pt x="75" y="208"/>
                  </a:lnTo>
                  <a:lnTo>
                    <a:pt x="38" y="247"/>
                  </a:lnTo>
                  <a:lnTo>
                    <a:pt x="71" y="247"/>
                  </a:lnTo>
                  <a:lnTo>
                    <a:pt x="21" y="296"/>
                  </a:lnTo>
                  <a:lnTo>
                    <a:pt x="21" y="353"/>
                  </a:lnTo>
                  <a:lnTo>
                    <a:pt x="0" y="376"/>
                  </a:lnTo>
                  <a:lnTo>
                    <a:pt x="0" y="397"/>
                  </a:lnTo>
                  <a:lnTo>
                    <a:pt x="21" y="397"/>
                  </a:lnTo>
                  <a:lnTo>
                    <a:pt x="54" y="428"/>
                  </a:lnTo>
                  <a:lnTo>
                    <a:pt x="54" y="438"/>
                  </a:lnTo>
                  <a:lnTo>
                    <a:pt x="82" y="467"/>
                  </a:lnTo>
                  <a:lnTo>
                    <a:pt x="118" y="46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Freeform 349">
              <a:extLst>
                <a:ext uri="{FF2B5EF4-FFF2-40B4-BE49-F238E27FC236}">
                  <a16:creationId xmlns:a16="http://schemas.microsoft.com/office/drawing/2014/main" id="{286291DA-7A34-4E5D-80C7-D5E3C2F10200}"/>
                </a:ext>
              </a:extLst>
            </p:cNvPr>
            <p:cNvSpPr>
              <a:spLocks/>
            </p:cNvSpPr>
            <p:nvPr/>
          </p:nvSpPr>
          <p:spPr bwMode="auto">
            <a:xfrm>
              <a:off x="4775201" y="2816225"/>
              <a:ext cx="50800" cy="42863"/>
            </a:xfrm>
            <a:custGeom>
              <a:avLst/>
              <a:gdLst>
                <a:gd name="T0" fmla="*/ 50 w 62"/>
                <a:gd name="T1" fmla="*/ 0 h 53"/>
                <a:gd name="T2" fmla="*/ 17 w 62"/>
                <a:gd name="T3" fmla="*/ 0 h 53"/>
                <a:gd name="T4" fmla="*/ 0 w 62"/>
                <a:gd name="T5" fmla="*/ 18 h 53"/>
                <a:gd name="T6" fmla="*/ 0 w 62"/>
                <a:gd name="T7" fmla="*/ 32 h 53"/>
                <a:gd name="T8" fmla="*/ 21 w 62"/>
                <a:gd name="T9" fmla="*/ 53 h 53"/>
                <a:gd name="T10" fmla="*/ 37 w 62"/>
                <a:gd name="T11" fmla="*/ 37 h 53"/>
                <a:gd name="T12" fmla="*/ 62 w 62"/>
                <a:gd name="T13" fmla="*/ 37 h 53"/>
                <a:gd name="T14" fmla="*/ 62 w 62"/>
                <a:gd name="T15" fmla="*/ 12 h 53"/>
                <a:gd name="T16" fmla="*/ 50 w 62"/>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3">
                  <a:moveTo>
                    <a:pt x="50" y="0"/>
                  </a:moveTo>
                  <a:lnTo>
                    <a:pt x="17" y="0"/>
                  </a:lnTo>
                  <a:lnTo>
                    <a:pt x="0" y="18"/>
                  </a:lnTo>
                  <a:lnTo>
                    <a:pt x="0" y="32"/>
                  </a:lnTo>
                  <a:lnTo>
                    <a:pt x="21" y="53"/>
                  </a:lnTo>
                  <a:lnTo>
                    <a:pt x="37" y="37"/>
                  </a:lnTo>
                  <a:lnTo>
                    <a:pt x="62" y="37"/>
                  </a:lnTo>
                  <a:lnTo>
                    <a:pt x="62" y="12"/>
                  </a:lnTo>
                  <a:lnTo>
                    <a:pt x="5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3" name="Freeform 350">
              <a:extLst>
                <a:ext uri="{FF2B5EF4-FFF2-40B4-BE49-F238E27FC236}">
                  <a16:creationId xmlns:a16="http://schemas.microsoft.com/office/drawing/2014/main" id="{8A16D330-E2F7-41B5-B04B-2CDE2ED5E569}"/>
                </a:ext>
              </a:extLst>
            </p:cNvPr>
            <p:cNvSpPr>
              <a:spLocks/>
            </p:cNvSpPr>
            <p:nvPr/>
          </p:nvSpPr>
          <p:spPr bwMode="auto">
            <a:xfrm>
              <a:off x="4752976" y="2806700"/>
              <a:ext cx="39688" cy="80963"/>
            </a:xfrm>
            <a:custGeom>
              <a:avLst/>
              <a:gdLst>
                <a:gd name="T0" fmla="*/ 29 w 50"/>
                <a:gd name="T1" fmla="*/ 31 h 104"/>
                <a:gd name="T2" fmla="*/ 29 w 50"/>
                <a:gd name="T3" fmla="*/ 14 h 104"/>
                <a:gd name="T4" fmla="*/ 13 w 50"/>
                <a:gd name="T5" fmla="*/ 0 h 104"/>
                <a:gd name="T6" fmla="*/ 13 w 50"/>
                <a:gd name="T7" fmla="*/ 0 h 104"/>
                <a:gd name="T8" fmla="*/ 0 w 50"/>
                <a:gd name="T9" fmla="*/ 13 h 104"/>
                <a:gd name="T10" fmla="*/ 0 w 50"/>
                <a:gd name="T11" fmla="*/ 38 h 104"/>
                <a:gd name="T12" fmla="*/ 0 w 50"/>
                <a:gd name="T13" fmla="*/ 39 h 104"/>
                <a:gd name="T14" fmla="*/ 0 w 50"/>
                <a:gd name="T15" fmla="*/ 43 h 104"/>
                <a:gd name="T16" fmla="*/ 0 w 50"/>
                <a:gd name="T17" fmla="*/ 86 h 104"/>
                <a:gd name="T18" fmla="*/ 7 w 50"/>
                <a:gd name="T19" fmla="*/ 93 h 104"/>
                <a:gd name="T20" fmla="*/ 18 w 50"/>
                <a:gd name="T21" fmla="*/ 104 h 104"/>
                <a:gd name="T22" fmla="*/ 50 w 50"/>
                <a:gd name="T23" fmla="*/ 73 h 104"/>
                <a:gd name="T24" fmla="*/ 50 w 50"/>
                <a:gd name="T25" fmla="*/ 66 h 104"/>
                <a:gd name="T26" fmla="*/ 29 w 50"/>
                <a:gd name="T27" fmla="*/ 45 h 104"/>
                <a:gd name="T28" fmla="*/ 29 w 50"/>
                <a:gd name="T29" fmla="*/ 3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104">
                  <a:moveTo>
                    <a:pt x="29" y="31"/>
                  </a:moveTo>
                  <a:lnTo>
                    <a:pt x="29" y="14"/>
                  </a:lnTo>
                  <a:lnTo>
                    <a:pt x="13" y="0"/>
                  </a:lnTo>
                  <a:lnTo>
                    <a:pt x="13" y="0"/>
                  </a:lnTo>
                  <a:lnTo>
                    <a:pt x="0" y="13"/>
                  </a:lnTo>
                  <a:lnTo>
                    <a:pt x="0" y="38"/>
                  </a:lnTo>
                  <a:lnTo>
                    <a:pt x="0" y="39"/>
                  </a:lnTo>
                  <a:lnTo>
                    <a:pt x="0" y="43"/>
                  </a:lnTo>
                  <a:lnTo>
                    <a:pt x="0" y="86"/>
                  </a:lnTo>
                  <a:lnTo>
                    <a:pt x="7" y="93"/>
                  </a:lnTo>
                  <a:lnTo>
                    <a:pt x="18" y="104"/>
                  </a:lnTo>
                  <a:lnTo>
                    <a:pt x="50" y="73"/>
                  </a:lnTo>
                  <a:lnTo>
                    <a:pt x="50" y="66"/>
                  </a:lnTo>
                  <a:lnTo>
                    <a:pt x="29" y="45"/>
                  </a:lnTo>
                  <a:lnTo>
                    <a:pt x="29" y="31"/>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4" name="Freeform 351">
              <a:extLst>
                <a:ext uri="{FF2B5EF4-FFF2-40B4-BE49-F238E27FC236}">
                  <a16:creationId xmlns:a16="http://schemas.microsoft.com/office/drawing/2014/main" id="{E0CED2AC-54C0-4AFF-A892-1D488EBC4713}"/>
                </a:ext>
              </a:extLst>
            </p:cNvPr>
            <p:cNvSpPr>
              <a:spLocks/>
            </p:cNvSpPr>
            <p:nvPr/>
          </p:nvSpPr>
          <p:spPr bwMode="auto">
            <a:xfrm>
              <a:off x="5867401" y="2470150"/>
              <a:ext cx="1258888" cy="884238"/>
            </a:xfrm>
            <a:custGeom>
              <a:avLst/>
              <a:gdLst>
                <a:gd name="T0" fmla="*/ 1469 w 1587"/>
                <a:gd name="T1" fmla="*/ 164 h 1114"/>
                <a:gd name="T2" fmla="*/ 1357 w 1587"/>
                <a:gd name="T3" fmla="*/ 0 h 1114"/>
                <a:gd name="T4" fmla="*/ 1201 w 1587"/>
                <a:gd name="T5" fmla="*/ 50 h 1114"/>
                <a:gd name="T6" fmla="*/ 1210 w 1587"/>
                <a:gd name="T7" fmla="*/ 121 h 1114"/>
                <a:gd name="T8" fmla="*/ 1112 w 1587"/>
                <a:gd name="T9" fmla="*/ 173 h 1114"/>
                <a:gd name="T10" fmla="*/ 1100 w 1587"/>
                <a:gd name="T11" fmla="*/ 251 h 1114"/>
                <a:gd name="T12" fmla="*/ 1159 w 1587"/>
                <a:gd name="T13" fmla="*/ 242 h 1114"/>
                <a:gd name="T14" fmla="*/ 1193 w 1587"/>
                <a:gd name="T15" fmla="*/ 280 h 1114"/>
                <a:gd name="T16" fmla="*/ 1084 w 1587"/>
                <a:gd name="T17" fmla="*/ 326 h 1114"/>
                <a:gd name="T18" fmla="*/ 1036 w 1587"/>
                <a:gd name="T19" fmla="*/ 340 h 1114"/>
                <a:gd name="T20" fmla="*/ 1000 w 1587"/>
                <a:gd name="T21" fmla="*/ 392 h 1114"/>
                <a:gd name="T22" fmla="*/ 927 w 1587"/>
                <a:gd name="T23" fmla="*/ 440 h 1114"/>
                <a:gd name="T24" fmla="*/ 763 w 1587"/>
                <a:gd name="T25" fmla="*/ 456 h 1114"/>
                <a:gd name="T26" fmla="*/ 704 w 1587"/>
                <a:gd name="T27" fmla="*/ 426 h 1114"/>
                <a:gd name="T28" fmla="*/ 620 w 1587"/>
                <a:gd name="T29" fmla="*/ 415 h 1114"/>
                <a:gd name="T30" fmla="*/ 531 w 1587"/>
                <a:gd name="T31" fmla="*/ 355 h 1114"/>
                <a:gd name="T32" fmla="*/ 460 w 1587"/>
                <a:gd name="T33" fmla="*/ 303 h 1114"/>
                <a:gd name="T34" fmla="*/ 413 w 1587"/>
                <a:gd name="T35" fmla="*/ 237 h 1114"/>
                <a:gd name="T36" fmla="*/ 379 w 1587"/>
                <a:gd name="T37" fmla="*/ 196 h 1114"/>
                <a:gd name="T38" fmla="*/ 321 w 1587"/>
                <a:gd name="T39" fmla="*/ 237 h 1114"/>
                <a:gd name="T40" fmla="*/ 285 w 1587"/>
                <a:gd name="T41" fmla="*/ 281 h 1114"/>
                <a:gd name="T42" fmla="*/ 247 w 1587"/>
                <a:gd name="T43" fmla="*/ 292 h 1114"/>
                <a:gd name="T44" fmla="*/ 197 w 1587"/>
                <a:gd name="T45" fmla="*/ 349 h 1114"/>
                <a:gd name="T46" fmla="*/ 174 w 1587"/>
                <a:gd name="T47" fmla="*/ 469 h 1114"/>
                <a:gd name="T48" fmla="*/ 108 w 1587"/>
                <a:gd name="T49" fmla="*/ 481 h 1114"/>
                <a:gd name="T50" fmla="*/ 35 w 1587"/>
                <a:gd name="T51" fmla="*/ 488 h 1114"/>
                <a:gd name="T52" fmla="*/ 14 w 1587"/>
                <a:gd name="T53" fmla="*/ 563 h 1114"/>
                <a:gd name="T54" fmla="*/ 33 w 1587"/>
                <a:gd name="T55" fmla="*/ 641 h 1114"/>
                <a:gd name="T56" fmla="*/ 130 w 1587"/>
                <a:gd name="T57" fmla="*/ 681 h 1114"/>
                <a:gd name="T58" fmla="*/ 171 w 1587"/>
                <a:gd name="T59" fmla="*/ 707 h 1114"/>
                <a:gd name="T60" fmla="*/ 171 w 1587"/>
                <a:gd name="T61" fmla="*/ 759 h 1114"/>
                <a:gd name="T62" fmla="*/ 139 w 1587"/>
                <a:gd name="T63" fmla="*/ 775 h 1114"/>
                <a:gd name="T64" fmla="*/ 183 w 1587"/>
                <a:gd name="T65" fmla="*/ 845 h 1114"/>
                <a:gd name="T66" fmla="*/ 297 w 1587"/>
                <a:gd name="T67" fmla="*/ 875 h 1114"/>
                <a:gd name="T68" fmla="*/ 379 w 1587"/>
                <a:gd name="T69" fmla="*/ 900 h 1114"/>
                <a:gd name="T70" fmla="*/ 417 w 1587"/>
                <a:gd name="T71" fmla="*/ 937 h 1114"/>
                <a:gd name="T72" fmla="*/ 488 w 1587"/>
                <a:gd name="T73" fmla="*/ 920 h 1114"/>
                <a:gd name="T74" fmla="*/ 583 w 1587"/>
                <a:gd name="T75" fmla="*/ 871 h 1114"/>
                <a:gd name="T76" fmla="*/ 647 w 1587"/>
                <a:gd name="T77" fmla="*/ 909 h 1114"/>
                <a:gd name="T78" fmla="*/ 631 w 1587"/>
                <a:gd name="T79" fmla="*/ 986 h 1114"/>
                <a:gd name="T80" fmla="*/ 674 w 1587"/>
                <a:gd name="T81" fmla="*/ 1037 h 1114"/>
                <a:gd name="T82" fmla="*/ 702 w 1587"/>
                <a:gd name="T83" fmla="*/ 1101 h 1114"/>
                <a:gd name="T84" fmla="*/ 752 w 1587"/>
                <a:gd name="T85" fmla="*/ 1069 h 1114"/>
                <a:gd name="T86" fmla="*/ 841 w 1587"/>
                <a:gd name="T87" fmla="*/ 1055 h 1114"/>
                <a:gd name="T88" fmla="*/ 875 w 1587"/>
                <a:gd name="T89" fmla="*/ 1114 h 1114"/>
                <a:gd name="T90" fmla="*/ 948 w 1587"/>
                <a:gd name="T91" fmla="*/ 1107 h 1114"/>
                <a:gd name="T92" fmla="*/ 1030 w 1587"/>
                <a:gd name="T93" fmla="*/ 1084 h 1114"/>
                <a:gd name="T94" fmla="*/ 1162 w 1587"/>
                <a:gd name="T95" fmla="*/ 977 h 1114"/>
                <a:gd name="T96" fmla="*/ 1257 w 1587"/>
                <a:gd name="T97" fmla="*/ 880 h 1114"/>
                <a:gd name="T98" fmla="*/ 1283 w 1587"/>
                <a:gd name="T99" fmla="*/ 604 h 1114"/>
                <a:gd name="T100" fmla="*/ 1218 w 1587"/>
                <a:gd name="T101" fmla="*/ 622 h 1114"/>
                <a:gd name="T102" fmla="*/ 1276 w 1587"/>
                <a:gd name="T103" fmla="*/ 495 h 1114"/>
                <a:gd name="T104" fmla="*/ 1312 w 1587"/>
                <a:gd name="T105" fmla="*/ 504 h 1114"/>
                <a:gd name="T106" fmla="*/ 1382 w 1587"/>
                <a:gd name="T107" fmla="*/ 470 h 1114"/>
                <a:gd name="T108" fmla="*/ 1458 w 1587"/>
                <a:gd name="T109" fmla="*/ 453 h 1114"/>
                <a:gd name="T110" fmla="*/ 1496 w 1587"/>
                <a:gd name="T111" fmla="*/ 355 h 1114"/>
                <a:gd name="T112" fmla="*/ 1587 w 1587"/>
                <a:gd name="T113" fmla="*/ 235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7" h="1114">
                  <a:moveTo>
                    <a:pt x="1540" y="235"/>
                  </a:moveTo>
                  <a:lnTo>
                    <a:pt x="1519" y="214"/>
                  </a:lnTo>
                  <a:lnTo>
                    <a:pt x="1469" y="164"/>
                  </a:lnTo>
                  <a:lnTo>
                    <a:pt x="1405" y="164"/>
                  </a:lnTo>
                  <a:lnTo>
                    <a:pt x="1405" y="48"/>
                  </a:lnTo>
                  <a:lnTo>
                    <a:pt x="1357" y="0"/>
                  </a:lnTo>
                  <a:lnTo>
                    <a:pt x="1234" y="0"/>
                  </a:lnTo>
                  <a:lnTo>
                    <a:pt x="1201" y="30"/>
                  </a:lnTo>
                  <a:lnTo>
                    <a:pt x="1201" y="50"/>
                  </a:lnTo>
                  <a:lnTo>
                    <a:pt x="1257" y="50"/>
                  </a:lnTo>
                  <a:lnTo>
                    <a:pt x="1257" y="75"/>
                  </a:lnTo>
                  <a:lnTo>
                    <a:pt x="1210" y="121"/>
                  </a:lnTo>
                  <a:lnTo>
                    <a:pt x="1175" y="157"/>
                  </a:lnTo>
                  <a:lnTo>
                    <a:pt x="1123" y="157"/>
                  </a:lnTo>
                  <a:lnTo>
                    <a:pt x="1112" y="173"/>
                  </a:lnTo>
                  <a:lnTo>
                    <a:pt x="1112" y="199"/>
                  </a:lnTo>
                  <a:lnTo>
                    <a:pt x="1100" y="210"/>
                  </a:lnTo>
                  <a:lnTo>
                    <a:pt x="1100" y="251"/>
                  </a:lnTo>
                  <a:lnTo>
                    <a:pt x="1114" y="264"/>
                  </a:lnTo>
                  <a:lnTo>
                    <a:pt x="1135" y="242"/>
                  </a:lnTo>
                  <a:lnTo>
                    <a:pt x="1159" y="242"/>
                  </a:lnTo>
                  <a:lnTo>
                    <a:pt x="1169" y="230"/>
                  </a:lnTo>
                  <a:lnTo>
                    <a:pt x="1205" y="267"/>
                  </a:lnTo>
                  <a:lnTo>
                    <a:pt x="1193" y="280"/>
                  </a:lnTo>
                  <a:lnTo>
                    <a:pt x="1169" y="280"/>
                  </a:lnTo>
                  <a:lnTo>
                    <a:pt x="1132" y="280"/>
                  </a:lnTo>
                  <a:lnTo>
                    <a:pt x="1084" y="326"/>
                  </a:lnTo>
                  <a:lnTo>
                    <a:pt x="1055" y="356"/>
                  </a:lnTo>
                  <a:lnTo>
                    <a:pt x="1036" y="356"/>
                  </a:lnTo>
                  <a:lnTo>
                    <a:pt x="1036" y="340"/>
                  </a:lnTo>
                  <a:lnTo>
                    <a:pt x="1021" y="340"/>
                  </a:lnTo>
                  <a:lnTo>
                    <a:pt x="1000" y="360"/>
                  </a:lnTo>
                  <a:lnTo>
                    <a:pt x="1000" y="392"/>
                  </a:lnTo>
                  <a:lnTo>
                    <a:pt x="975" y="417"/>
                  </a:lnTo>
                  <a:lnTo>
                    <a:pt x="952" y="440"/>
                  </a:lnTo>
                  <a:lnTo>
                    <a:pt x="927" y="440"/>
                  </a:lnTo>
                  <a:lnTo>
                    <a:pt x="847" y="440"/>
                  </a:lnTo>
                  <a:lnTo>
                    <a:pt x="831" y="456"/>
                  </a:lnTo>
                  <a:lnTo>
                    <a:pt x="763" y="456"/>
                  </a:lnTo>
                  <a:lnTo>
                    <a:pt x="752" y="445"/>
                  </a:lnTo>
                  <a:lnTo>
                    <a:pt x="724" y="445"/>
                  </a:lnTo>
                  <a:lnTo>
                    <a:pt x="704" y="426"/>
                  </a:lnTo>
                  <a:lnTo>
                    <a:pt x="666" y="426"/>
                  </a:lnTo>
                  <a:lnTo>
                    <a:pt x="631" y="426"/>
                  </a:lnTo>
                  <a:lnTo>
                    <a:pt x="620" y="415"/>
                  </a:lnTo>
                  <a:lnTo>
                    <a:pt x="572" y="365"/>
                  </a:lnTo>
                  <a:lnTo>
                    <a:pt x="542" y="365"/>
                  </a:lnTo>
                  <a:lnTo>
                    <a:pt x="531" y="355"/>
                  </a:lnTo>
                  <a:lnTo>
                    <a:pt x="474" y="355"/>
                  </a:lnTo>
                  <a:lnTo>
                    <a:pt x="460" y="340"/>
                  </a:lnTo>
                  <a:lnTo>
                    <a:pt x="460" y="303"/>
                  </a:lnTo>
                  <a:lnTo>
                    <a:pt x="460" y="258"/>
                  </a:lnTo>
                  <a:lnTo>
                    <a:pt x="438" y="237"/>
                  </a:lnTo>
                  <a:lnTo>
                    <a:pt x="413" y="237"/>
                  </a:lnTo>
                  <a:lnTo>
                    <a:pt x="394" y="217"/>
                  </a:lnTo>
                  <a:lnTo>
                    <a:pt x="394" y="196"/>
                  </a:lnTo>
                  <a:lnTo>
                    <a:pt x="379" y="196"/>
                  </a:lnTo>
                  <a:lnTo>
                    <a:pt x="353" y="219"/>
                  </a:lnTo>
                  <a:lnTo>
                    <a:pt x="338" y="219"/>
                  </a:lnTo>
                  <a:lnTo>
                    <a:pt x="321" y="237"/>
                  </a:lnTo>
                  <a:lnTo>
                    <a:pt x="321" y="256"/>
                  </a:lnTo>
                  <a:lnTo>
                    <a:pt x="321" y="281"/>
                  </a:lnTo>
                  <a:lnTo>
                    <a:pt x="285" y="281"/>
                  </a:lnTo>
                  <a:lnTo>
                    <a:pt x="269" y="265"/>
                  </a:lnTo>
                  <a:lnTo>
                    <a:pt x="247" y="265"/>
                  </a:lnTo>
                  <a:lnTo>
                    <a:pt x="247" y="292"/>
                  </a:lnTo>
                  <a:lnTo>
                    <a:pt x="247" y="330"/>
                  </a:lnTo>
                  <a:lnTo>
                    <a:pt x="228" y="349"/>
                  </a:lnTo>
                  <a:lnTo>
                    <a:pt x="197" y="349"/>
                  </a:lnTo>
                  <a:lnTo>
                    <a:pt x="197" y="415"/>
                  </a:lnTo>
                  <a:lnTo>
                    <a:pt x="174" y="436"/>
                  </a:lnTo>
                  <a:lnTo>
                    <a:pt x="174" y="469"/>
                  </a:lnTo>
                  <a:lnTo>
                    <a:pt x="148" y="469"/>
                  </a:lnTo>
                  <a:lnTo>
                    <a:pt x="135" y="481"/>
                  </a:lnTo>
                  <a:lnTo>
                    <a:pt x="108" y="481"/>
                  </a:lnTo>
                  <a:lnTo>
                    <a:pt x="80" y="510"/>
                  </a:lnTo>
                  <a:lnTo>
                    <a:pt x="55" y="510"/>
                  </a:lnTo>
                  <a:lnTo>
                    <a:pt x="35" y="488"/>
                  </a:lnTo>
                  <a:lnTo>
                    <a:pt x="0" y="524"/>
                  </a:lnTo>
                  <a:lnTo>
                    <a:pt x="0" y="547"/>
                  </a:lnTo>
                  <a:lnTo>
                    <a:pt x="14" y="563"/>
                  </a:lnTo>
                  <a:lnTo>
                    <a:pt x="14" y="583"/>
                  </a:lnTo>
                  <a:lnTo>
                    <a:pt x="33" y="602"/>
                  </a:lnTo>
                  <a:lnTo>
                    <a:pt x="33" y="641"/>
                  </a:lnTo>
                  <a:lnTo>
                    <a:pt x="66" y="641"/>
                  </a:lnTo>
                  <a:lnTo>
                    <a:pt x="103" y="681"/>
                  </a:lnTo>
                  <a:lnTo>
                    <a:pt x="130" y="681"/>
                  </a:lnTo>
                  <a:lnTo>
                    <a:pt x="149" y="661"/>
                  </a:lnTo>
                  <a:lnTo>
                    <a:pt x="171" y="684"/>
                  </a:lnTo>
                  <a:lnTo>
                    <a:pt x="171" y="707"/>
                  </a:lnTo>
                  <a:lnTo>
                    <a:pt x="151" y="707"/>
                  </a:lnTo>
                  <a:lnTo>
                    <a:pt x="151" y="740"/>
                  </a:lnTo>
                  <a:lnTo>
                    <a:pt x="171" y="759"/>
                  </a:lnTo>
                  <a:lnTo>
                    <a:pt x="155" y="775"/>
                  </a:lnTo>
                  <a:lnTo>
                    <a:pt x="139" y="759"/>
                  </a:lnTo>
                  <a:lnTo>
                    <a:pt x="139" y="775"/>
                  </a:lnTo>
                  <a:lnTo>
                    <a:pt x="139" y="798"/>
                  </a:lnTo>
                  <a:lnTo>
                    <a:pt x="162" y="823"/>
                  </a:lnTo>
                  <a:lnTo>
                    <a:pt x="183" y="845"/>
                  </a:lnTo>
                  <a:lnTo>
                    <a:pt x="235" y="845"/>
                  </a:lnTo>
                  <a:lnTo>
                    <a:pt x="267" y="845"/>
                  </a:lnTo>
                  <a:lnTo>
                    <a:pt x="297" y="875"/>
                  </a:lnTo>
                  <a:lnTo>
                    <a:pt x="324" y="900"/>
                  </a:lnTo>
                  <a:lnTo>
                    <a:pt x="353" y="900"/>
                  </a:lnTo>
                  <a:lnTo>
                    <a:pt x="379" y="900"/>
                  </a:lnTo>
                  <a:lnTo>
                    <a:pt x="401" y="921"/>
                  </a:lnTo>
                  <a:lnTo>
                    <a:pt x="417" y="937"/>
                  </a:lnTo>
                  <a:lnTo>
                    <a:pt x="417" y="937"/>
                  </a:lnTo>
                  <a:lnTo>
                    <a:pt x="447" y="907"/>
                  </a:lnTo>
                  <a:lnTo>
                    <a:pt x="460" y="920"/>
                  </a:lnTo>
                  <a:lnTo>
                    <a:pt x="488" y="920"/>
                  </a:lnTo>
                  <a:lnTo>
                    <a:pt x="515" y="893"/>
                  </a:lnTo>
                  <a:lnTo>
                    <a:pt x="559" y="848"/>
                  </a:lnTo>
                  <a:lnTo>
                    <a:pt x="583" y="871"/>
                  </a:lnTo>
                  <a:lnTo>
                    <a:pt x="615" y="871"/>
                  </a:lnTo>
                  <a:lnTo>
                    <a:pt x="615" y="909"/>
                  </a:lnTo>
                  <a:lnTo>
                    <a:pt x="647" y="909"/>
                  </a:lnTo>
                  <a:lnTo>
                    <a:pt x="647" y="941"/>
                  </a:lnTo>
                  <a:lnTo>
                    <a:pt x="647" y="969"/>
                  </a:lnTo>
                  <a:lnTo>
                    <a:pt x="631" y="986"/>
                  </a:lnTo>
                  <a:lnTo>
                    <a:pt x="631" y="1014"/>
                  </a:lnTo>
                  <a:lnTo>
                    <a:pt x="650" y="1014"/>
                  </a:lnTo>
                  <a:lnTo>
                    <a:pt x="674" y="1037"/>
                  </a:lnTo>
                  <a:lnTo>
                    <a:pt x="674" y="1071"/>
                  </a:lnTo>
                  <a:lnTo>
                    <a:pt x="702" y="1071"/>
                  </a:lnTo>
                  <a:lnTo>
                    <a:pt x="702" y="1101"/>
                  </a:lnTo>
                  <a:lnTo>
                    <a:pt x="725" y="1078"/>
                  </a:lnTo>
                  <a:lnTo>
                    <a:pt x="743" y="1060"/>
                  </a:lnTo>
                  <a:lnTo>
                    <a:pt x="752" y="1069"/>
                  </a:lnTo>
                  <a:lnTo>
                    <a:pt x="777" y="1069"/>
                  </a:lnTo>
                  <a:lnTo>
                    <a:pt x="793" y="1055"/>
                  </a:lnTo>
                  <a:lnTo>
                    <a:pt x="841" y="1055"/>
                  </a:lnTo>
                  <a:lnTo>
                    <a:pt x="863" y="1076"/>
                  </a:lnTo>
                  <a:lnTo>
                    <a:pt x="875" y="1087"/>
                  </a:lnTo>
                  <a:lnTo>
                    <a:pt x="875" y="1114"/>
                  </a:lnTo>
                  <a:lnTo>
                    <a:pt x="909" y="1080"/>
                  </a:lnTo>
                  <a:lnTo>
                    <a:pt x="948" y="1080"/>
                  </a:lnTo>
                  <a:lnTo>
                    <a:pt x="948" y="1107"/>
                  </a:lnTo>
                  <a:lnTo>
                    <a:pt x="968" y="1107"/>
                  </a:lnTo>
                  <a:lnTo>
                    <a:pt x="968" y="1084"/>
                  </a:lnTo>
                  <a:lnTo>
                    <a:pt x="1030" y="1084"/>
                  </a:lnTo>
                  <a:lnTo>
                    <a:pt x="1030" y="1051"/>
                  </a:lnTo>
                  <a:lnTo>
                    <a:pt x="1087" y="1051"/>
                  </a:lnTo>
                  <a:lnTo>
                    <a:pt x="1162" y="977"/>
                  </a:lnTo>
                  <a:lnTo>
                    <a:pt x="1198" y="977"/>
                  </a:lnTo>
                  <a:lnTo>
                    <a:pt x="1198" y="941"/>
                  </a:lnTo>
                  <a:lnTo>
                    <a:pt x="1257" y="880"/>
                  </a:lnTo>
                  <a:lnTo>
                    <a:pt x="1257" y="768"/>
                  </a:lnTo>
                  <a:lnTo>
                    <a:pt x="1189" y="699"/>
                  </a:lnTo>
                  <a:lnTo>
                    <a:pt x="1283" y="604"/>
                  </a:lnTo>
                  <a:lnTo>
                    <a:pt x="1271" y="592"/>
                  </a:lnTo>
                  <a:lnTo>
                    <a:pt x="1248" y="592"/>
                  </a:lnTo>
                  <a:lnTo>
                    <a:pt x="1218" y="622"/>
                  </a:lnTo>
                  <a:lnTo>
                    <a:pt x="1157" y="561"/>
                  </a:lnTo>
                  <a:lnTo>
                    <a:pt x="1250" y="469"/>
                  </a:lnTo>
                  <a:lnTo>
                    <a:pt x="1276" y="495"/>
                  </a:lnTo>
                  <a:lnTo>
                    <a:pt x="1244" y="529"/>
                  </a:lnTo>
                  <a:lnTo>
                    <a:pt x="1266" y="551"/>
                  </a:lnTo>
                  <a:lnTo>
                    <a:pt x="1312" y="504"/>
                  </a:lnTo>
                  <a:lnTo>
                    <a:pt x="1330" y="520"/>
                  </a:lnTo>
                  <a:lnTo>
                    <a:pt x="1353" y="497"/>
                  </a:lnTo>
                  <a:lnTo>
                    <a:pt x="1382" y="470"/>
                  </a:lnTo>
                  <a:lnTo>
                    <a:pt x="1401" y="490"/>
                  </a:lnTo>
                  <a:lnTo>
                    <a:pt x="1437" y="453"/>
                  </a:lnTo>
                  <a:lnTo>
                    <a:pt x="1458" y="453"/>
                  </a:lnTo>
                  <a:lnTo>
                    <a:pt x="1458" y="426"/>
                  </a:lnTo>
                  <a:lnTo>
                    <a:pt x="1496" y="426"/>
                  </a:lnTo>
                  <a:lnTo>
                    <a:pt x="1496" y="355"/>
                  </a:lnTo>
                  <a:lnTo>
                    <a:pt x="1521" y="330"/>
                  </a:lnTo>
                  <a:lnTo>
                    <a:pt x="1587" y="264"/>
                  </a:lnTo>
                  <a:lnTo>
                    <a:pt x="1587" y="235"/>
                  </a:lnTo>
                  <a:lnTo>
                    <a:pt x="1540" y="23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Freeform 352">
              <a:extLst>
                <a:ext uri="{FF2B5EF4-FFF2-40B4-BE49-F238E27FC236}">
                  <a16:creationId xmlns:a16="http://schemas.microsoft.com/office/drawing/2014/main" id="{42D42031-8469-4569-92E0-D936A3EA61F5}"/>
                </a:ext>
              </a:extLst>
            </p:cNvPr>
            <p:cNvSpPr>
              <a:spLocks/>
            </p:cNvSpPr>
            <p:nvPr/>
          </p:nvSpPr>
          <p:spPr bwMode="auto">
            <a:xfrm>
              <a:off x="6602413" y="3357563"/>
              <a:ext cx="47625" cy="41275"/>
            </a:xfrm>
            <a:custGeom>
              <a:avLst/>
              <a:gdLst>
                <a:gd name="T0" fmla="*/ 0 w 61"/>
                <a:gd name="T1" fmla="*/ 25 h 52"/>
                <a:gd name="T2" fmla="*/ 0 w 61"/>
                <a:gd name="T3" fmla="*/ 52 h 52"/>
                <a:gd name="T4" fmla="*/ 27 w 61"/>
                <a:gd name="T5" fmla="*/ 52 h 52"/>
                <a:gd name="T6" fmla="*/ 61 w 61"/>
                <a:gd name="T7" fmla="*/ 20 h 52"/>
                <a:gd name="T8" fmla="*/ 41 w 61"/>
                <a:gd name="T9" fmla="*/ 0 h 52"/>
                <a:gd name="T10" fmla="*/ 0 w 61"/>
                <a:gd name="T11" fmla="*/ 25 h 52"/>
              </a:gdLst>
              <a:ahLst/>
              <a:cxnLst>
                <a:cxn ang="0">
                  <a:pos x="T0" y="T1"/>
                </a:cxn>
                <a:cxn ang="0">
                  <a:pos x="T2" y="T3"/>
                </a:cxn>
                <a:cxn ang="0">
                  <a:pos x="T4" y="T5"/>
                </a:cxn>
                <a:cxn ang="0">
                  <a:pos x="T6" y="T7"/>
                </a:cxn>
                <a:cxn ang="0">
                  <a:pos x="T8" y="T9"/>
                </a:cxn>
                <a:cxn ang="0">
                  <a:pos x="T10" y="T11"/>
                </a:cxn>
              </a:cxnLst>
              <a:rect l="0" t="0" r="r" b="b"/>
              <a:pathLst>
                <a:path w="61" h="52">
                  <a:moveTo>
                    <a:pt x="0" y="25"/>
                  </a:moveTo>
                  <a:lnTo>
                    <a:pt x="0" y="52"/>
                  </a:lnTo>
                  <a:lnTo>
                    <a:pt x="27" y="52"/>
                  </a:lnTo>
                  <a:lnTo>
                    <a:pt x="61" y="20"/>
                  </a:lnTo>
                  <a:lnTo>
                    <a:pt x="41" y="0"/>
                  </a:lnTo>
                  <a:lnTo>
                    <a:pt x="0" y="2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Freeform 353">
              <a:extLst>
                <a:ext uri="{FF2B5EF4-FFF2-40B4-BE49-F238E27FC236}">
                  <a16:creationId xmlns:a16="http://schemas.microsoft.com/office/drawing/2014/main" id="{65D2B2CB-79FA-49D9-8ED0-A8129F5C18E8}"/>
                </a:ext>
              </a:extLst>
            </p:cNvPr>
            <p:cNvSpPr>
              <a:spLocks/>
            </p:cNvSpPr>
            <p:nvPr/>
          </p:nvSpPr>
          <p:spPr bwMode="auto">
            <a:xfrm>
              <a:off x="6197601" y="3190875"/>
              <a:ext cx="57150" cy="36513"/>
            </a:xfrm>
            <a:custGeom>
              <a:avLst/>
              <a:gdLst>
                <a:gd name="T0" fmla="*/ 30 w 71"/>
                <a:gd name="T1" fmla="*/ 0 h 46"/>
                <a:gd name="T2" fmla="*/ 0 w 71"/>
                <a:gd name="T3" fmla="*/ 30 h 46"/>
                <a:gd name="T4" fmla="*/ 0 w 71"/>
                <a:gd name="T5" fmla="*/ 30 h 46"/>
                <a:gd name="T6" fmla="*/ 23 w 71"/>
                <a:gd name="T7" fmla="*/ 30 h 46"/>
                <a:gd name="T8" fmla="*/ 39 w 71"/>
                <a:gd name="T9" fmla="*/ 46 h 46"/>
                <a:gd name="T10" fmla="*/ 71 w 71"/>
                <a:gd name="T11" fmla="*/ 46 h 46"/>
                <a:gd name="T12" fmla="*/ 71 w 71"/>
                <a:gd name="T13" fmla="*/ 27 h 46"/>
                <a:gd name="T14" fmla="*/ 71 w 71"/>
                <a:gd name="T15" fmla="*/ 13 h 46"/>
                <a:gd name="T16" fmla="*/ 43 w 71"/>
                <a:gd name="T17" fmla="*/ 13 h 46"/>
                <a:gd name="T18" fmla="*/ 30 w 71"/>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46">
                  <a:moveTo>
                    <a:pt x="30" y="0"/>
                  </a:moveTo>
                  <a:lnTo>
                    <a:pt x="0" y="30"/>
                  </a:lnTo>
                  <a:lnTo>
                    <a:pt x="0" y="30"/>
                  </a:lnTo>
                  <a:lnTo>
                    <a:pt x="23" y="30"/>
                  </a:lnTo>
                  <a:lnTo>
                    <a:pt x="39" y="46"/>
                  </a:lnTo>
                  <a:lnTo>
                    <a:pt x="71" y="46"/>
                  </a:lnTo>
                  <a:lnTo>
                    <a:pt x="71" y="27"/>
                  </a:lnTo>
                  <a:lnTo>
                    <a:pt x="71" y="13"/>
                  </a:lnTo>
                  <a:lnTo>
                    <a:pt x="43" y="13"/>
                  </a:lnTo>
                  <a:lnTo>
                    <a:pt x="3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Freeform 354">
              <a:extLst>
                <a:ext uri="{FF2B5EF4-FFF2-40B4-BE49-F238E27FC236}">
                  <a16:creationId xmlns:a16="http://schemas.microsoft.com/office/drawing/2014/main" id="{A3CEF0B6-6802-4849-957D-6C3BC2BE87D8}"/>
                </a:ext>
              </a:extLst>
            </p:cNvPr>
            <p:cNvSpPr>
              <a:spLocks/>
            </p:cNvSpPr>
            <p:nvPr/>
          </p:nvSpPr>
          <p:spPr bwMode="auto">
            <a:xfrm>
              <a:off x="6197601" y="3244850"/>
              <a:ext cx="77788" cy="104775"/>
            </a:xfrm>
            <a:custGeom>
              <a:avLst/>
              <a:gdLst>
                <a:gd name="T0" fmla="*/ 82 w 98"/>
                <a:gd name="T1" fmla="*/ 78 h 132"/>
                <a:gd name="T2" fmla="*/ 82 w 98"/>
                <a:gd name="T3" fmla="*/ 48 h 132"/>
                <a:gd name="T4" fmla="*/ 59 w 98"/>
                <a:gd name="T5" fmla="*/ 71 h 132"/>
                <a:gd name="T6" fmla="*/ 59 w 98"/>
                <a:gd name="T7" fmla="*/ 48 h 132"/>
                <a:gd name="T8" fmla="*/ 82 w 98"/>
                <a:gd name="T9" fmla="*/ 25 h 132"/>
                <a:gd name="T10" fmla="*/ 82 w 98"/>
                <a:gd name="T11" fmla="*/ 0 h 132"/>
                <a:gd name="T12" fmla="*/ 23 w 98"/>
                <a:gd name="T13" fmla="*/ 0 h 132"/>
                <a:gd name="T14" fmla="*/ 23 w 98"/>
                <a:gd name="T15" fmla="*/ 25 h 132"/>
                <a:gd name="T16" fmla="*/ 0 w 98"/>
                <a:gd name="T17" fmla="*/ 48 h 132"/>
                <a:gd name="T18" fmla="*/ 0 w 98"/>
                <a:gd name="T19" fmla="*/ 75 h 132"/>
                <a:gd name="T20" fmla="*/ 16 w 98"/>
                <a:gd name="T21" fmla="*/ 91 h 132"/>
                <a:gd name="T22" fmla="*/ 57 w 98"/>
                <a:gd name="T23" fmla="*/ 91 h 132"/>
                <a:gd name="T24" fmla="*/ 98 w 98"/>
                <a:gd name="T25" fmla="*/ 132 h 132"/>
                <a:gd name="T26" fmla="*/ 98 w 98"/>
                <a:gd name="T27" fmla="*/ 91 h 132"/>
                <a:gd name="T28" fmla="*/ 94 w 98"/>
                <a:gd name="T29" fmla="*/ 91 h 132"/>
                <a:gd name="T30" fmla="*/ 82 w 98"/>
                <a:gd name="T31" fmla="*/ 7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132">
                  <a:moveTo>
                    <a:pt x="82" y="78"/>
                  </a:moveTo>
                  <a:lnTo>
                    <a:pt x="82" y="48"/>
                  </a:lnTo>
                  <a:lnTo>
                    <a:pt x="59" y="71"/>
                  </a:lnTo>
                  <a:lnTo>
                    <a:pt x="59" y="48"/>
                  </a:lnTo>
                  <a:lnTo>
                    <a:pt x="82" y="25"/>
                  </a:lnTo>
                  <a:lnTo>
                    <a:pt x="82" y="0"/>
                  </a:lnTo>
                  <a:lnTo>
                    <a:pt x="23" y="0"/>
                  </a:lnTo>
                  <a:lnTo>
                    <a:pt x="23" y="25"/>
                  </a:lnTo>
                  <a:lnTo>
                    <a:pt x="0" y="48"/>
                  </a:lnTo>
                  <a:lnTo>
                    <a:pt x="0" y="75"/>
                  </a:lnTo>
                  <a:lnTo>
                    <a:pt x="16" y="91"/>
                  </a:lnTo>
                  <a:lnTo>
                    <a:pt x="57" y="91"/>
                  </a:lnTo>
                  <a:lnTo>
                    <a:pt x="98" y="132"/>
                  </a:lnTo>
                  <a:lnTo>
                    <a:pt x="98" y="91"/>
                  </a:lnTo>
                  <a:lnTo>
                    <a:pt x="94" y="91"/>
                  </a:lnTo>
                  <a:lnTo>
                    <a:pt x="82" y="7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Freeform 355">
              <a:extLst>
                <a:ext uri="{FF2B5EF4-FFF2-40B4-BE49-F238E27FC236}">
                  <a16:creationId xmlns:a16="http://schemas.microsoft.com/office/drawing/2014/main" id="{631B7B06-BA1F-4DDC-B4EF-FDB60016CA1B}"/>
                </a:ext>
              </a:extLst>
            </p:cNvPr>
            <p:cNvSpPr>
              <a:spLocks/>
            </p:cNvSpPr>
            <p:nvPr/>
          </p:nvSpPr>
          <p:spPr bwMode="auto">
            <a:xfrm>
              <a:off x="5599113" y="2924175"/>
              <a:ext cx="295275" cy="222250"/>
            </a:xfrm>
            <a:custGeom>
              <a:avLst/>
              <a:gdLst>
                <a:gd name="T0" fmla="*/ 363 w 371"/>
                <a:gd name="T1" fmla="*/ 41 h 280"/>
                <a:gd name="T2" fmla="*/ 339 w 371"/>
                <a:gd name="T3" fmla="*/ 41 h 280"/>
                <a:gd name="T4" fmla="*/ 323 w 371"/>
                <a:gd name="T5" fmla="*/ 57 h 280"/>
                <a:gd name="T6" fmla="*/ 302 w 371"/>
                <a:gd name="T7" fmla="*/ 57 h 280"/>
                <a:gd name="T8" fmla="*/ 302 w 371"/>
                <a:gd name="T9" fmla="*/ 57 h 280"/>
                <a:gd name="T10" fmla="*/ 280 w 371"/>
                <a:gd name="T11" fmla="*/ 36 h 280"/>
                <a:gd name="T12" fmla="*/ 280 w 371"/>
                <a:gd name="T13" fmla="*/ 16 h 280"/>
                <a:gd name="T14" fmla="*/ 264 w 371"/>
                <a:gd name="T15" fmla="*/ 0 h 280"/>
                <a:gd name="T16" fmla="*/ 264 w 371"/>
                <a:gd name="T17" fmla="*/ 18 h 280"/>
                <a:gd name="T18" fmla="*/ 248 w 371"/>
                <a:gd name="T19" fmla="*/ 36 h 280"/>
                <a:gd name="T20" fmla="*/ 225 w 371"/>
                <a:gd name="T21" fmla="*/ 57 h 280"/>
                <a:gd name="T22" fmla="*/ 184 w 371"/>
                <a:gd name="T23" fmla="*/ 57 h 280"/>
                <a:gd name="T24" fmla="*/ 184 w 371"/>
                <a:gd name="T25" fmla="*/ 41 h 280"/>
                <a:gd name="T26" fmla="*/ 129 w 371"/>
                <a:gd name="T27" fmla="*/ 37 h 280"/>
                <a:gd name="T28" fmla="*/ 111 w 371"/>
                <a:gd name="T29" fmla="*/ 57 h 280"/>
                <a:gd name="T30" fmla="*/ 111 w 371"/>
                <a:gd name="T31" fmla="*/ 73 h 280"/>
                <a:gd name="T32" fmla="*/ 91 w 371"/>
                <a:gd name="T33" fmla="*/ 93 h 280"/>
                <a:gd name="T34" fmla="*/ 68 w 371"/>
                <a:gd name="T35" fmla="*/ 114 h 280"/>
                <a:gd name="T36" fmla="*/ 45 w 371"/>
                <a:gd name="T37" fmla="*/ 114 h 280"/>
                <a:gd name="T38" fmla="*/ 33 w 371"/>
                <a:gd name="T39" fmla="*/ 102 h 280"/>
                <a:gd name="T40" fmla="*/ 20 w 371"/>
                <a:gd name="T41" fmla="*/ 102 h 280"/>
                <a:gd name="T42" fmla="*/ 20 w 371"/>
                <a:gd name="T43" fmla="*/ 137 h 280"/>
                <a:gd name="T44" fmla="*/ 0 w 371"/>
                <a:gd name="T45" fmla="*/ 157 h 280"/>
                <a:gd name="T46" fmla="*/ 0 w 371"/>
                <a:gd name="T47" fmla="*/ 184 h 280"/>
                <a:gd name="T48" fmla="*/ 0 w 371"/>
                <a:gd name="T49" fmla="*/ 212 h 280"/>
                <a:gd name="T50" fmla="*/ 17 w 371"/>
                <a:gd name="T51" fmla="*/ 226 h 280"/>
                <a:gd name="T52" fmla="*/ 17 w 371"/>
                <a:gd name="T53" fmla="*/ 253 h 280"/>
                <a:gd name="T54" fmla="*/ 29 w 371"/>
                <a:gd name="T55" fmla="*/ 267 h 280"/>
                <a:gd name="T56" fmla="*/ 38 w 371"/>
                <a:gd name="T57" fmla="*/ 267 h 280"/>
                <a:gd name="T58" fmla="*/ 52 w 371"/>
                <a:gd name="T59" fmla="*/ 280 h 280"/>
                <a:gd name="T60" fmla="*/ 90 w 371"/>
                <a:gd name="T61" fmla="*/ 280 h 280"/>
                <a:gd name="T62" fmla="*/ 141 w 371"/>
                <a:gd name="T63" fmla="*/ 280 h 280"/>
                <a:gd name="T64" fmla="*/ 156 w 371"/>
                <a:gd name="T65" fmla="*/ 266 h 280"/>
                <a:gd name="T66" fmla="*/ 156 w 371"/>
                <a:gd name="T67" fmla="*/ 255 h 280"/>
                <a:gd name="T68" fmla="*/ 166 w 371"/>
                <a:gd name="T69" fmla="*/ 242 h 280"/>
                <a:gd name="T70" fmla="*/ 190 w 371"/>
                <a:gd name="T71" fmla="*/ 242 h 280"/>
                <a:gd name="T72" fmla="*/ 202 w 371"/>
                <a:gd name="T73" fmla="*/ 230 h 280"/>
                <a:gd name="T74" fmla="*/ 202 w 371"/>
                <a:gd name="T75" fmla="*/ 217 h 280"/>
                <a:gd name="T76" fmla="*/ 213 w 371"/>
                <a:gd name="T77" fmla="*/ 207 h 280"/>
                <a:gd name="T78" fmla="*/ 236 w 371"/>
                <a:gd name="T79" fmla="*/ 207 h 280"/>
                <a:gd name="T80" fmla="*/ 236 w 371"/>
                <a:gd name="T81" fmla="*/ 180 h 280"/>
                <a:gd name="T82" fmla="*/ 250 w 371"/>
                <a:gd name="T83" fmla="*/ 180 h 280"/>
                <a:gd name="T84" fmla="*/ 264 w 371"/>
                <a:gd name="T85" fmla="*/ 166 h 280"/>
                <a:gd name="T86" fmla="*/ 264 w 371"/>
                <a:gd name="T87" fmla="*/ 150 h 280"/>
                <a:gd name="T88" fmla="*/ 280 w 371"/>
                <a:gd name="T89" fmla="*/ 134 h 280"/>
                <a:gd name="T90" fmla="*/ 293 w 371"/>
                <a:gd name="T91" fmla="*/ 121 h 280"/>
                <a:gd name="T92" fmla="*/ 293 w 371"/>
                <a:gd name="T93" fmla="*/ 105 h 280"/>
                <a:gd name="T94" fmla="*/ 282 w 371"/>
                <a:gd name="T95" fmla="*/ 93 h 280"/>
                <a:gd name="T96" fmla="*/ 305 w 371"/>
                <a:gd name="T97" fmla="*/ 69 h 280"/>
                <a:gd name="T98" fmla="*/ 336 w 371"/>
                <a:gd name="T99" fmla="*/ 69 h 280"/>
                <a:gd name="T100" fmla="*/ 336 w 371"/>
                <a:gd name="T101" fmla="*/ 64 h 280"/>
                <a:gd name="T102" fmla="*/ 343 w 371"/>
                <a:gd name="T103" fmla="*/ 57 h 280"/>
                <a:gd name="T104" fmla="*/ 371 w 371"/>
                <a:gd name="T105" fmla="*/ 57 h 280"/>
                <a:gd name="T106" fmla="*/ 371 w 371"/>
                <a:gd name="T107" fmla="*/ 50 h 280"/>
                <a:gd name="T108" fmla="*/ 363 w 371"/>
                <a:gd name="T109" fmla="*/ 4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1" h="280">
                  <a:moveTo>
                    <a:pt x="363" y="41"/>
                  </a:moveTo>
                  <a:lnTo>
                    <a:pt x="339" y="41"/>
                  </a:lnTo>
                  <a:lnTo>
                    <a:pt x="323" y="57"/>
                  </a:lnTo>
                  <a:lnTo>
                    <a:pt x="302" y="57"/>
                  </a:lnTo>
                  <a:lnTo>
                    <a:pt x="302" y="57"/>
                  </a:lnTo>
                  <a:lnTo>
                    <a:pt x="280" y="36"/>
                  </a:lnTo>
                  <a:lnTo>
                    <a:pt x="280" y="16"/>
                  </a:lnTo>
                  <a:lnTo>
                    <a:pt x="264" y="0"/>
                  </a:lnTo>
                  <a:lnTo>
                    <a:pt x="264" y="18"/>
                  </a:lnTo>
                  <a:lnTo>
                    <a:pt x="248" y="36"/>
                  </a:lnTo>
                  <a:lnTo>
                    <a:pt x="225" y="57"/>
                  </a:lnTo>
                  <a:lnTo>
                    <a:pt x="184" y="57"/>
                  </a:lnTo>
                  <a:lnTo>
                    <a:pt x="184" y="41"/>
                  </a:lnTo>
                  <a:lnTo>
                    <a:pt x="129" y="37"/>
                  </a:lnTo>
                  <a:lnTo>
                    <a:pt x="111" y="57"/>
                  </a:lnTo>
                  <a:lnTo>
                    <a:pt x="111" y="73"/>
                  </a:lnTo>
                  <a:lnTo>
                    <a:pt x="91" y="93"/>
                  </a:lnTo>
                  <a:lnTo>
                    <a:pt x="68" y="114"/>
                  </a:lnTo>
                  <a:lnTo>
                    <a:pt x="45" y="114"/>
                  </a:lnTo>
                  <a:lnTo>
                    <a:pt x="33" y="102"/>
                  </a:lnTo>
                  <a:lnTo>
                    <a:pt x="20" y="102"/>
                  </a:lnTo>
                  <a:lnTo>
                    <a:pt x="20" y="137"/>
                  </a:lnTo>
                  <a:lnTo>
                    <a:pt x="0" y="157"/>
                  </a:lnTo>
                  <a:lnTo>
                    <a:pt x="0" y="184"/>
                  </a:lnTo>
                  <a:lnTo>
                    <a:pt x="0" y="212"/>
                  </a:lnTo>
                  <a:lnTo>
                    <a:pt x="17" y="226"/>
                  </a:lnTo>
                  <a:lnTo>
                    <a:pt x="17" y="253"/>
                  </a:lnTo>
                  <a:lnTo>
                    <a:pt x="29" y="267"/>
                  </a:lnTo>
                  <a:lnTo>
                    <a:pt x="38" y="267"/>
                  </a:lnTo>
                  <a:lnTo>
                    <a:pt x="52" y="280"/>
                  </a:lnTo>
                  <a:lnTo>
                    <a:pt x="90" y="280"/>
                  </a:lnTo>
                  <a:lnTo>
                    <a:pt x="141" y="280"/>
                  </a:lnTo>
                  <a:lnTo>
                    <a:pt x="156" y="266"/>
                  </a:lnTo>
                  <a:lnTo>
                    <a:pt x="156" y="255"/>
                  </a:lnTo>
                  <a:lnTo>
                    <a:pt x="166" y="242"/>
                  </a:lnTo>
                  <a:lnTo>
                    <a:pt x="190" y="242"/>
                  </a:lnTo>
                  <a:lnTo>
                    <a:pt x="202" y="230"/>
                  </a:lnTo>
                  <a:lnTo>
                    <a:pt x="202" y="217"/>
                  </a:lnTo>
                  <a:lnTo>
                    <a:pt x="213" y="207"/>
                  </a:lnTo>
                  <a:lnTo>
                    <a:pt x="236" y="207"/>
                  </a:lnTo>
                  <a:lnTo>
                    <a:pt x="236" y="180"/>
                  </a:lnTo>
                  <a:lnTo>
                    <a:pt x="250" y="180"/>
                  </a:lnTo>
                  <a:lnTo>
                    <a:pt x="264" y="166"/>
                  </a:lnTo>
                  <a:lnTo>
                    <a:pt x="264" y="150"/>
                  </a:lnTo>
                  <a:lnTo>
                    <a:pt x="280" y="134"/>
                  </a:lnTo>
                  <a:lnTo>
                    <a:pt x="293" y="121"/>
                  </a:lnTo>
                  <a:lnTo>
                    <a:pt x="293" y="105"/>
                  </a:lnTo>
                  <a:lnTo>
                    <a:pt x="282" y="93"/>
                  </a:lnTo>
                  <a:lnTo>
                    <a:pt x="305" y="69"/>
                  </a:lnTo>
                  <a:lnTo>
                    <a:pt x="336" y="69"/>
                  </a:lnTo>
                  <a:lnTo>
                    <a:pt x="336" y="64"/>
                  </a:lnTo>
                  <a:lnTo>
                    <a:pt x="343" y="57"/>
                  </a:lnTo>
                  <a:lnTo>
                    <a:pt x="371" y="57"/>
                  </a:lnTo>
                  <a:lnTo>
                    <a:pt x="371" y="50"/>
                  </a:lnTo>
                  <a:lnTo>
                    <a:pt x="363" y="4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Freeform 356">
              <a:extLst>
                <a:ext uri="{FF2B5EF4-FFF2-40B4-BE49-F238E27FC236}">
                  <a16:creationId xmlns:a16="http://schemas.microsoft.com/office/drawing/2014/main" id="{5C57F748-895E-49DF-89A1-345BFD0257D6}"/>
                </a:ext>
              </a:extLst>
            </p:cNvPr>
            <p:cNvSpPr>
              <a:spLocks/>
            </p:cNvSpPr>
            <p:nvPr/>
          </p:nvSpPr>
          <p:spPr bwMode="auto">
            <a:xfrm>
              <a:off x="5611813" y="2979738"/>
              <a:ext cx="280988" cy="306388"/>
            </a:xfrm>
            <a:custGeom>
              <a:avLst/>
              <a:gdLst>
                <a:gd name="T0" fmla="*/ 255 w 353"/>
                <a:gd name="T1" fmla="*/ 366 h 386"/>
                <a:gd name="T2" fmla="*/ 255 w 353"/>
                <a:gd name="T3" fmla="*/ 321 h 386"/>
                <a:gd name="T4" fmla="*/ 235 w 353"/>
                <a:gd name="T5" fmla="*/ 302 h 386"/>
                <a:gd name="T6" fmla="*/ 235 w 353"/>
                <a:gd name="T7" fmla="*/ 266 h 386"/>
                <a:gd name="T8" fmla="*/ 263 w 353"/>
                <a:gd name="T9" fmla="*/ 266 h 386"/>
                <a:gd name="T10" fmla="*/ 294 w 353"/>
                <a:gd name="T11" fmla="*/ 234 h 386"/>
                <a:gd name="T12" fmla="*/ 331 w 353"/>
                <a:gd name="T13" fmla="*/ 198 h 386"/>
                <a:gd name="T14" fmla="*/ 353 w 353"/>
                <a:gd name="T15" fmla="*/ 177 h 386"/>
                <a:gd name="T16" fmla="*/ 353 w 353"/>
                <a:gd name="T17" fmla="*/ 136 h 386"/>
                <a:gd name="T18" fmla="*/ 326 w 353"/>
                <a:gd name="T19" fmla="*/ 109 h 386"/>
                <a:gd name="T20" fmla="*/ 326 w 353"/>
                <a:gd name="T21" fmla="*/ 56 h 386"/>
                <a:gd name="T22" fmla="*/ 294 w 353"/>
                <a:gd name="T23" fmla="*/ 22 h 386"/>
                <a:gd name="T24" fmla="*/ 294 w 353"/>
                <a:gd name="T25" fmla="*/ 22 h 386"/>
                <a:gd name="T26" fmla="*/ 294 w 353"/>
                <a:gd name="T27" fmla="*/ 17 h 386"/>
                <a:gd name="T28" fmla="*/ 310 w 353"/>
                <a:gd name="T29" fmla="*/ 0 h 386"/>
                <a:gd name="T30" fmla="*/ 288 w 353"/>
                <a:gd name="T31" fmla="*/ 0 h 386"/>
                <a:gd name="T32" fmla="*/ 265 w 353"/>
                <a:gd name="T33" fmla="*/ 24 h 386"/>
                <a:gd name="T34" fmla="*/ 276 w 353"/>
                <a:gd name="T35" fmla="*/ 36 h 386"/>
                <a:gd name="T36" fmla="*/ 276 w 353"/>
                <a:gd name="T37" fmla="*/ 52 h 386"/>
                <a:gd name="T38" fmla="*/ 263 w 353"/>
                <a:gd name="T39" fmla="*/ 65 h 386"/>
                <a:gd name="T40" fmla="*/ 247 w 353"/>
                <a:gd name="T41" fmla="*/ 81 h 386"/>
                <a:gd name="T42" fmla="*/ 247 w 353"/>
                <a:gd name="T43" fmla="*/ 97 h 386"/>
                <a:gd name="T44" fmla="*/ 233 w 353"/>
                <a:gd name="T45" fmla="*/ 111 h 386"/>
                <a:gd name="T46" fmla="*/ 219 w 353"/>
                <a:gd name="T47" fmla="*/ 111 h 386"/>
                <a:gd name="T48" fmla="*/ 219 w 353"/>
                <a:gd name="T49" fmla="*/ 138 h 386"/>
                <a:gd name="T50" fmla="*/ 196 w 353"/>
                <a:gd name="T51" fmla="*/ 138 h 386"/>
                <a:gd name="T52" fmla="*/ 185 w 353"/>
                <a:gd name="T53" fmla="*/ 148 h 386"/>
                <a:gd name="T54" fmla="*/ 185 w 353"/>
                <a:gd name="T55" fmla="*/ 161 h 386"/>
                <a:gd name="T56" fmla="*/ 173 w 353"/>
                <a:gd name="T57" fmla="*/ 173 h 386"/>
                <a:gd name="T58" fmla="*/ 149 w 353"/>
                <a:gd name="T59" fmla="*/ 173 h 386"/>
                <a:gd name="T60" fmla="*/ 139 w 353"/>
                <a:gd name="T61" fmla="*/ 186 h 386"/>
                <a:gd name="T62" fmla="*/ 139 w 353"/>
                <a:gd name="T63" fmla="*/ 197 h 386"/>
                <a:gd name="T64" fmla="*/ 124 w 353"/>
                <a:gd name="T65" fmla="*/ 211 h 386"/>
                <a:gd name="T66" fmla="*/ 73 w 353"/>
                <a:gd name="T67" fmla="*/ 211 h 386"/>
                <a:gd name="T68" fmla="*/ 35 w 353"/>
                <a:gd name="T69" fmla="*/ 211 h 386"/>
                <a:gd name="T70" fmla="*/ 21 w 353"/>
                <a:gd name="T71" fmla="*/ 198 h 386"/>
                <a:gd name="T72" fmla="*/ 12 w 353"/>
                <a:gd name="T73" fmla="*/ 198 h 386"/>
                <a:gd name="T74" fmla="*/ 0 w 353"/>
                <a:gd name="T75" fmla="*/ 184 h 386"/>
                <a:gd name="T76" fmla="*/ 0 w 353"/>
                <a:gd name="T77" fmla="*/ 222 h 386"/>
                <a:gd name="T78" fmla="*/ 30 w 353"/>
                <a:gd name="T79" fmla="*/ 254 h 386"/>
                <a:gd name="T80" fmla="*/ 30 w 353"/>
                <a:gd name="T81" fmla="*/ 291 h 386"/>
                <a:gd name="T82" fmla="*/ 10 w 353"/>
                <a:gd name="T83" fmla="*/ 311 h 386"/>
                <a:gd name="T84" fmla="*/ 10 w 353"/>
                <a:gd name="T85" fmla="*/ 323 h 386"/>
                <a:gd name="T86" fmla="*/ 142 w 353"/>
                <a:gd name="T87" fmla="*/ 323 h 386"/>
                <a:gd name="T88" fmla="*/ 174 w 353"/>
                <a:gd name="T89" fmla="*/ 353 h 386"/>
                <a:gd name="T90" fmla="*/ 174 w 353"/>
                <a:gd name="T91" fmla="*/ 373 h 386"/>
                <a:gd name="T92" fmla="*/ 187 w 353"/>
                <a:gd name="T93" fmla="*/ 386 h 386"/>
                <a:gd name="T94" fmla="*/ 187 w 353"/>
                <a:gd name="T95" fmla="*/ 366 h 386"/>
                <a:gd name="T96" fmla="*/ 255 w 353"/>
                <a:gd name="T97" fmla="*/ 36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386">
                  <a:moveTo>
                    <a:pt x="255" y="366"/>
                  </a:moveTo>
                  <a:lnTo>
                    <a:pt x="255" y="321"/>
                  </a:lnTo>
                  <a:lnTo>
                    <a:pt x="235" y="302"/>
                  </a:lnTo>
                  <a:lnTo>
                    <a:pt x="235" y="266"/>
                  </a:lnTo>
                  <a:lnTo>
                    <a:pt x="263" y="266"/>
                  </a:lnTo>
                  <a:lnTo>
                    <a:pt x="294" y="234"/>
                  </a:lnTo>
                  <a:lnTo>
                    <a:pt x="331" y="198"/>
                  </a:lnTo>
                  <a:lnTo>
                    <a:pt x="353" y="177"/>
                  </a:lnTo>
                  <a:lnTo>
                    <a:pt x="353" y="136"/>
                  </a:lnTo>
                  <a:lnTo>
                    <a:pt x="326" y="109"/>
                  </a:lnTo>
                  <a:lnTo>
                    <a:pt x="326" y="56"/>
                  </a:lnTo>
                  <a:lnTo>
                    <a:pt x="294" y="22"/>
                  </a:lnTo>
                  <a:lnTo>
                    <a:pt x="294" y="22"/>
                  </a:lnTo>
                  <a:lnTo>
                    <a:pt x="294" y="17"/>
                  </a:lnTo>
                  <a:lnTo>
                    <a:pt x="310" y="0"/>
                  </a:lnTo>
                  <a:lnTo>
                    <a:pt x="288" y="0"/>
                  </a:lnTo>
                  <a:lnTo>
                    <a:pt x="265" y="24"/>
                  </a:lnTo>
                  <a:lnTo>
                    <a:pt x="276" y="36"/>
                  </a:lnTo>
                  <a:lnTo>
                    <a:pt x="276" y="52"/>
                  </a:lnTo>
                  <a:lnTo>
                    <a:pt x="263" y="65"/>
                  </a:lnTo>
                  <a:lnTo>
                    <a:pt x="247" y="81"/>
                  </a:lnTo>
                  <a:lnTo>
                    <a:pt x="247" y="97"/>
                  </a:lnTo>
                  <a:lnTo>
                    <a:pt x="233" y="111"/>
                  </a:lnTo>
                  <a:lnTo>
                    <a:pt x="219" y="111"/>
                  </a:lnTo>
                  <a:lnTo>
                    <a:pt x="219" y="138"/>
                  </a:lnTo>
                  <a:lnTo>
                    <a:pt x="196" y="138"/>
                  </a:lnTo>
                  <a:lnTo>
                    <a:pt x="185" y="148"/>
                  </a:lnTo>
                  <a:lnTo>
                    <a:pt x="185" y="161"/>
                  </a:lnTo>
                  <a:lnTo>
                    <a:pt x="173" y="173"/>
                  </a:lnTo>
                  <a:lnTo>
                    <a:pt x="149" y="173"/>
                  </a:lnTo>
                  <a:lnTo>
                    <a:pt x="139" y="186"/>
                  </a:lnTo>
                  <a:lnTo>
                    <a:pt x="139" y="197"/>
                  </a:lnTo>
                  <a:lnTo>
                    <a:pt x="124" y="211"/>
                  </a:lnTo>
                  <a:lnTo>
                    <a:pt x="73" y="211"/>
                  </a:lnTo>
                  <a:lnTo>
                    <a:pt x="35" y="211"/>
                  </a:lnTo>
                  <a:lnTo>
                    <a:pt x="21" y="198"/>
                  </a:lnTo>
                  <a:lnTo>
                    <a:pt x="12" y="198"/>
                  </a:lnTo>
                  <a:lnTo>
                    <a:pt x="0" y="184"/>
                  </a:lnTo>
                  <a:lnTo>
                    <a:pt x="0" y="222"/>
                  </a:lnTo>
                  <a:lnTo>
                    <a:pt x="30" y="254"/>
                  </a:lnTo>
                  <a:lnTo>
                    <a:pt x="30" y="291"/>
                  </a:lnTo>
                  <a:lnTo>
                    <a:pt x="10" y="311"/>
                  </a:lnTo>
                  <a:lnTo>
                    <a:pt x="10" y="323"/>
                  </a:lnTo>
                  <a:lnTo>
                    <a:pt x="142" y="323"/>
                  </a:lnTo>
                  <a:lnTo>
                    <a:pt x="174" y="353"/>
                  </a:lnTo>
                  <a:lnTo>
                    <a:pt x="174" y="373"/>
                  </a:lnTo>
                  <a:lnTo>
                    <a:pt x="187" y="386"/>
                  </a:lnTo>
                  <a:lnTo>
                    <a:pt x="187" y="366"/>
                  </a:lnTo>
                  <a:lnTo>
                    <a:pt x="255" y="36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Freeform 357">
              <a:extLst>
                <a:ext uri="{FF2B5EF4-FFF2-40B4-BE49-F238E27FC236}">
                  <a16:creationId xmlns:a16="http://schemas.microsoft.com/office/drawing/2014/main" id="{F138240B-C02F-471D-BD39-944115CFED9A}"/>
                </a:ext>
              </a:extLst>
            </p:cNvPr>
            <p:cNvSpPr>
              <a:spLocks/>
            </p:cNvSpPr>
            <p:nvPr/>
          </p:nvSpPr>
          <p:spPr bwMode="auto">
            <a:xfrm>
              <a:off x="5761038" y="2970213"/>
              <a:ext cx="593725" cy="644525"/>
            </a:xfrm>
            <a:custGeom>
              <a:avLst/>
              <a:gdLst>
                <a:gd name="T0" fmla="*/ 693 w 749"/>
                <a:gd name="T1" fmla="*/ 219 h 813"/>
                <a:gd name="T2" fmla="*/ 622 w 749"/>
                <a:gd name="T3" fmla="*/ 291 h 813"/>
                <a:gd name="T4" fmla="*/ 622 w 749"/>
                <a:gd name="T5" fmla="*/ 324 h 813"/>
                <a:gd name="T6" fmla="*/ 574 w 749"/>
                <a:gd name="T7" fmla="*/ 308 h 813"/>
                <a:gd name="T8" fmla="*/ 535 w 749"/>
                <a:gd name="T9" fmla="*/ 292 h 813"/>
                <a:gd name="T10" fmla="*/ 517 w 749"/>
                <a:gd name="T11" fmla="*/ 317 h 813"/>
                <a:gd name="T12" fmla="*/ 563 w 749"/>
                <a:gd name="T13" fmla="*/ 344 h 813"/>
                <a:gd name="T14" fmla="*/ 553 w 749"/>
                <a:gd name="T15" fmla="*/ 378 h 813"/>
                <a:gd name="T16" fmla="*/ 503 w 749"/>
                <a:gd name="T17" fmla="*/ 328 h 813"/>
                <a:gd name="T18" fmla="*/ 437 w 749"/>
                <a:gd name="T19" fmla="*/ 328 h 813"/>
                <a:gd name="T20" fmla="*/ 360 w 749"/>
                <a:gd name="T21" fmla="*/ 292 h 813"/>
                <a:gd name="T22" fmla="*/ 308 w 749"/>
                <a:gd name="T23" fmla="*/ 267 h 813"/>
                <a:gd name="T24" fmla="*/ 317 w 749"/>
                <a:gd name="T25" fmla="*/ 216 h 813"/>
                <a:gd name="T26" fmla="*/ 273 w 749"/>
                <a:gd name="T27" fmla="*/ 169 h 813"/>
                <a:gd name="T28" fmla="*/ 273 w 749"/>
                <a:gd name="T29" fmla="*/ 130 h 813"/>
                <a:gd name="T30" fmla="*/ 305 w 749"/>
                <a:gd name="T31" fmla="*/ 130 h 813"/>
                <a:gd name="T32" fmla="*/ 285 w 749"/>
                <a:gd name="T33" fmla="*/ 78 h 813"/>
                <a:gd name="T34" fmla="*/ 305 w 749"/>
                <a:gd name="T35" fmla="*/ 55 h 813"/>
                <a:gd name="T36" fmla="*/ 264 w 749"/>
                <a:gd name="T37" fmla="*/ 52 h 813"/>
                <a:gd name="T38" fmla="*/ 196 w 749"/>
                <a:gd name="T39" fmla="*/ 9 h 813"/>
                <a:gd name="T40" fmla="*/ 171 w 749"/>
                <a:gd name="T41" fmla="*/ 0 h 813"/>
                <a:gd name="T42" fmla="*/ 139 w 749"/>
                <a:gd name="T43" fmla="*/ 0 h 813"/>
                <a:gd name="T44" fmla="*/ 132 w 749"/>
                <a:gd name="T45" fmla="*/ 12 h 813"/>
                <a:gd name="T46" fmla="*/ 107 w 749"/>
                <a:gd name="T47" fmla="*/ 29 h 813"/>
                <a:gd name="T48" fmla="*/ 107 w 749"/>
                <a:gd name="T49" fmla="*/ 34 h 813"/>
                <a:gd name="T50" fmla="*/ 139 w 749"/>
                <a:gd name="T51" fmla="*/ 121 h 813"/>
                <a:gd name="T52" fmla="*/ 166 w 749"/>
                <a:gd name="T53" fmla="*/ 189 h 813"/>
                <a:gd name="T54" fmla="*/ 107 w 749"/>
                <a:gd name="T55" fmla="*/ 246 h 813"/>
                <a:gd name="T56" fmla="*/ 48 w 749"/>
                <a:gd name="T57" fmla="*/ 278 h 813"/>
                <a:gd name="T58" fmla="*/ 68 w 749"/>
                <a:gd name="T59" fmla="*/ 333 h 813"/>
                <a:gd name="T60" fmla="*/ 0 w 749"/>
                <a:gd name="T61" fmla="*/ 378 h 813"/>
                <a:gd name="T62" fmla="*/ 5 w 749"/>
                <a:gd name="T63" fmla="*/ 403 h 813"/>
                <a:gd name="T64" fmla="*/ 55 w 749"/>
                <a:gd name="T65" fmla="*/ 419 h 813"/>
                <a:gd name="T66" fmla="*/ 59 w 749"/>
                <a:gd name="T67" fmla="*/ 471 h 813"/>
                <a:gd name="T68" fmla="*/ 123 w 749"/>
                <a:gd name="T69" fmla="*/ 439 h 813"/>
                <a:gd name="T70" fmla="*/ 109 w 749"/>
                <a:gd name="T71" fmla="*/ 480 h 813"/>
                <a:gd name="T72" fmla="*/ 134 w 749"/>
                <a:gd name="T73" fmla="*/ 562 h 813"/>
                <a:gd name="T74" fmla="*/ 169 w 749"/>
                <a:gd name="T75" fmla="*/ 629 h 813"/>
                <a:gd name="T76" fmla="*/ 212 w 749"/>
                <a:gd name="T77" fmla="*/ 742 h 813"/>
                <a:gd name="T78" fmla="*/ 244 w 749"/>
                <a:gd name="T79" fmla="*/ 813 h 813"/>
                <a:gd name="T80" fmla="*/ 305 w 749"/>
                <a:gd name="T81" fmla="*/ 611 h 813"/>
                <a:gd name="T82" fmla="*/ 367 w 749"/>
                <a:gd name="T83" fmla="*/ 585 h 813"/>
                <a:gd name="T84" fmla="*/ 531 w 749"/>
                <a:gd name="T85" fmla="*/ 458 h 813"/>
                <a:gd name="T86" fmla="*/ 567 w 749"/>
                <a:gd name="T87" fmla="*/ 437 h 813"/>
                <a:gd name="T88" fmla="*/ 551 w 749"/>
                <a:gd name="T89" fmla="*/ 394 h 813"/>
                <a:gd name="T90" fmla="*/ 574 w 749"/>
                <a:gd name="T91" fmla="*/ 346 h 813"/>
                <a:gd name="T92" fmla="*/ 633 w 749"/>
                <a:gd name="T93" fmla="*/ 371 h 813"/>
                <a:gd name="T94" fmla="*/ 610 w 749"/>
                <a:gd name="T95" fmla="*/ 417 h 813"/>
                <a:gd name="T96" fmla="*/ 633 w 749"/>
                <a:gd name="T97" fmla="*/ 424 h 813"/>
                <a:gd name="T98" fmla="*/ 649 w 749"/>
                <a:gd name="T99" fmla="*/ 437 h 813"/>
                <a:gd name="T100" fmla="*/ 677 w 749"/>
                <a:gd name="T101" fmla="*/ 385 h 813"/>
                <a:gd name="T102" fmla="*/ 677 w 749"/>
                <a:gd name="T103" fmla="*/ 328 h 813"/>
                <a:gd name="T104" fmla="*/ 731 w 749"/>
                <a:gd name="T105" fmla="*/ 298 h 813"/>
                <a:gd name="T106" fmla="*/ 749 w 749"/>
                <a:gd name="T107" fmla="*/ 242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49" h="813">
                  <a:moveTo>
                    <a:pt x="717" y="242"/>
                  </a:moveTo>
                  <a:lnTo>
                    <a:pt x="693" y="219"/>
                  </a:lnTo>
                  <a:lnTo>
                    <a:pt x="649" y="264"/>
                  </a:lnTo>
                  <a:lnTo>
                    <a:pt x="622" y="291"/>
                  </a:lnTo>
                  <a:lnTo>
                    <a:pt x="622" y="305"/>
                  </a:lnTo>
                  <a:lnTo>
                    <a:pt x="622" y="324"/>
                  </a:lnTo>
                  <a:lnTo>
                    <a:pt x="590" y="324"/>
                  </a:lnTo>
                  <a:lnTo>
                    <a:pt x="574" y="308"/>
                  </a:lnTo>
                  <a:lnTo>
                    <a:pt x="551" y="308"/>
                  </a:lnTo>
                  <a:lnTo>
                    <a:pt x="535" y="292"/>
                  </a:lnTo>
                  <a:lnTo>
                    <a:pt x="513" y="271"/>
                  </a:lnTo>
                  <a:lnTo>
                    <a:pt x="517" y="317"/>
                  </a:lnTo>
                  <a:lnTo>
                    <a:pt x="537" y="317"/>
                  </a:lnTo>
                  <a:lnTo>
                    <a:pt x="563" y="344"/>
                  </a:lnTo>
                  <a:lnTo>
                    <a:pt x="563" y="367"/>
                  </a:lnTo>
                  <a:lnTo>
                    <a:pt x="553" y="378"/>
                  </a:lnTo>
                  <a:lnTo>
                    <a:pt x="519" y="344"/>
                  </a:lnTo>
                  <a:lnTo>
                    <a:pt x="503" y="328"/>
                  </a:lnTo>
                  <a:lnTo>
                    <a:pt x="472" y="328"/>
                  </a:lnTo>
                  <a:lnTo>
                    <a:pt x="437" y="328"/>
                  </a:lnTo>
                  <a:lnTo>
                    <a:pt x="401" y="292"/>
                  </a:lnTo>
                  <a:lnTo>
                    <a:pt x="360" y="292"/>
                  </a:lnTo>
                  <a:lnTo>
                    <a:pt x="337" y="267"/>
                  </a:lnTo>
                  <a:lnTo>
                    <a:pt x="308" y="267"/>
                  </a:lnTo>
                  <a:lnTo>
                    <a:pt x="287" y="246"/>
                  </a:lnTo>
                  <a:lnTo>
                    <a:pt x="317" y="216"/>
                  </a:lnTo>
                  <a:lnTo>
                    <a:pt x="296" y="194"/>
                  </a:lnTo>
                  <a:lnTo>
                    <a:pt x="273" y="169"/>
                  </a:lnTo>
                  <a:lnTo>
                    <a:pt x="273" y="146"/>
                  </a:lnTo>
                  <a:lnTo>
                    <a:pt x="273" y="130"/>
                  </a:lnTo>
                  <a:lnTo>
                    <a:pt x="289" y="146"/>
                  </a:lnTo>
                  <a:lnTo>
                    <a:pt x="305" y="130"/>
                  </a:lnTo>
                  <a:lnTo>
                    <a:pt x="285" y="111"/>
                  </a:lnTo>
                  <a:lnTo>
                    <a:pt x="285" y="78"/>
                  </a:lnTo>
                  <a:lnTo>
                    <a:pt x="305" y="78"/>
                  </a:lnTo>
                  <a:lnTo>
                    <a:pt x="305" y="55"/>
                  </a:lnTo>
                  <a:lnTo>
                    <a:pt x="283" y="32"/>
                  </a:lnTo>
                  <a:lnTo>
                    <a:pt x="264" y="52"/>
                  </a:lnTo>
                  <a:lnTo>
                    <a:pt x="239" y="52"/>
                  </a:lnTo>
                  <a:lnTo>
                    <a:pt x="196" y="9"/>
                  </a:lnTo>
                  <a:lnTo>
                    <a:pt x="182" y="9"/>
                  </a:lnTo>
                  <a:lnTo>
                    <a:pt x="171" y="0"/>
                  </a:lnTo>
                  <a:lnTo>
                    <a:pt x="167" y="0"/>
                  </a:lnTo>
                  <a:lnTo>
                    <a:pt x="139" y="0"/>
                  </a:lnTo>
                  <a:lnTo>
                    <a:pt x="132" y="7"/>
                  </a:lnTo>
                  <a:lnTo>
                    <a:pt x="132" y="12"/>
                  </a:lnTo>
                  <a:lnTo>
                    <a:pt x="123" y="12"/>
                  </a:lnTo>
                  <a:lnTo>
                    <a:pt x="107" y="29"/>
                  </a:lnTo>
                  <a:lnTo>
                    <a:pt x="107" y="34"/>
                  </a:lnTo>
                  <a:lnTo>
                    <a:pt x="107" y="34"/>
                  </a:lnTo>
                  <a:lnTo>
                    <a:pt x="139" y="68"/>
                  </a:lnTo>
                  <a:lnTo>
                    <a:pt x="139" y="121"/>
                  </a:lnTo>
                  <a:lnTo>
                    <a:pt x="166" y="148"/>
                  </a:lnTo>
                  <a:lnTo>
                    <a:pt x="166" y="189"/>
                  </a:lnTo>
                  <a:lnTo>
                    <a:pt x="144" y="210"/>
                  </a:lnTo>
                  <a:lnTo>
                    <a:pt x="107" y="246"/>
                  </a:lnTo>
                  <a:lnTo>
                    <a:pt x="76" y="278"/>
                  </a:lnTo>
                  <a:lnTo>
                    <a:pt x="48" y="278"/>
                  </a:lnTo>
                  <a:lnTo>
                    <a:pt x="48" y="314"/>
                  </a:lnTo>
                  <a:lnTo>
                    <a:pt x="68" y="333"/>
                  </a:lnTo>
                  <a:lnTo>
                    <a:pt x="68" y="378"/>
                  </a:lnTo>
                  <a:lnTo>
                    <a:pt x="0" y="378"/>
                  </a:lnTo>
                  <a:lnTo>
                    <a:pt x="0" y="398"/>
                  </a:lnTo>
                  <a:lnTo>
                    <a:pt x="5" y="403"/>
                  </a:lnTo>
                  <a:lnTo>
                    <a:pt x="55" y="403"/>
                  </a:lnTo>
                  <a:lnTo>
                    <a:pt x="55" y="419"/>
                  </a:lnTo>
                  <a:lnTo>
                    <a:pt x="30" y="444"/>
                  </a:lnTo>
                  <a:lnTo>
                    <a:pt x="59" y="471"/>
                  </a:lnTo>
                  <a:lnTo>
                    <a:pt x="89" y="471"/>
                  </a:lnTo>
                  <a:lnTo>
                    <a:pt x="123" y="439"/>
                  </a:lnTo>
                  <a:lnTo>
                    <a:pt x="135" y="451"/>
                  </a:lnTo>
                  <a:lnTo>
                    <a:pt x="109" y="480"/>
                  </a:lnTo>
                  <a:lnTo>
                    <a:pt x="109" y="535"/>
                  </a:lnTo>
                  <a:lnTo>
                    <a:pt x="134" y="562"/>
                  </a:lnTo>
                  <a:lnTo>
                    <a:pt x="134" y="594"/>
                  </a:lnTo>
                  <a:lnTo>
                    <a:pt x="169" y="629"/>
                  </a:lnTo>
                  <a:lnTo>
                    <a:pt x="169" y="701"/>
                  </a:lnTo>
                  <a:lnTo>
                    <a:pt x="212" y="742"/>
                  </a:lnTo>
                  <a:lnTo>
                    <a:pt x="212" y="779"/>
                  </a:lnTo>
                  <a:lnTo>
                    <a:pt x="244" y="813"/>
                  </a:lnTo>
                  <a:lnTo>
                    <a:pt x="305" y="752"/>
                  </a:lnTo>
                  <a:lnTo>
                    <a:pt x="305" y="611"/>
                  </a:lnTo>
                  <a:lnTo>
                    <a:pt x="331" y="585"/>
                  </a:lnTo>
                  <a:lnTo>
                    <a:pt x="367" y="585"/>
                  </a:lnTo>
                  <a:lnTo>
                    <a:pt x="494" y="458"/>
                  </a:lnTo>
                  <a:lnTo>
                    <a:pt x="531" y="458"/>
                  </a:lnTo>
                  <a:lnTo>
                    <a:pt x="553" y="437"/>
                  </a:lnTo>
                  <a:lnTo>
                    <a:pt x="567" y="437"/>
                  </a:lnTo>
                  <a:lnTo>
                    <a:pt x="551" y="421"/>
                  </a:lnTo>
                  <a:lnTo>
                    <a:pt x="551" y="394"/>
                  </a:lnTo>
                  <a:lnTo>
                    <a:pt x="574" y="371"/>
                  </a:lnTo>
                  <a:lnTo>
                    <a:pt x="574" y="346"/>
                  </a:lnTo>
                  <a:lnTo>
                    <a:pt x="633" y="346"/>
                  </a:lnTo>
                  <a:lnTo>
                    <a:pt x="633" y="371"/>
                  </a:lnTo>
                  <a:lnTo>
                    <a:pt x="610" y="394"/>
                  </a:lnTo>
                  <a:lnTo>
                    <a:pt x="610" y="417"/>
                  </a:lnTo>
                  <a:lnTo>
                    <a:pt x="633" y="394"/>
                  </a:lnTo>
                  <a:lnTo>
                    <a:pt x="633" y="424"/>
                  </a:lnTo>
                  <a:lnTo>
                    <a:pt x="645" y="437"/>
                  </a:lnTo>
                  <a:lnTo>
                    <a:pt x="649" y="437"/>
                  </a:lnTo>
                  <a:lnTo>
                    <a:pt x="649" y="414"/>
                  </a:lnTo>
                  <a:lnTo>
                    <a:pt x="677" y="385"/>
                  </a:lnTo>
                  <a:lnTo>
                    <a:pt x="677" y="367"/>
                  </a:lnTo>
                  <a:lnTo>
                    <a:pt x="677" y="328"/>
                  </a:lnTo>
                  <a:lnTo>
                    <a:pt x="708" y="298"/>
                  </a:lnTo>
                  <a:lnTo>
                    <a:pt x="731" y="298"/>
                  </a:lnTo>
                  <a:lnTo>
                    <a:pt x="749" y="280"/>
                  </a:lnTo>
                  <a:lnTo>
                    <a:pt x="749" y="242"/>
                  </a:lnTo>
                  <a:lnTo>
                    <a:pt x="717" y="242"/>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358">
              <a:extLst>
                <a:ext uri="{FF2B5EF4-FFF2-40B4-BE49-F238E27FC236}">
                  <a16:creationId xmlns:a16="http://schemas.microsoft.com/office/drawing/2014/main" id="{19D29C43-3760-405E-9CE4-D9E9D26C788F}"/>
                </a:ext>
              </a:extLst>
            </p:cNvPr>
            <p:cNvSpPr>
              <a:spLocks/>
            </p:cNvSpPr>
            <p:nvPr/>
          </p:nvSpPr>
          <p:spPr bwMode="auto">
            <a:xfrm>
              <a:off x="5745163" y="2867025"/>
              <a:ext cx="149225" cy="103188"/>
            </a:xfrm>
            <a:custGeom>
              <a:avLst/>
              <a:gdLst>
                <a:gd name="T0" fmla="*/ 168 w 187"/>
                <a:gd name="T1" fmla="*/ 84 h 130"/>
                <a:gd name="T2" fmla="*/ 168 w 187"/>
                <a:gd name="T3" fmla="*/ 64 h 130"/>
                <a:gd name="T4" fmla="*/ 154 w 187"/>
                <a:gd name="T5" fmla="*/ 50 h 130"/>
                <a:gd name="T6" fmla="*/ 129 w 187"/>
                <a:gd name="T7" fmla="*/ 50 h 130"/>
                <a:gd name="T8" fmla="*/ 116 w 187"/>
                <a:gd name="T9" fmla="*/ 60 h 130"/>
                <a:gd name="T10" fmla="*/ 100 w 187"/>
                <a:gd name="T11" fmla="*/ 44 h 130"/>
                <a:gd name="T12" fmla="*/ 86 w 187"/>
                <a:gd name="T13" fmla="*/ 57 h 130"/>
                <a:gd name="T14" fmla="*/ 82 w 187"/>
                <a:gd name="T15" fmla="*/ 52 h 130"/>
                <a:gd name="T16" fmla="*/ 48 w 187"/>
                <a:gd name="T17" fmla="*/ 52 h 130"/>
                <a:gd name="T18" fmla="*/ 48 w 187"/>
                <a:gd name="T19" fmla="*/ 41 h 130"/>
                <a:gd name="T20" fmla="*/ 57 w 187"/>
                <a:gd name="T21" fmla="*/ 32 h 130"/>
                <a:gd name="T22" fmla="*/ 80 w 187"/>
                <a:gd name="T23" fmla="*/ 32 h 130"/>
                <a:gd name="T24" fmla="*/ 88 w 187"/>
                <a:gd name="T25" fmla="*/ 27 h 130"/>
                <a:gd name="T26" fmla="*/ 86 w 187"/>
                <a:gd name="T27" fmla="*/ 27 h 130"/>
                <a:gd name="T28" fmla="*/ 75 w 187"/>
                <a:gd name="T29" fmla="*/ 16 h 130"/>
                <a:gd name="T30" fmla="*/ 84 w 187"/>
                <a:gd name="T31" fmla="*/ 7 h 130"/>
                <a:gd name="T32" fmla="*/ 77 w 187"/>
                <a:gd name="T33" fmla="*/ 0 h 130"/>
                <a:gd name="T34" fmla="*/ 68 w 187"/>
                <a:gd name="T35" fmla="*/ 0 h 130"/>
                <a:gd name="T36" fmla="*/ 22 w 187"/>
                <a:gd name="T37" fmla="*/ 46 h 130"/>
                <a:gd name="T38" fmla="*/ 4 w 187"/>
                <a:gd name="T39" fmla="*/ 46 h 130"/>
                <a:gd name="T40" fmla="*/ 4 w 187"/>
                <a:gd name="T41" fmla="*/ 57 h 130"/>
                <a:gd name="T42" fmla="*/ 4 w 187"/>
                <a:gd name="T43" fmla="*/ 84 h 130"/>
                <a:gd name="T44" fmla="*/ 16 w 187"/>
                <a:gd name="T45" fmla="*/ 96 h 130"/>
                <a:gd name="T46" fmla="*/ 0 w 187"/>
                <a:gd name="T47" fmla="*/ 114 h 130"/>
                <a:gd name="T48" fmla="*/ 0 w 187"/>
                <a:gd name="T49" fmla="*/ 130 h 130"/>
                <a:gd name="T50" fmla="*/ 41 w 187"/>
                <a:gd name="T51" fmla="*/ 130 h 130"/>
                <a:gd name="T52" fmla="*/ 64 w 187"/>
                <a:gd name="T53" fmla="*/ 109 h 130"/>
                <a:gd name="T54" fmla="*/ 80 w 187"/>
                <a:gd name="T55" fmla="*/ 91 h 130"/>
                <a:gd name="T56" fmla="*/ 80 w 187"/>
                <a:gd name="T57" fmla="*/ 73 h 130"/>
                <a:gd name="T58" fmla="*/ 96 w 187"/>
                <a:gd name="T59" fmla="*/ 89 h 130"/>
                <a:gd name="T60" fmla="*/ 96 w 187"/>
                <a:gd name="T61" fmla="*/ 109 h 130"/>
                <a:gd name="T62" fmla="*/ 118 w 187"/>
                <a:gd name="T63" fmla="*/ 130 h 130"/>
                <a:gd name="T64" fmla="*/ 118 w 187"/>
                <a:gd name="T65" fmla="*/ 130 h 130"/>
                <a:gd name="T66" fmla="*/ 139 w 187"/>
                <a:gd name="T67" fmla="*/ 130 h 130"/>
                <a:gd name="T68" fmla="*/ 155 w 187"/>
                <a:gd name="T69" fmla="*/ 114 h 130"/>
                <a:gd name="T70" fmla="*/ 179 w 187"/>
                <a:gd name="T71" fmla="*/ 114 h 130"/>
                <a:gd name="T72" fmla="*/ 187 w 187"/>
                <a:gd name="T73" fmla="*/ 123 h 130"/>
                <a:gd name="T74" fmla="*/ 187 w 187"/>
                <a:gd name="T75" fmla="*/ 103 h 130"/>
                <a:gd name="T76" fmla="*/ 168 w 187"/>
                <a:gd name="T77" fmla="*/ 8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7" h="130">
                  <a:moveTo>
                    <a:pt x="168" y="84"/>
                  </a:moveTo>
                  <a:lnTo>
                    <a:pt x="168" y="64"/>
                  </a:lnTo>
                  <a:lnTo>
                    <a:pt x="154" y="50"/>
                  </a:lnTo>
                  <a:lnTo>
                    <a:pt x="129" y="50"/>
                  </a:lnTo>
                  <a:lnTo>
                    <a:pt x="116" y="60"/>
                  </a:lnTo>
                  <a:lnTo>
                    <a:pt x="100" y="44"/>
                  </a:lnTo>
                  <a:lnTo>
                    <a:pt x="86" y="57"/>
                  </a:lnTo>
                  <a:lnTo>
                    <a:pt x="82" y="52"/>
                  </a:lnTo>
                  <a:lnTo>
                    <a:pt x="48" y="52"/>
                  </a:lnTo>
                  <a:lnTo>
                    <a:pt x="48" y="41"/>
                  </a:lnTo>
                  <a:lnTo>
                    <a:pt x="57" y="32"/>
                  </a:lnTo>
                  <a:lnTo>
                    <a:pt x="80" y="32"/>
                  </a:lnTo>
                  <a:lnTo>
                    <a:pt x="88" y="27"/>
                  </a:lnTo>
                  <a:lnTo>
                    <a:pt x="86" y="27"/>
                  </a:lnTo>
                  <a:lnTo>
                    <a:pt x="75" y="16"/>
                  </a:lnTo>
                  <a:lnTo>
                    <a:pt x="84" y="7"/>
                  </a:lnTo>
                  <a:lnTo>
                    <a:pt x="77" y="0"/>
                  </a:lnTo>
                  <a:lnTo>
                    <a:pt x="68" y="0"/>
                  </a:lnTo>
                  <a:lnTo>
                    <a:pt x="22" y="46"/>
                  </a:lnTo>
                  <a:lnTo>
                    <a:pt x="4" y="46"/>
                  </a:lnTo>
                  <a:lnTo>
                    <a:pt x="4" y="57"/>
                  </a:lnTo>
                  <a:lnTo>
                    <a:pt x="4" y="84"/>
                  </a:lnTo>
                  <a:lnTo>
                    <a:pt x="16" y="96"/>
                  </a:lnTo>
                  <a:lnTo>
                    <a:pt x="0" y="114"/>
                  </a:lnTo>
                  <a:lnTo>
                    <a:pt x="0" y="130"/>
                  </a:lnTo>
                  <a:lnTo>
                    <a:pt x="41" y="130"/>
                  </a:lnTo>
                  <a:lnTo>
                    <a:pt x="64" y="109"/>
                  </a:lnTo>
                  <a:lnTo>
                    <a:pt x="80" y="91"/>
                  </a:lnTo>
                  <a:lnTo>
                    <a:pt x="80" y="73"/>
                  </a:lnTo>
                  <a:lnTo>
                    <a:pt x="96" y="89"/>
                  </a:lnTo>
                  <a:lnTo>
                    <a:pt x="96" y="109"/>
                  </a:lnTo>
                  <a:lnTo>
                    <a:pt x="118" y="130"/>
                  </a:lnTo>
                  <a:lnTo>
                    <a:pt x="118" y="130"/>
                  </a:lnTo>
                  <a:lnTo>
                    <a:pt x="139" y="130"/>
                  </a:lnTo>
                  <a:lnTo>
                    <a:pt x="155" y="114"/>
                  </a:lnTo>
                  <a:lnTo>
                    <a:pt x="179" y="114"/>
                  </a:lnTo>
                  <a:lnTo>
                    <a:pt x="187" y="123"/>
                  </a:lnTo>
                  <a:lnTo>
                    <a:pt x="187" y="103"/>
                  </a:lnTo>
                  <a:lnTo>
                    <a:pt x="168" y="8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Freeform 359">
              <a:extLst>
                <a:ext uri="{FF2B5EF4-FFF2-40B4-BE49-F238E27FC236}">
                  <a16:creationId xmlns:a16="http://schemas.microsoft.com/office/drawing/2014/main" id="{57860905-5598-4C0C-AC99-55A84A23F899}"/>
                </a:ext>
              </a:extLst>
            </p:cNvPr>
            <p:cNvSpPr>
              <a:spLocks/>
            </p:cNvSpPr>
            <p:nvPr/>
          </p:nvSpPr>
          <p:spPr bwMode="auto">
            <a:xfrm>
              <a:off x="5783263" y="2792413"/>
              <a:ext cx="222250" cy="122238"/>
            </a:xfrm>
            <a:custGeom>
              <a:avLst/>
              <a:gdLst>
                <a:gd name="T0" fmla="*/ 266 w 280"/>
                <a:gd name="T1" fmla="*/ 18 h 155"/>
                <a:gd name="T2" fmla="*/ 220 w 280"/>
                <a:gd name="T3" fmla="*/ 18 h 155"/>
                <a:gd name="T4" fmla="*/ 213 w 280"/>
                <a:gd name="T5" fmla="*/ 9 h 155"/>
                <a:gd name="T6" fmla="*/ 163 w 280"/>
                <a:gd name="T7" fmla="*/ 9 h 155"/>
                <a:gd name="T8" fmla="*/ 152 w 280"/>
                <a:gd name="T9" fmla="*/ 0 h 155"/>
                <a:gd name="T10" fmla="*/ 132 w 280"/>
                <a:gd name="T11" fmla="*/ 0 h 155"/>
                <a:gd name="T12" fmla="*/ 109 w 280"/>
                <a:gd name="T13" fmla="*/ 22 h 155"/>
                <a:gd name="T14" fmla="*/ 88 w 280"/>
                <a:gd name="T15" fmla="*/ 22 h 155"/>
                <a:gd name="T16" fmla="*/ 68 w 280"/>
                <a:gd name="T17" fmla="*/ 22 h 155"/>
                <a:gd name="T18" fmla="*/ 54 w 280"/>
                <a:gd name="T19" fmla="*/ 38 h 155"/>
                <a:gd name="T20" fmla="*/ 36 w 280"/>
                <a:gd name="T21" fmla="*/ 38 h 155"/>
                <a:gd name="T22" fmla="*/ 31 w 280"/>
                <a:gd name="T23" fmla="*/ 43 h 155"/>
                <a:gd name="T24" fmla="*/ 43 w 280"/>
                <a:gd name="T25" fmla="*/ 43 h 155"/>
                <a:gd name="T26" fmla="*/ 18 w 280"/>
                <a:gd name="T27" fmla="*/ 66 h 155"/>
                <a:gd name="T28" fmla="*/ 18 w 280"/>
                <a:gd name="T29" fmla="*/ 75 h 155"/>
                <a:gd name="T30" fmla="*/ 29 w 280"/>
                <a:gd name="T31" fmla="*/ 86 h 155"/>
                <a:gd name="T32" fmla="*/ 52 w 280"/>
                <a:gd name="T33" fmla="*/ 86 h 155"/>
                <a:gd name="T34" fmla="*/ 59 w 280"/>
                <a:gd name="T35" fmla="*/ 79 h 155"/>
                <a:gd name="T36" fmla="*/ 77 w 280"/>
                <a:gd name="T37" fmla="*/ 95 h 155"/>
                <a:gd name="T38" fmla="*/ 97 w 280"/>
                <a:gd name="T39" fmla="*/ 95 h 155"/>
                <a:gd name="T40" fmla="*/ 72 w 280"/>
                <a:gd name="T41" fmla="*/ 120 h 155"/>
                <a:gd name="T42" fmla="*/ 70 w 280"/>
                <a:gd name="T43" fmla="*/ 122 h 155"/>
                <a:gd name="T44" fmla="*/ 40 w 280"/>
                <a:gd name="T45" fmla="*/ 122 h 155"/>
                <a:gd name="T46" fmla="*/ 32 w 280"/>
                <a:gd name="T47" fmla="*/ 127 h 155"/>
                <a:gd name="T48" fmla="*/ 9 w 280"/>
                <a:gd name="T49" fmla="*/ 127 h 155"/>
                <a:gd name="T50" fmla="*/ 0 w 280"/>
                <a:gd name="T51" fmla="*/ 136 h 155"/>
                <a:gd name="T52" fmla="*/ 0 w 280"/>
                <a:gd name="T53" fmla="*/ 147 h 155"/>
                <a:gd name="T54" fmla="*/ 34 w 280"/>
                <a:gd name="T55" fmla="*/ 147 h 155"/>
                <a:gd name="T56" fmla="*/ 38 w 280"/>
                <a:gd name="T57" fmla="*/ 152 h 155"/>
                <a:gd name="T58" fmla="*/ 52 w 280"/>
                <a:gd name="T59" fmla="*/ 139 h 155"/>
                <a:gd name="T60" fmla="*/ 68 w 280"/>
                <a:gd name="T61" fmla="*/ 155 h 155"/>
                <a:gd name="T62" fmla="*/ 81 w 280"/>
                <a:gd name="T63" fmla="*/ 145 h 155"/>
                <a:gd name="T64" fmla="*/ 106 w 280"/>
                <a:gd name="T65" fmla="*/ 145 h 155"/>
                <a:gd name="T66" fmla="*/ 109 w 280"/>
                <a:gd name="T67" fmla="*/ 145 h 155"/>
                <a:gd name="T68" fmla="*/ 145 w 280"/>
                <a:gd name="T69" fmla="*/ 109 h 155"/>
                <a:gd name="T70" fmla="*/ 157 w 280"/>
                <a:gd name="T71" fmla="*/ 109 h 155"/>
                <a:gd name="T72" fmla="*/ 157 w 280"/>
                <a:gd name="T73" fmla="*/ 116 h 155"/>
                <a:gd name="T74" fmla="*/ 180 w 280"/>
                <a:gd name="T75" fmla="*/ 116 h 155"/>
                <a:gd name="T76" fmla="*/ 180 w 280"/>
                <a:gd name="T77" fmla="*/ 106 h 155"/>
                <a:gd name="T78" fmla="*/ 186 w 280"/>
                <a:gd name="T79" fmla="*/ 106 h 155"/>
                <a:gd name="T80" fmla="*/ 214 w 280"/>
                <a:gd name="T81" fmla="*/ 77 h 155"/>
                <a:gd name="T82" fmla="*/ 241 w 280"/>
                <a:gd name="T83" fmla="*/ 77 h 155"/>
                <a:gd name="T84" fmla="*/ 254 w 280"/>
                <a:gd name="T85" fmla="*/ 65 h 155"/>
                <a:gd name="T86" fmla="*/ 280 w 280"/>
                <a:gd name="T87" fmla="*/ 65 h 155"/>
                <a:gd name="T88" fmla="*/ 280 w 280"/>
                <a:gd name="T89" fmla="*/ 32 h 155"/>
                <a:gd name="T90" fmla="*/ 266 w 280"/>
                <a:gd name="T91" fmla="*/ 1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0" h="155">
                  <a:moveTo>
                    <a:pt x="266" y="18"/>
                  </a:moveTo>
                  <a:lnTo>
                    <a:pt x="220" y="18"/>
                  </a:lnTo>
                  <a:lnTo>
                    <a:pt x="213" y="9"/>
                  </a:lnTo>
                  <a:lnTo>
                    <a:pt x="163" y="9"/>
                  </a:lnTo>
                  <a:lnTo>
                    <a:pt x="152" y="0"/>
                  </a:lnTo>
                  <a:lnTo>
                    <a:pt x="132" y="0"/>
                  </a:lnTo>
                  <a:lnTo>
                    <a:pt x="109" y="22"/>
                  </a:lnTo>
                  <a:lnTo>
                    <a:pt x="88" y="22"/>
                  </a:lnTo>
                  <a:lnTo>
                    <a:pt x="68" y="22"/>
                  </a:lnTo>
                  <a:lnTo>
                    <a:pt x="54" y="38"/>
                  </a:lnTo>
                  <a:lnTo>
                    <a:pt x="36" y="38"/>
                  </a:lnTo>
                  <a:lnTo>
                    <a:pt x="31" y="43"/>
                  </a:lnTo>
                  <a:lnTo>
                    <a:pt x="43" y="43"/>
                  </a:lnTo>
                  <a:lnTo>
                    <a:pt x="18" y="66"/>
                  </a:lnTo>
                  <a:lnTo>
                    <a:pt x="18" y="75"/>
                  </a:lnTo>
                  <a:lnTo>
                    <a:pt x="29" y="86"/>
                  </a:lnTo>
                  <a:lnTo>
                    <a:pt x="52" y="86"/>
                  </a:lnTo>
                  <a:lnTo>
                    <a:pt x="59" y="79"/>
                  </a:lnTo>
                  <a:lnTo>
                    <a:pt x="77" y="95"/>
                  </a:lnTo>
                  <a:lnTo>
                    <a:pt x="97" y="95"/>
                  </a:lnTo>
                  <a:lnTo>
                    <a:pt x="72" y="120"/>
                  </a:lnTo>
                  <a:lnTo>
                    <a:pt x="70" y="122"/>
                  </a:lnTo>
                  <a:lnTo>
                    <a:pt x="40" y="122"/>
                  </a:lnTo>
                  <a:lnTo>
                    <a:pt x="32" y="127"/>
                  </a:lnTo>
                  <a:lnTo>
                    <a:pt x="9" y="127"/>
                  </a:lnTo>
                  <a:lnTo>
                    <a:pt x="0" y="136"/>
                  </a:lnTo>
                  <a:lnTo>
                    <a:pt x="0" y="147"/>
                  </a:lnTo>
                  <a:lnTo>
                    <a:pt x="34" y="147"/>
                  </a:lnTo>
                  <a:lnTo>
                    <a:pt x="38" y="152"/>
                  </a:lnTo>
                  <a:lnTo>
                    <a:pt x="52" y="139"/>
                  </a:lnTo>
                  <a:lnTo>
                    <a:pt x="68" y="155"/>
                  </a:lnTo>
                  <a:lnTo>
                    <a:pt x="81" y="145"/>
                  </a:lnTo>
                  <a:lnTo>
                    <a:pt x="106" y="145"/>
                  </a:lnTo>
                  <a:lnTo>
                    <a:pt x="109" y="145"/>
                  </a:lnTo>
                  <a:lnTo>
                    <a:pt x="145" y="109"/>
                  </a:lnTo>
                  <a:lnTo>
                    <a:pt x="157" y="109"/>
                  </a:lnTo>
                  <a:lnTo>
                    <a:pt x="157" y="116"/>
                  </a:lnTo>
                  <a:lnTo>
                    <a:pt x="180" y="116"/>
                  </a:lnTo>
                  <a:lnTo>
                    <a:pt x="180" y="106"/>
                  </a:lnTo>
                  <a:lnTo>
                    <a:pt x="186" y="106"/>
                  </a:lnTo>
                  <a:lnTo>
                    <a:pt x="214" y="77"/>
                  </a:lnTo>
                  <a:lnTo>
                    <a:pt x="241" y="77"/>
                  </a:lnTo>
                  <a:lnTo>
                    <a:pt x="254" y="65"/>
                  </a:lnTo>
                  <a:lnTo>
                    <a:pt x="280" y="65"/>
                  </a:lnTo>
                  <a:lnTo>
                    <a:pt x="280" y="32"/>
                  </a:lnTo>
                  <a:lnTo>
                    <a:pt x="266" y="1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Freeform 360">
              <a:extLst>
                <a:ext uri="{FF2B5EF4-FFF2-40B4-BE49-F238E27FC236}">
                  <a16:creationId xmlns:a16="http://schemas.microsoft.com/office/drawing/2014/main" id="{3B9E65EE-F48A-482C-8C21-2259746E4D95}"/>
                </a:ext>
              </a:extLst>
            </p:cNvPr>
            <p:cNvSpPr>
              <a:spLocks/>
            </p:cNvSpPr>
            <p:nvPr/>
          </p:nvSpPr>
          <p:spPr bwMode="auto">
            <a:xfrm>
              <a:off x="5518151" y="2735263"/>
              <a:ext cx="341313" cy="222250"/>
            </a:xfrm>
            <a:custGeom>
              <a:avLst/>
              <a:gdLst>
                <a:gd name="T0" fmla="*/ 412 w 432"/>
                <a:gd name="T1" fmla="*/ 166 h 280"/>
                <a:gd name="T2" fmla="*/ 394 w 432"/>
                <a:gd name="T3" fmla="*/ 150 h 280"/>
                <a:gd name="T4" fmla="*/ 387 w 432"/>
                <a:gd name="T5" fmla="*/ 157 h 280"/>
                <a:gd name="T6" fmla="*/ 364 w 432"/>
                <a:gd name="T7" fmla="*/ 157 h 280"/>
                <a:gd name="T8" fmla="*/ 353 w 432"/>
                <a:gd name="T9" fmla="*/ 146 h 280"/>
                <a:gd name="T10" fmla="*/ 353 w 432"/>
                <a:gd name="T11" fmla="*/ 137 h 280"/>
                <a:gd name="T12" fmla="*/ 378 w 432"/>
                <a:gd name="T13" fmla="*/ 114 h 280"/>
                <a:gd name="T14" fmla="*/ 366 w 432"/>
                <a:gd name="T15" fmla="*/ 114 h 280"/>
                <a:gd name="T16" fmla="*/ 364 w 432"/>
                <a:gd name="T17" fmla="*/ 114 h 280"/>
                <a:gd name="T18" fmla="*/ 310 w 432"/>
                <a:gd name="T19" fmla="*/ 168 h 280"/>
                <a:gd name="T20" fmla="*/ 291 w 432"/>
                <a:gd name="T21" fmla="*/ 168 h 280"/>
                <a:gd name="T22" fmla="*/ 266 w 432"/>
                <a:gd name="T23" fmla="*/ 143 h 280"/>
                <a:gd name="T24" fmla="*/ 266 w 432"/>
                <a:gd name="T25" fmla="*/ 121 h 280"/>
                <a:gd name="T26" fmla="*/ 253 w 432"/>
                <a:gd name="T27" fmla="*/ 109 h 280"/>
                <a:gd name="T28" fmla="*/ 253 w 432"/>
                <a:gd name="T29" fmla="*/ 77 h 280"/>
                <a:gd name="T30" fmla="*/ 234 w 432"/>
                <a:gd name="T31" fmla="*/ 57 h 280"/>
                <a:gd name="T32" fmla="*/ 178 w 432"/>
                <a:gd name="T33" fmla="*/ 57 h 280"/>
                <a:gd name="T34" fmla="*/ 162 w 432"/>
                <a:gd name="T35" fmla="*/ 75 h 280"/>
                <a:gd name="T36" fmla="*/ 112 w 432"/>
                <a:gd name="T37" fmla="*/ 27 h 280"/>
                <a:gd name="T38" fmla="*/ 87 w 432"/>
                <a:gd name="T39" fmla="*/ 0 h 280"/>
                <a:gd name="T40" fmla="*/ 46 w 432"/>
                <a:gd name="T41" fmla="*/ 0 h 280"/>
                <a:gd name="T42" fmla="*/ 16 w 432"/>
                <a:gd name="T43" fmla="*/ 30 h 280"/>
                <a:gd name="T44" fmla="*/ 0 w 432"/>
                <a:gd name="T45" fmla="*/ 46 h 280"/>
                <a:gd name="T46" fmla="*/ 0 w 432"/>
                <a:gd name="T47" fmla="*/ 120 h 280"/>
                <a:gd name="T48" fmla="*/ 0 w 432"/>
                <a:gd name="T49" fmla="*/ 146 h 280"/>
                <a:gd name="T50" fmla="*/ 16 w 432"/>
                <a:gd name="T51" fmla="*/ 146 h 280"/>
                <a:gd name="T52" fmla="*/ 16 w 432"/>
                <a:gd name="T53" fmla="*/ 125 h 280"/>
                <a:gd name="T54" fmla="*/ 34 w 432"/>
                <a:gd name="T55" fmla="*/ 109 h 280"/>
                <a:gd name="T56" fmla="*/ 45 w 432"/>
                <a:gd name="T57" fmla="*/ 109 h 280"/>
                <a:gd name="T58" fmla="*/ 45 w 432"/>
                <a:gd name="T59" fmla="*/ 93 h 280"/>
                <a:gd name="T60" fmla="*/ 70 w 432"/>
                <a:gd name="T61" fmla="*/ 93 h 280"/>
                <a:gd name="T62" fmla="*/ 86 w 432"/>
                <a:gd name="T63" fmla="*/ 109 h 280"/>
                <a:gd name="T64" fmla="*/ 107 w 432"/>
                <a:gd name="T65" fmla="*/ 109 h 280"/>
                <a:gd name="T66" fmla="*/ 130 w 432"/>
                <a:gd name="T67" fmla="*/ 132 h 280"/>
                <a:gd name="T68" fmla="*/ 130 w 432"/>
                <a:gd name="T69" fmla="*/ 152 h 280"/>
                <a:gd name="T70" fmla="*/ 146 w 432"/>
                <a:gd name="T71" fmla="*/ 152 h 280"/>
                <a:gd name="T72" fmla="*/ 146 w 432"/>
                <a:gd name="T73" fmla="*/ 196 h 280"/>
                <a:gd name="T74" fmla="*/ 166 w 432"/>
                <a:gd name="T75" fmla="*/ 216 h 280"/>
                <a:gd name="T76" fmla="*/ 187 w 432"/>
                <a:gd name="T77" fmla="*/ 216 h 280"/>
                <a:gd name="T78" fmla="*/ 203 w 432"/>
                <a:gd name="T79" fmla="*/ 232 h 280"/>
                <a:gd name="T80" fmla="*/ 203 w 432"/>
                <a:gd name="T81" fmla="*/ 248 h 280"/>
                <a:gd name="T82" fmla="*/ 232 w 432"/>
                <a:gd name="T83" fmla="*/ 276 h 280"/>
                <a:gd name="T84" fmla="*/ 287 w 432"/>
                <a:gd name="T85" fmla="*/ 280 h 280"/>
                <a:gd name="T86" fmla="*/ 303 w 432"/>
                <a:gd name="T87" fmla="*/ 262 h 280"/>
                <a:gd name="T88" fmla="*/ 291 w 432"/>
                <a:gd name="T89" fmla="*/ 250 h 280"/>
                <a:gd name="T90" fmla="*/ 291 w 432"/>
                <a:gd name="T91" fmla="*/ 223 h 280"/>
                <a:gd name="T92" fmla="*/ 291 w 432"/>
                <a:gd name="T93" fmla="*/ 212 h 280"/>
                <a:gd name="T94" fmla="*/ 309 w 432"/>
                <a:gd name="T95" fmla="*/ 212 h 280"/>
                <a:gd name="T96" fmla="*/ 355 w 432"/>
                <a:gd name="T97" fmla="*/ 166 h 280"/>
                <a:gd name="T98" fmla="*/ 364 w 432"/>
                <a:gd name="T99" fmla="*/ 166 h 280"/>
                <a:gd name="T100" fmla="*/ 371 w 432"/>
                <a:gd name="T101" fmla="*/ 173 h 280"/>
                <a:gd name="T102" fmla="*/ 362 w 432"/>
                <a:gd name="T103" fmla="*/ 182 h 280"/>
                <a:gd name="T104" fmla="*/ 373 w 432"/>
                <a:gd name="T105" fmla="*/ 193 h 280"/>
                <a:gd name="T106" fmla="*/ 375 w 432"/>
                <a:gd name="T107" fmla="*/ 193 h 280"/>
                <a:gd name="T108" fmla="*/ 405 w 432"/>
                <a:gd name="T109" fmla="*/ 193 h 280"/>
                <a:gd name="T110" fmla="*/ 407 w 432"/>
                <a:gd name="T111" fmla="*/ 191 h 280"/>
                <a:gd name="T112" fmla="*/ 432 w 432"/>
                <a:gd name="T113" fmla="*/ 166 h 280"/>
                <a:gd name="T114" fmla="*/ 412 w 432"/>
                <a:gd name="T115" fmla="*/ 16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2" h="280">
                  <a:moveTo>
                    <a:pt x="412" y="166"/>
                  </a:moveTo>
                  <a:lnTo>
                    <a:pt x="394" y="150"/>
                  </a:lnTo>
                  <a:lnTo>
                    <a:pt x="387" y="157"/>
                  </a:lnTo>
                  <a:lnTo>
                    <a:pt x="364" y="157"/>
                  </a:lnTo>
                  <a:lnTo>
                    <a:pt x="353" y="146"/>
                  </a:lnTo>
                  <a:lnTo>
                    <a:pt x="353" y="137"/>
                  </a:lnTo>
                  <a:lnTo>
                    <a:pt x="378" y="114"/>
                  </a:lnTo>
                  <a:lnTo>
                    <a:pt x="366" y="114"/>
                  </a:lnTo>
                  <a:lnTo>
                    <a:pt x="364" y="114"/>
                  </a:lnTo>
                  <a:lnTo>
                    <a:pt x="310" y="168"/>
                  </a:lnTo>
                  <a:lnTo>
                    <a:pt x="291" y="168"/>
                  </a:lnTo>
                  <a:lnTo>
                    <a:pt x="266" y="143"/>
                  </a:lnTo>
                  <a:lnTo>
                    <a:pt x="266" y="121"/>
                  </a:lnTo>
                  <a:lnTo>
                    <a:pt x="253" y="109"/>
                  </a:lnTo>
                  <a:lnTo>
                    <a:pt x="253" y="77"/>
                  </a:lnTo>
                  <a:lnTo>
                    <a:pt x="234" y="57"/>
                  </a:lnTo>
                  <a:lnTo>
                    <a:pt x="178" y="57"/>
                  </a:lnTo>
                  <a:lnTo>
                    <a:pt x="162" y="75"/>
                  </a:lnTo>
                  <a:lnTo>
                    <a:pt x="112" y="27"/>
                  </a:lnTo>
                  <a:lnTo>
                    <a:pt x="87" y="0"/>
                  </a:lnTo>
                  <a:lnTo>
                    <a:pt x="46" y="0"/>
                  </a:lnTo>
                  <a:lnTo>
                    <a:pt x="16" y="30"/>
                  </a:lnTo>
                  <a:lnTo>
                    <a:pt x="0" y="46"/>
                  </a:lnTo>
                  <a:lnTo>
                    <a:pt x="0" y="120"/>
                  </a:lnTo>
                  <a:lnTo>
                    <a:pt x="0" y="146"/>
                  </a:lnTo>
                  <a:lnTo>
                    <a:pt x="16" y="146"/>
                  </a:lnTo>
                  <a:lnTo>
                    <a:pt x="16" y="125"/>
                  </a:lnTo>
                  <a:lnTo>
                    <a:pt x="34" y="109"/>
                  </a:lnTo>
                  <a:lnTo>
                    <a:pt x="45" y="109"/>
                  </a:lnTo>
                  <a:lnTo>
                    <a:pt x="45" y="93"/>
                  </a:lnTo>
                  <a:lnTo>
                    <a:pt x="70" y="93"/>
                  </a:lnTo>
                  <a:lnTo>
                    <a:pt x="86" y="109"/>
                  </a:lnTo>
                  <a:lnTo>
                    <a:pt x="107" y="109"/>
                  </a:lnTo>
                  <a:lnTo>
                    <a:pt x="130" y="132"/>
                  </a:lnTo>
                  <a:lnTo>
                    <a:pt x="130" y="152"/>
                  </a:lnTo>
                  <a:lnTo>
                    <a:pt x="146" y="152"/>
                  </a:lnTo>
                  <a:lnTo>
                    <a:pt x="146" y="196"/>
                  </a:lnTo>
                  <a:lnTo>
                    <a:pt x="166" y="216"/>
                  </a:lnTo>
                  <a:lnTo>
                    <a:pt x="187" y="216"/>
                  </a:lnTo>
                  <a:lnTo>
                    <a:pt x="203" y="232"/>
                  </a:lnTo>
                  <a:lnTo>
                    <a:pt x="203" y="248"/>
                  </a:lnTo>
                  <a:lnTo>
                    <a:pt x="232" y="276"/>
                  </a:lnTo>
                  <a:lnTo>
                    <a:pt x="287" y="280"/>
                  </a:lnTo>
                  <a:lnTo>
                    <a:pt x="303" y="262"/>
                  </a:lnTo>
                  <a:lnTo>
                    <a:pt x="291" y="250"/>
                  </a:lnTo>
                  <a:lnTo>
                    <a:pt x="291" y="223"/>
                  </a:lnTo>
                  <a:lnTo>
                    <a:pt x="291" y="212"/>
                  </a:lnTo>
                  <a:lnTo>
                    <a:pt x="309" y="212"/>
                  </a:lnTo>
                  <a:lnTo>
                    <a:pt x="355" y="166"/>
                  </a:lnTo>
                  <a:lnTo>
                    <a:pt x="364" y="166"/>
                  </a:lnTo>
                  <a:lnTo>
                    <a:pt x="371" y="173"/>
                  </a:lnTo>
                  <a:lnTo>
                    <a:pt x="362" y="182"/>
                  </a:lnTo>
                  <a:lnTo>
                    <a:pt x="373" y="193"/>
                  </a:lnTo>
                  <a:lnTo>
                    <a:pt x="375" y="193"/>
                  </a:lnTo>
                  <a:lnTo>
                    <a:pt x="405" y="193"/>
                  </a:lnTo>
                  <a:lnTo>
                    <a:pt x="407" y="191"/>
                  </a:lnTo>
                  <a:lnTo>
                    <a:pt x="432" y="166"/>
                  </a:lnTo>
                  <a:lnTo>
                    <a:pt x="412" y="16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Freeform 361">
              <a:extLst>
                <a:ext uri="{FF2B5EF4-FFF2-40B4-BE49-F238E27FC236}">
                  <a16:creationId xmlns:a16="http://schemas.microsoft.com/office/drawing/2014/main" id="{C34ACF83-0982-4369-99EF-3731622D4D46}"/>
                </a:ext>
              </a:extLst>
            </p:cNvPr>
            <p:cNvSpPr>
              <a:spLocks/>
            </p:cNvSpPr>
            <p:nvPr/>
          </p:nvSpPr>
          <p:spPr bwMode="auto">
            <a:xfrm>
              <a:off x="6961188" y="2924175"/>
              <a:ext cx="66675" cy="98425"/>
            </a:xfrm>
            <a:custGeom>
              <a:avLst/>
              <a:gdLst>
                <a:gd name="T0" fmla="*/ 20 w 84"/>
                <a:gd name="T1" fmla="*/ 45 h 123"/>
                <a:gd name="T2" fmla="*/ 0 w 84"/>
                <a:gd name="T3" fmla="*/ 64 h 123"/>
                <a:gd name="T4" fmla="*/ 0 w 84"/>
                <a:gd name="T5" fmla="*/ 123 h 123"/>
                <a:gd name="T6" fmla="*/ 84 w 84"/>
                <a:gd name="T7" fmla="*/ 123 h 123"/>
                <a:gd name="T8" fmla="*/ 84 w 84"/>
                <a:gd name="T9" fmla="*/ 27 h 123"/>
                <a:gd name="T10" fmla="*/ 57 w 84"/>
                <a:gd name="T11" fmla="*/ 0 h 123"/>
                <a:gd name="T12" fmla="*/ 57 w 84"/>
                <a:gd name="T13" fmla="*/ 12 h 123"/>
                <a:gd name="T14" fmla="*/ 27 w 84"/>
                <a:gd name="T15" fmla="*/ 12 h 123"/>
                <a:gd name="T16" fmla="*/ 9 w 84"/>
                <a:gd name="T17" fmla="*/ 34 h 123"/>
                <a:gd name="T18" fmla="*/ 20 w 84"/>
                <a:gd name="T19"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23">
                  <a:moveTo>
                    <a:pt x="20" y="45"/>
                  </a:moveTo>
                  <a:lnTo>
                    <a:pt x="0" y="64"/>
                  </a:lnTo>
                  <a:lnTo>
                    <a:pt x="0" y="123"/>
                  </a:lnTo>
                  <a:lnTo>
                    <a:pt x="84" y="123"/>
                  </a:lnTo>
                  <a:lnTo>
                    <a:pt x="84" y="27"/>
                  </a:lnTo>
                  <a:lnTo>
                    <a:pt x="57" y="0"/>
                  </a:lnTo>
                  <a:lnTo>
                    <a:pt x="57" y="12"/>
                  </a:lnTo>
                  <a:lnTo>
                    <a:pt x="27" y="12"/>
                  </a:lnTo>
                  <a:lnTo>
                    <a:pt x="9" y="34"/>
                  </a:lnTo>
                  <a:lnTo>
                    <a:pt x="20" y="4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Freeform 362">
              <a:extLst>
                <a:ext uri="{FF2B5EF4-FFF2-40B4-BE49-F238E27FC236}">
                  <a16:creationId xmlns:a16="http://schemas.microsoft.com/office/drawing/2014/main" id="{6365CA89-0E29-4CCF-AE4C-D9835A012445}"/>
                </a:ext>
              </a:extLst>
            </p:cNvPr>
            <p:cNvSpPr>
              <a:spLocks/>
            </p:cNvSpPr>
            <p:nvPr/>
          </p:nvSpPr>
          <p:spPr bwMode="auto">
            <a:xfrm>
              <a:off x="6923088" y="2808288"/>
              <a:ext cx="131763" cy="142875"/>
            </a:xfrm>
            <a:custGeom>
              <a:avLst/>
              <a:gdLst>
                <a:gd name="T0" fmla="*/ 128 w 166"/>
                <a:gd name="T1" fmla="*/ 27 h 180"/>
                <a:gd name="T2" fmla="*/ 107 w 166"/>
                <a:gd name="T3" fmla="*/ 27 h 180"/>
                <a:gd name="T4" fmla="*/ 71 w 166"/>
                <a:gd name="T5" fmla="*/ 64 h 180"/>
                <a:gd name="T6" fmla="*/ 52 w 166"/>
                <a:gd name="T7" fmla="*/ 44 h 180"/>
                <a:gd name="T8" fmla="*/ 23 w 166"/>
                <a:gd name="T9" fmla="*/ 71 h 180"/>
                <a:gd name="T10" fmla="*/ 0 w 166"/>
                <a:gd name="T11" fmla="*/ 94 h 180"/>
                <a:gd name="T12" fmla="*/ 14 w 166"/>
                <a:gd name="T13" fmla="*/ 109 h 180"/>
                <a:gd name="T14" fmla="*/ 14 w 166"/>
                <a:gd name="T15" fmla="*/ 158 h 180"/>
                <a:gd name="T16" fmla="*/ 30 w 166"/>
                <a:gd name="T17" fmla="*/ 174 h 180"/>
                <a:gd name="T18" fmla="*/ 50 w 166"/>
                <a:gd name="T19" fmla="*/ 174 h 180"/>
                <a:gd name="T20" fmla="*/ 57 w 166"/>
                <a:gd name="T21" fmla="*/ 180 h 180"/>
                <a:gd name="T22" fmla="*/ 75 w 166"/>
                <a:gd name="T23" fmla="*/ 158 h 180"/>
                <a:gd name="T24" fmla="*/ 105 w 166"/>
                <a:gd name="T25" fmla="*/ 158 h 180"/>
                <a:gd name="T26" fmla="*/ 105 w 166"/>
                <a:gd name="T27" fmla="*/ 146 h 180"/>
                <a:gd name="T28" fmla="*/ 84 w 166"/>
                <a:gd name="T29" fmla="*/ 125 h 180"/>
                <a:gd name="T30" fmla="*/ 84 w 166"/>
                <a:gd name="T31" fmla="*/ 98 h 180"/>
                <a:gd name="T32" fmla="*/ 128 w 166"/>
                <a:gd name="T33" fmla="*/ 53 h 180"/>
                <a:gd name="T34" fmla="*/ 166 w 166"/>
                <a:gd name="T35" fmla="*/ 16 h 180"/>
                <a:gd name="T36" fmla="*/ 166 w 166"/>
                <a:gd name="T37" fmla="*/ 0 h 180"/>
                <a:gd name="T38" fmla="*/ 128 w 166"/>
                <a:gd name="T39" fmla="*/ 0 h 180"/>
                <a:gd name="T40" fmla="*/ 128 w 166"/>
                <a:gd name="T41" fmla="*/ 2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6" h="180">
                  <a:moveTo>
                    <a:pt x="128" y="27"/>
                  </a:moveTo>
                  <a:lnTo>
                    <a:pt x="107" y="27"/>
                  </a:lnTo>
                  <a:lnTo>
                    <a:pt x="71" y="64"/>
                  </a:lnTo>
                  <a:lnTo>
                    <a:pt x="52" y="44"/>
                  </a:lnTo>
                  <a:lnTo>
                    <a:pt x="23" y="71"/>
                  </a:lnTo>
                  <a:lnTo>
                    <a:pt x="0" y="94"/>
                  </a:lnTo>
                  <a:lnTo>
                    <a:pt x="14" y="109"/>
                  </a:lnTo>
                  <a:lnTo>
                    <a:pt x="14" y="158"/>
                  </a:lnTo>
                  <a:lnTo>
                    <a:pt x="30" y="174"/>
                  </a:lnTo>
                  <a:lnTo>
                    <a:pt x="50" y="174"/>
                  </a:lnTo>
                  <a:lnTo>
                    <a:pt x="57" y="180"/>
                  </a:lnTo>
                  <a:lnTo>
                    <a:pt x="75" y="158"/>
                  </a:lnTo>
                  <a:lnTo>
                    <a:pt x="105" y="158"/>
                  </a:lnTo>
                  <a:lnTo>
                    <a:pt x="105" y="146"/>
                  </a:lnTo>
                  <a:lnTo>
                    <a:pt x="84" y="125"/>
                  </a:lnTo>
                  <a:lnTo>
                    <a:pt x="84" y="98"/>
                  </a:lnTo>
                  <a:lnTo>
                    <a:pt x="128" y="53"/>
                  </a:lnTo>
                  <a:lnTo>
                    <a:pt x="166" y="16"/>
                  </a:lnTo>
                  <a:lnTo>
                    <a:pt x="166" y="0"/>
                  </a:lnTo>
                  <a:lnTo>
                    <a:pt x="128" y="0"/>
                  </a:lnTo>
                  <a:lnTo>
                    <a:pt x="128" y="2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Freeform 363">
              <a:extLst>
                <a:ext uri="{FF2B5EF4-FFF2-40B4-BE49-F238E27FC236}">
                  <a16:creationId xmlns:a16="http://schemas.microsoft.com/office/drawing/2014/main" id="{DA629B70-1C35-4278-B1B8-0FA5BB130AA3}"/>
                </a:ext>
              </a:extLst>
            </p:cNvPr>
            <p:cNvSpPr>
              <a:spLocks/>
            </p:cNvSpPr>
            <p:nvPr/>
          </p:nvSpPr>
          <p:spPr bwMode="auto">
            <a:xfrm>
              <a:off x="6464301" y="3489325"/>
              <a:ext cx="107950" cy="73025"/>
            </a:xfrm>
            <a:custGeom>
              <a:avLst/>
              <a:gdLst>
                <a:gd name="T0" fmla="*/ 114 w 136"/>
                <a:gd name="T1" fmla="*/ 57 h 91"/>
                <a:gd name="T2" fmla="*/ 136 w 136"/>
                <a:gd name="T3" fmla="*/ 38 h 91"/>
                <a:gd name="T4" fmla="*/ 123 w 136"/>
                <a:gd name="T5" fmla="*/ 25 h 91"/>
                <a:gd name="T6" fmla="*/ 123 w 136"/>
                <a:gd name="T7" fmla="*/ 0 h 91"/>
                <a:gd name="T8" fmla="*/ 102 w 136"/>
                <a:gd name="T9" fmla="*/ 0 h 91"/>
                <a:gd name="T10" fmla="*/ 79 w 136"/>
                <a:gd name="T11" fmla="*/ 0 h 91"/>
                <a:gd name="T12" fmla="*/ 30 w 136"/>
                <a:gd name="T13" fmla="*/ 0 h 91"/>
                <a:gd name="T14" fmla="*/ 0 w 136"/>
                <a:gd name="T15" fmla="*/ 32 h 91"/>
                <a:gd name="T16" fmla="*/ 0 w 136"/>
                <a:gd name="T17" fmla="*/ 61 h 91"/>
                <a:gd name="T18" fmla="*/ 18 w 136"/>
                <a:gd name="T19" fmla="*/ 79 h 91"/>
                <a:gd name="T20" fmla="*/ 48 w 136"/>
                <a:gd name="T21" fmla="*/ 79 h 91"/>
                <a:gd name="T22" fmla="*/ 61 w 136"/>
                <a:gd name="T23" fmla="*/ 91 h 91"/>
                <a:gd name="T24" fmla="*/ 89 w 136"/>
                <a:gd name="T25" fmla="*/ 57 h 91"/>
                <a:gd name="T26" fmla="*/ 114 w 136"/>
                <a:gd name="T27" fmla="*/ 5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91">
                  <a:moveTo>
                    <a:pt x="114" y="57"/>
                  </a:moveTo>
                  <a:lnTo>
                    <a:pt x="136" y="38"/>
                  </a:lnTo>
                  <a:lnTo>
                    <a:pt x="123" y="25"/>
                  </a:lnTo>
                  <a:lnTo>
                    <a:pt x="123" y="0"/>
                  </a:lnTo>
                  <a:lnTo>
                    <a:pt x="102" y="0"/>
                  </a:lnTo>
                  <a:lnTo>
                    <a:pt x="79" y="0"/>
                  </a:lnTo>
                  <a:lnTo>
                    <a:pt x="30" y="0"/>
                  </a:lnTo>
                  <a:lnTo>
                    <a:pt x="0" y="32"/>
                  </a:lnTo>
                  <a:lnTo>
                    <a:pt x="0" y="61"/>
                  </a:lnTo>
                  <a:lnTo>
                    <a:pt x="18" y="79"/>
                  </a:lnTo>
                  <a:lnTo>
                    <a:pt x="48" y="79"/>
                  </a:lnTo>
                  <a:lnTo>
                    <a:pt x="61" y="91"/>
                  </a:lnTo>
                  <a:lnTo>
                    <a:pt x="89" y="57"/>
                  </a:lnTo>
                  <a:lnTo>
                    <a:pt x="114" y="5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Freeform 364">
              <a:extLst>
                <a:ext uri="{FF2B5EF4-FFF2-40B4-BE49-F238E27FC236}">
                  <a16:creationId xmlns:a16="http://schemas.microsoft.com/office/drawing/2014/main" id="{185B9A43-1821-4F77-BAC9-B6F8F9ECE1E3}"/>
                </a:ext>
              </a:extLst>
            </p:cNvPr>
            <p:cNvSpPr>
              <a:spLocks/>
            </p:cNvSpPr>
            <p:nvPr/>
          </p:nvSpPr>
          <p:spPr bwMode="auto">
            <a:xfrm>
              <a:off x="6464301" y="3308350"/>
              <a:ext cx="139700" cy="298450"/>
            </a:xfrm>
            <a:custGeom>
              <a:avLst/>
              <a:gdLst>
                <a:gd name="T0" fmla="*/ 146 w 177"/>
                <a:gd name="T1" fmla="*/ 157 h 376"/>
                <a:gd name="T2" fmla="*/ 127 w 177"/>
                <a:gd name="T3" fmla="*/ 157 h 376"/>
                <a:gd name="T4" fmla="*/ 102 w 177"/>
                <a:gd name="T5" fmla="*/ 132 h 376"/>
                <a:gd name="T6" fmla="*/ 75 w 177"/>
                <a:gd name="T7" fmla="*/ 107 h 376"/>
                <a:gd name="T8" fmla="*/ 123 w 177"/>
                <a:gd name="T9" fmla="*/ 59 h 376"/>
                <a:gd name="T10" fmla="*/ 123 w 177"/>
                <a:gd name="T11" fmla="*/ 32 h 376"/>
                <a:gd name="T12" fmla="*/ 111 w 177"/>
                <a:gd name="T13" fmla="*/ 21 h 376"/>
                <a:gd name="T14" fmla="*/ 89 w 177"/>
                <a:gd name="T15" fmla="*/ 0 h 376"/>
                <a:gd name="T16" fmla="*/ 41 w 177"/>
                <a:gd name="T17" fmla="*/ 0 h 376"/>
                <a:gd name="T18" fmla="*/ 25 w 177"/>
                <a:gd name="T19" fmla="*/ 14 h 376"/>
                <a:gd name="T20" fmla="*/ 0 w 177"/>
                <a:gd name="T21" fmla="*/ 14 h 376"/>
                <a:gd name="T22" fmla="*/ 7 w 177"/>
                <a:gd name="T23" fmla="*/ 21 h 376"/>
                <a:gd name="T24" fmla="*/ 7 w 177"/>
                <a:gd name="T25" fmla="*/ 46 h 376"/>
                <a:gd name="T26" fmla="*/ 36 w 177"/>
                <a:gd name="T27" fmla="*/ 46 h 376"/>
                <a:gd name="T28" fmla="*/ 57 w 177"/>
                <a:gd name="T29" fmla="*/ 66 h 376"/>
                <a:gd name="T30" fmla="*/ 38 w 177"/>
                <a:gd name="T31" fmla="*/ 86 h 376"/>
                <a:gd name="T32" fmla="*/ 57 w 177"/>
                <a:gd name="T33" fmla="*/ 105 h 376"/>
                <a:gd name="T34" fmla="*/ 70 w 177"/>
                <a:gd name="T35" fmla="*/ 118 h 376"/>
                <a:gd name="T36" fmla="*/ 70 w 177"/>
                <a:gd name="T37" fmla="*/ 137 h 376"/>
                <a:gd name="T38" fmla="*/ 82 w 177"/>
                <a:gd name="T39" fmla="*/ 150 h 376"/>
                <a:gd name="T40" fmla="*/ 109 w 177"/>
                <a:gd name="T41" fmla="*/ 176 h 376"/>
                <a:gd name="T42" fmla="*/ 109 w 177"/>
                <a:gd name="T43" fmla="*/ 200 h 376"/>
                <a:gd name="T44" fmla="*/ 109 w 177"/>
                <a:gd name="T45" fmla="*/ 228 h 376"/>
                <a:gd name="T46" fmla="*/ 123 w 177"/>
                <a:gd name="T47" fmla="*/ 228 h 376"/>
                <a:gd name="T48" fmla="*/ 123 w 177"/>
                <a:gd name="T49" fmla="*/ 253 h 376"/>
                <a:gd name="T50" fmla="*/ 136 w 177"/>
                <a:gd name="T51" fmla="*/ 266 h 376"/>
                <a:gd name="T52" fmla="*/ 114 w 177"/>
                <a:gd name="T53" fmla="*/ 285 h 376"/>
                <a:gd name="T54" fmla="*/ 89 w 177"/>
                <a:gd name="T55" fmla="*/ 285 h 376"/>
                <a:gd name="T56" fmla="*/ 61 w 177"/>
                <a:gd name="T57" fmla="*/ 319 h 376"/>
                <a:gd name="T58" fmla="*/ 73 w 177"/>
                <a:gd name="T59" fmla="*/ 332 h 376"/>
                <a:gd name="T60" fmla="*/ 73 w 177"/>
                <a:gd name="T61" fmla="*/ 376 h 376"/>
                <a:gd name="T62" fmla="*/ 177 w 177"/>
                <a:gd name="T63" fmla="*/ 273 h 376"/>
                <a:gd name="T64" fmla="*/ 177 w 177"/>
                <a:gd name="T65" fmla="*/ 187 h 376"/>
                <a:gd name="T66" fmla="*/ 146 w 177"/>
                <a:gd name="T67" fmla="*/ 157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376">
                  <a:moveTo>
                    <a:pt x="146" y="157"/>
                  </a:moveTo>
                  <a:lnTo>
                    <a:pt x="127" y="157"/>
                  </a:lnTo>
                  <a:lnTo>
                    <a:pt x="102" y="132"/>
                  </a:lnTo>
                  <a:lnTo>
                    <a:pt x="75" y="107"/>
                  </a:lnTo>
                  <a:lnTo>
                    <a:pt x="123" y="59"/>
                  </a:lnTo>
                  <a:lnTo>
                    <a:pt x="123" y="32"/>
                  </a:lnTo>
                  <a:lnTo>
                    <a:pt x="111" y="21"/>
                  </a:lnTo>
                  <a:lnTo>
                    <a:pt x="89" y="0"/>
                  </a:lnTo>
                  <a:lnTo>
                    <a:pt x="41" y="0"/>
                  </a:lnTo>
                  <a:lnTo>
                    <a:pt x="25" y="14"/>
                  </a:lnTo>
                  <a:lnTo>
                    <a:pt x="0" y="14"/>
                  </a:lnTo>
                  <a:lnTo>
                    <a:pt x="7" y="21"/>
                  </a:lnTo>
                  <a:lnTo>
                    <a:pt x="7" y="46"/>
                  </a:lnTo>
                  <a:lnTo>
                    <a:pt x="36" y="46"/>
                  </a:lnTo>
                  <a:lnTo>
                    <a:pt x="57" y="66"/>
                  </a:lnTo>
                  <a:lnTo>
                    <a:pt x="38" y="86"/>
                  </a:lnTo>
                  <a:lnTo>
                    <a:pt x="57" y="105"/>
                  </a:lnTo>
                  <a:lnTo>
                    <a:pt x="70" y="118"/>
                  </a:lnTo>
                  <a:lnTo>
                    <a:pt x="70" y="137"/>
                  </a:lnTo>
                  <a:lnTo>
                    <a:pt x="82" y="150"/>
                  </a:lnTo>
                  <a:lnTo>
                    <a:pt x="109" y="176"/>
                  </a:lnTo>
                  <a:lnTo>
                    <a:pt x="109" y="200"/>
                  </a:lnTo>
                  <a:lnTo>
                    <a:pt x="109" y="228"/>
                  </a:lnTo>
                  <a:lnTo>
                    <a:pt x="123" y="228"/>
                  </a:lnTo>
                  <a:lnTo>
                    <a:pt x="123" y="253"/>
                  </a:lnTo>
                  <a:lnTo>
                    <a:pt x="136" y="266"/>
                  </a:lnTo>
                  <a:lnTo>
                    <a:pt x="114" y="285"/>
                  </a:lnTo>
                  <a:lnTo>
                    <a:pt x="89" y="285"/>
                  </a:lnTo>
                  <a:lnTo>
                    <a:pt x="61" y="319"/>
                  </a:lnTo>
                  <a:lnTo>
                    <a:pt x="73" y="332"/>
                  </a:lnTo>
                  <a:lnTo>
                    <a:pt x="73" y="376"/>
                  </a:lnTo>
                  <a:lnTo>
                    <a:pt x="177" y="273"/>
                  </a:lnTo>
                  <a:lnTo>
                    <a:pt x="177" y="187"/>
                  </a:lnTo>
                  <a:lnTo>
                    <a:pt x="146" y="15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Freeform 365">
              <a:extLst>
                <a:ext uri="{FF2B5EF4-FFF2-40B4-BE49-F238E27FC236}">
                  <a16:creationId xmlns:a16="http://schemas.microsoft.com/office/drawing/2014/main" id="{562F154B-3756-4100-9670-D9D39199D420}"/>
                </a:ext>
              </a:extLst>
            </p:cNvPr>
            <p:cNvSpPr>
              <a:spLocks/>
            </p:cNvSpPr>
            <p:nvPr/>
          </p:nvSpPr>
          <p:spPr bwMode="auto">
            <a:xfrm>
              <a:off x="6275388" y="3192463"/>
              <a:ext cx="149225" cy="344488"/>
            </a:xfrm>
            <a:custGeom>
              <a:avLst/>
              <a:gdLst>
                <a:gd name="T0" fmla="*/ 141 w 187"/>
                <a:gd name="T1" fmla="*/ 310 h 433"/>
                <a:gd name="T2" fmla="*/ 107 w 187"/>
                <a:gd name="T3" fmla="*/ 276 h 433"/>
                <a:gd name="T4" fmla="*/ 107 w 187"/>
                <a:gd name="T5" fmla="*/ 253 h 433"/>
                <a:gd name="T6" fmla="*/ 144 w 187"/>
                <a:gd name="T7" fmla="*/ 216 h 433"/>
                <a:gd name="T8" fmla="*/ 162 w 187"/>
                <a:gd name="T9" fmla="*/ 216 h 433"/>
                <a:gd name="T10" fmla="*/ 187 w 187"/>
                <a:gd name="T11" fmla="*/ 192 h 433"/>
                <a:gd name="T12" fmla="*/ 187 w 187"/>
                <a:gd name="T13" fmla="*/ 162 h 433"/>
                <a:gd name="T14" fmla="*/ 159 w 187"/>
                <a:gd name="T15" fmla="*/ 162 h 433"/>
                <a:gd name="T16" fmla="*/ 159 w 187"/>
                <a:gd name="T17" fmla="*/ 128 h 433"/>
                <a:gd name="T18" fmla="*/ 135 w 187"/>
                <a:gd name="T19" fmla="*/ 105 h 433"/>
                <a:gd name="T20" fmla="*/ 116 w 187"/>
                <a:gd name="T21" fmla="*/ 105 h 433"/>
                <a:gd name="T22" fmla="*/ 116 w 187"/>
                <a:gd name="T23" fmla="*/ 77 h 433"/>
                <a:gd name="T24" fmla="*/ 132 w 187"/>
                <a:gd name="T25" fmla="*/ 60 h 433"/>
                <a:gd name="T26" fmla="*/ 132 w 187"/>
                <a:gd name="T27" fmla="*/ 32 h 433"/>
                <a:gd name="T28" fmla="*/ 132 w 187"/>
                <a:gd name="T29" fmla="*/ 0 h 433"/>
                <a:gd name="T30" fmla="*/ 100 w 187"/>
                <a:gd name="T31" fmla="*/ 0 h 433"/>
                <a:gd name="T32" fmla="*/ 82 w 187"/>
                <a:gd name="T33" fmla="*/ 18 h 433"/>
                <a:gd name="T34" fmla="*/ 59 w 187"/>
                <a:gd name="T35" fmla="*/ 18 h 433"/>
                <a:gd name="T36" fmla="*/ 28 w 187"/>
                <a:gd name="T37" fmla="*/ 48 h 433"/>
                <a:gd name="T38" fmla="*/ 28 w 187"/>
                <a:gd name="T39" fmla="*/ 87 h 433"/>
                <a:gd name="T40" fmla="*/ 28 w 187"/>
                <a:gd name="T41" fmla="*/ 105 h 433"/>
                <a:gd name="T42" fmla="*/ 0 w 187"/>
                <a:gd name="T43" fmla="*/ 134 h 433"/>
                <a:gd name="T44" fmla="*/ 0 w 187"/>
                <a:gd name="T45" fmla="*/ 198 h 433"/>
                <a:gd name="T46" fmla="*/ 30 w 187"/>
                <a:gd name="T47" fmla="*/ 230 h 433"/>
                <a:gd name="T48" fmla="*/ 30 w 187"/>
                <a:gd name="T49" fmla="*/ 321 h 433"/>
                <a:gd name="T50" fmla="*/ 75 w 187"/>
                <a:gd name="T51" fmla="*/ 321 h 433"/>
                <a:gd name="T52" fmla="*/ 102 w 187"/>
                <a:gd name="T53" fmla="*/ 296 h 433"/>
                <a:gd name="T54" fmla="*/ 123 w 187"/>
                <a:gd name="T55" fmla="*/ 317 h 433"/>
                <a:gd name="T56" fmla="*/ 123 w 187"/>
                <a:gd name="T57" fmla="*/ 376 h 433"/>
                <a:gd name="T58" fmla="*/ 151 w 187"/>
                <a:gd name="T59" fmla="*/ 404 h 433"/>
                <a:gd name="T60" fmla="*/ 151 w 187"/>
                <a:gd name="T61" fmla="*/ 433 h 433"/>
                <a:gd name="T62" fmla="*/ 160 w 187"/>
                <a:gd name="T63" fmla="*/ 415 h 433"/>
                <a:gd name="T64" fmla="*/ 160 w 187"/>
                <a:gd name="T65" fmla="*/ 383 h 433"/>
                <a:gd name="T66" fmla="*/ 141 w 187"/>
                <a:gd name="T67" fmla="*/ 365 h 433"/>
                <a:gd name="T68" fmla="*/ 141 w 187"/>
                <a:gd name="T69" fmla="*/ 31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433">
                  <a:moveTo>
                    <a:pt x="141" y="310"/>
                  </a:moveTo>
                  <a:lnTo>
                    <a:pt x="107" y="276"/>
                  </a:lnTo>
                  <a:lnTo>
                    <a:pt x="107" y="253"/>
                  </a:lnTo>
                  <a:lnTo>
                    <a:pt x="144" y="216"/>
                  </a:lnTo>
                  <a:lnTo>
                    <a:pt x="162" y="216"/>
                  </a:lnTo>
                  <a:lnTo>
                    <a:pt x="187" y="192"/>
                  </a:lnTo>
                  <a:lnTo>
                    <a:pt x="187" y="162"/>
                  </a:lnTo>
                  <a:lnTo>
                    <a:pt x="159" y="162"/>
                  </a:lnTo>
                  <a:lnTo>
                    <a:pt x="159" y="128"/>
                  </a:lnTo>
                  <a:lnTo>
                    <a:pt x="135" y="105"/>
                  </a:lnTo>
                  <a:lnTo>
                    <a:pt x="116" y="105"/>
                  </a:lnTo>
                  <a:lnTo>
                    <a:pt x="116" y="77"/>
                  </a:lnTo>
                  <a:lnTo>
                    <a:pt x="132" y="60"/>
                  </a:lnTo>
                  <a:lnTo>
                    <a:pt x="132" y="32"/>
                  </a:lnTo>
                  <a:lnTo>
                    <a:pt x="132" y="0"/>
                  </a:lnTo>
                  <a:lnTo>
                    <a:pt x="100" y="0"/>
                  </a:lnTo>
                  <a:lnTo>
                    <a:pt x="82" y="18"/>
                  </a:lnTo>
                  <a:lnTo>
                    <a:pt x="59" y="18"/>
                  </a:lnTo>
                  <a:lnTo>
                    <a:pt x="28" y="48"/>
                  </a:lnTo>
                  <a:lnTo>
                    <a:pt x="28" y="87"/>
                  </a:lnTo>
                  <a:lnTo>
                    <a:pt x="28" y="105"/>
                  </a:lnTo>
                  <a:lnTo>
                    <a:pt x="0" y="134"/>
                  </a:lnTo>
                  <a:lnTo>
                    <a:pt x="0" y="198"/>
                  </a:lnTo>
                  <a:lnTo>
                    <a:pt x="30" y="230"/>
                  </a:lnTo>
                  <a:lnTo>
                    <a:pt x="30" y="321"/>
                  </a:lnTo>
                  <a:lnTo>
                    <a:pt x="75" y="321"/>
                  </a:lnTo>
                  <a:lnTo>
                    <a:pt x="102" y="296"/>
                  </a:lnTo>
                  <a:lnTo>
                    <a:pt x="123" y="317"/>
                  </a:lnTo>
                  <a:lnTo>
                    <a:pt x="123" y="376"/>
                  </a:lnTo>
                  <a:lnTo>
                    <a:pt x="151" y="404"/>
                  </a:lnTo>
                  <a:lnTo>
                    <a:pt x="151" y="433"/>
                  </a:lnTo>
                  <a:lnTo>
                    <a:pt x="160" y="415"/>
                  </a:lnTo>
                  <a:lnTo>
                    <a:pt x="160" y="383"/>
                  </a:lnTo>
                  <a:lnTo>
                    <a:pt x="141" y="365"/>
                  </a:lnTo>
                  <a:lnTo>
                    <a:pt x="141" y="31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Freeform 366">
              <a:extLst>
                <a:ext uri="{FF2B5EF4-FFF2-40B4-BE49-F238E27FC236}">
                  <a16:creationId xmlns:a16="http://schemas.microsoft.com/office/drawing/2014/main" id="{32C875B7-0C2F-41E9-9473-4F579167D8E7}"/>
                </a:ext>
              </a:extLst>
            </p:cNvPr>
            <p:cNvSpPr>
              <a:spLocks/>
            </p:cNvSpPr>
            <p:nvPr/>
          </p:nvSpPr>
          <p:spPr bwMode="auto">
            <a:xfrm>
              <a:off x="6361113" y="3360738"/>
              <a:ext cx="165100" cy="268288"/>
            </a:xfrm>
            <a:custGeom>
              <a:avLst/>
              <a:gdLst>
                <a:gd name="T0" fmla="*/ 80 w 209"/>
                <a:gd name="T1" fmla="*/ 241 h 339"/>
                <a:gd name="T2" fmla="*/ 80 w 209"/>
                <a:gd name="T3" fmla="*/ 173 h 339"/>
                <a:gd name="T4" fmla="*/ 85 w 209"/>
                <a:gd name="T5" fmla="*/ 178 h 339"/>
                <a:gd name="T6" fmla="*/ 130 w 209"/>
                <a:gd name="T7" fmla="*/ 223 h 339"/>
                <a:gd name="T8" fmla="*/ 130 w 209"/>
                <a:gd name="T9" fmla="*/ 194 h 339"/>
                <a:gd name="T10" fmla="*/ 160 w 209"/>
                <a:gd name="T11" fmla="*/ 162 h 339"/>
                <a:gd name="T12" fmla="*/ 209 w 209"/>
                <a:gd name="T13" fmla="*/ 162 h 339"/>
                <a:gd name="T14" fmla="*/ 209 w 209"/>
                <a:gd name="T15" fmla="*/ 134 h 339"/>
                <a:gd name="T16" fmla="*/ 187 w 209"/>
                <a:gd name="T17" fmla="*/ 112 h 339"/>
                <a:gd name="T18" fmla="*/ 187 w 209"/>
                <a:gd name="T19" fmla="*/ 84 h 339"/>
                <a:gd name="T20" fmla="*/ 157 w 209"/>
                <a:gd name="T21" fmla="*/ 52 h 339"/>
                <a:gd name="T22" fmla="*/ 137 w 209"/>
                <a:gd name="T23" fmla="*/ 52 h 339"/>
                <a:gd name="T24" fmla="*/ 119 w 209"/>
                <a:gd name="T25" fmla="*/ 70 h 339"/>
                <a:gd name="T26" fmla="*/ 87 w 209"/>
                <a:gd name="T27" fmla="*/ 70 h 339"/>
                <a:gd name="T28" fmla="*/ 87 w 209"/>
                <a:gd name="T29" fmla="*/ 41 h 339"/>
                <a:gd name="T30" fmla="*/ 87 w 209"/>
                <a:gd name="T31" fmla="*/ 25 h 339"/>
                <a:gd name="T32" fmla="*/ 61 w 209"/>
                <a:gd name="T33" fmla="*/ 0 h 339"/>
                <a:gd name="T34" fmla="*/ 55 w 209"/>
                <a:gd name="T35" fmla="*/ 4 h 339"/>
                <a:gd name="T36" fmla="*/ 37 w 209"/>
                <a:gd name="T37" fmla="*/ 4 h 339"/>
                <a:gd name="T38" fmla="*/ 0 w 209"/>
                <a:gd name="T39" fmla="*/ 41 h 339"/>
                <a:gd name="T40" fmla="*/ 0 w 209"/>
                <a:gd name="T41" fmla="*/ 64 h 339"/>
                <a:gd name="T42" fmla="*/ 34 w 209"/>
                <a:gd name="T43" fmla="*/ 98 h 339"/>
                <a:gd name="T44" fmla="*/ 34 w 209"/>
                <a:gd name="T45" fmla="*/ 123 h 339"/>
                <a:gd name="T46" fmla="*/ 34 w 209"/>
                <a:gd name="T47" fmla="*/ 153 h 339"/>
                <a:gd name="T48" fmla="*/ 53 w 209"/>
                <a:gd name="T49" fmla="*/ 171 h 339"/>
                <a:gd name="T50" fmla="*/ 53 w 209"/>
                <a:gd name="T51" fmla="*/ 203 h 339"/>
                <a:gd name="T52" fmla="*/ 44 w 209"/>
                <a:gd name="T53" fmla="*/ 221 h 339"/>
                <a:gd name="T54" fmla="*/ 44 w 209"/>
                <a:gd name="T55" fmla="*/ 307 h 339"/>
                <a:gd name="T56" fmla="*/ 75 w 209"/>
                <a:gd name="T57" fmla="*/ 339 h 339"/>
                <a:gd name="T58" fmla="*/ 103 w 209"/>
                <a:gd name="T59" fmla="*/ 339 h 339"/>
                <a:gd name="T60" fmla="*/ 57 w 209"/>
                <a:gd name="T61" fmla="*/ 291 h 339"/>
                <a:gd name="T62" fmla="*/ 57 w 209"/>
                <a:gd name="T63" fmla="*/ 264 h 339"/>
                <a:gd name="T64" fmla="*/ 80 w 209"/>
                <a:gd name="T65" fmla="*/ 24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9" h="339">
                  <a:moveTo>
                    <a:pt x="80" y="241"/>
                  </a:moveTo>
                  <a:lnTo>
                    <a:pt x="80" y="173"/>
                  </a:lnTo>
                  <a:lnTo>
                    <a:pt x="85" y="178"/>
                  </a:lnTo>
                  <a:lnTo>
                    <a:pt x="130" y="223"/>
                  </a:lnTo>
                  <a:lnTo>
                    <a:pt x="130" y="194"/>
                  </a:lnTo>
                  <a:lnTo>
                    <a:pt x="160" y="162"/>
                  </a:lnTo>
                  <a:lnTo>
                    <a:pt x="209" y="162"/>
                  </a:lnTo>
                  <a:lnTo>
                    <a:pt x="209" y="134"/>
                  </a:lnTo>
                  <a:lnTo>
                    <a:pt x="187" y="112"/>
                  </a:lnTo>
                  <a:lnTo>
                    <a:pt x="187" y="84"/>
                  </a:lnTo>
                  <a:lnTo>
                    <a:pt x="157" y="52"/>
                  </a:lnTo>
                  <a:lnTo>
                    <a:pt x="137" y="52"/>
                  </a:lnTo>
                  <a:lnTo>
                    <a:pt x="119" y="70"/>
                  </a:lnTo>
                  <a:lnTo>
                    <a:pt x="87" y="70"/>
                  </a:lnTo>
                  <a:lnTo>
                    <a:pt x="87" y="41"/>
                  </a:lnTo>
                  <a:lnTo>
                    <a:pt x="87" y="25"/>
                  </a:lnTo>
                  <a:lnTo>
                    <a:pt x="61" y="0"/>
                  </a:lnTo>
                  <a:lnTo>
                    <a:pt x="55" y="4"/>
                  </a:lnTo>
                  <a:lnTo>
                    <a:pt x="37" y="4"/>
                  </a:lnTo>
                  <a:lnTo>
                    <a:pt x="0" y="41"/>
                  </a:lnTo>
                  <a:lnTo>
                    <a:pt x="0" y="64"/>
                  </a:lnTo>
                  <a:lnTo>
                    <a:pt x="34" y="98"/>
                  </a:lnTo>
                  <a:lnTo>
                    <a:pt x="34" y="123"/>
                  </a:lnTo>
                  <a:lnTo>
                    <a:pt x="34" y="153"/>
                  </a:lnTo>
                  <a:lnTo>
                    <a:pt x="53" y="171"/>
                  </a:lnTo>
                  <a:lnTo>
                    <a:pt x="53" y="203"/>
                  </a:lnTo>
                  <a:lnTo>
                    <a:pt x="44" y="221"/>
                  </a:lnTo>
                  <a:lnTo>
                    <a:pt x="44" y="307"/>
                  </a:lnTo>
                  <a:lnTo>
                    <a:pt x="75" y="339"/>
                  </a:lnTo>
                  <a:lnTo>
                    <a:pt x="103" y="339"/>
                  </a:lnTo>
                  <a:lnTo>
                    <a:pt x="57" y="291"/>
                  </a:lnTo>
                  <a:lnTo>
                    <a:pt x="57" y="264"/>
                  </a:lnTo>
                  <a:lnTo>
                    <a:pt x="80" y="24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Freeform 367">
              <a:extLst>
                <a:ext uri="{FF2B5EF4-FFF2-40B4-BE49-F238E27FC236}">
                  <a16:creationId xmlns:a16="http://schemas.microsoft.com/office/drawing/2014/main" id="{4198DEBD-0A0B-432F-8937-EF5FAE48DFA0}"/>
                </a:ext>
              </a:extLst>
            </p:cNvPr>
            <p:cNvSpPr>
              <a:spLocks/>
            </p:cNvSpPr>
            <p:nvPr/>
          </p:nvSpPr>
          <p:spPr bwMode="auto">
            <a:xfrm>
              <a:off x="4845051" y="2249488"/>
              <a:ext cx="103188" cy="76200"/>
            </a:xfrm>
            <a:custGeom>
              <a:avLst/>
              <a:gdLst>
                <a:gd name="T0" fmla="*/ 87 w 130"/>
                <a:gd name="T1" fmla="*/ 96 h 96"/>
                <a:gd name="T2" fmla="*/ 103 w 130"/>
                <a:gd name="T3" fmla="*/ 80 h 96"/>
                <a:gd name="T4" fmla="*/ 130 w 130"/>
                <a:gd name="T5" fmla="*/ 80 h 96"/>
                <a:gd name="T6" fmla="*/ 123 w 130"/>
                <a:gd name="T7" fmla="*/ 73 h 96"/>
                <a:gd name="T8" fmla="*/ 116 w 130"/>
                <a:gd name="T9" fmla="*/ 66 h 96"/>
                <a:gd name="T10" fmla="*/ 116 w 130"/>
                <a:gd name="T11" fmla="*/ 26 h 96"/>
                <a:gd name="T12" fmla="*/ 116 w 130"/>
                <a:gd name="T13" fmla="*/ 0 h 96"/>
                <a:gd name="T14" fmla="*/ 27 w 130"/>
                <a:gd name="T15" fmla="*/ 0 h 96"/>
                <a:gd name="T16" fmla="*/ 0 w 130"/>
                <a:gd name="T17" fmla="*/ 26 h 96"/>
                <a:gd name="T18" fmla="*/ 0 w 130"/>
                <a:gd name="T19" fmla="*/ 59 h 96"/>
                <a:gd name="T20" fmla="*/ 16 w 130"/>
                <a:gd name="T21" fmla="*/ 59 h 96"/>
                <a:gd name="T22" fmla="*/ 16 w 130"/>
                <a:gd name="T23" fmla="*/ 73 h 96"/>
                <a:gd name="T24" fmla="*/ 66 w 130"/>
                <a:gd name="T25" fmla="*/ 73 h 96"/>
                <a:gd name="T26" fmla="*/ 87 w 130"/>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96">
                  <a:moveTo>
                    <a:pt x="87" y="96"/>
                  </a:moveTo>
                  <a:lnTo>
                    <a:pt x="103" y="80"/>
                  </a:lnTo>
                  <a:lnTo>
                    <a:pt x="130" y="80"/>
                  </a:lnTo>
                  <a:lnTo>
                    <a:pt x="123" y="73"/>
                  </a:lnTo>
                  <a:lnTo>
                    <a:pt x="116" y="66"/>
                  </a:lnTo>
                  <a:lnTo>
                    <a:pt x="116" y="26"/>
                  </a:lnTo>
                  <a:lnTo>
                    <a:pt x="116" y="0"/>
                  </a:lnTo>
                  <a:lnTo>
                    <a:pt x="27" y="0"/>
                  </a:lnTo>
                  <a:lnTo>
                    <a:pt x="0" y="26"/>
                  </a:lnTo>
                  <a:lnTo>
                    <a:pt x="0" y="59"/>
                  </a:lnTo>
                  <a:lnTo>
                    <a:pt x="16" y="59"/>
                  </a:lnTo>
                  <a:lnTo>
                    <a:pt x="16" y="73"/>
                  </a:lnTo>
                  <a:lnTo>
                    <a:pt x="66" y="73"/>
                  </a:lnTo>
                  <a:lnTo>
                    <a:pt x="87" y="9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Freeform 368">
              <a:extLst>
                <a:ext uri="{FF2B5EF4-FFF2-40B4-BE49-F238E27FC236}">
                  <a16:creationId xmlns:a16="http://schemas.microsoft.com/office/drawing/2014/main" id="{271AD136-7C3D-4926-9626-A47DDB975607}"/>
                </a:ext>
              </a:extLst>
            </p:cNvPr>
            <p:cNvSpPr>
              <a:spLocks/>
            </p:cNvSpPr>
            <p:nvPr/>
          </p:nvSpPr>
          <p:spPr bwMode="auto">
            <a:xfrm>
              <a:off x="5245101" y="4030663"/>
              <a:ext cx="142875" cy="298450"/>
            </a:xfrm>
            <a:custGeom>
              <a:avLst/>
              <a:gdLst>
                <a:gd name="T0" fmla="*/ 144 w 178"/>
                <a:gd name="T1" fmla="*/ 0 h 376"/>
                <a:gd name="T2" fmla="*/ 144 w 178"/>
                <a:gd name="T3" fmla="*/ 38 h 376"/>
                <a:gd name="T4" fmla="*/ 75 w 178"/>
                <a:gd name="T5" fmla="*/ 107 h 376"/>
                <a:gd name="T6" fmla="*/ 34 w 178"/>
                <a:gd name="T7" fmla="*/ 107 h 376"/>
                <a:gd name="T8" fmla="*/ 34 w 178"/>
                <a:gd name="T9" fmla="*/ 128 h 376"/>
                <a:gd name="T10" fmla="*/ 21 w 178"/>
                <a:gd name="T11" fmla="*/ 141 h 376"/>
                <a:gd name="T12" fmla="*/ 21 w 178"/>
                <a:gd name="T13" fmla="*/ 187 h 376"/>
                <a:gd name="T14" fmla="*/ 32 w 178"/>
                <a:gd name="T15" fmla="*/ 200 h 376"/>
                <a:gd name="T16" fmla="*/ 32 w 178"/>
                <a:gd name="T17" fmla="*/ 219 h 376"/>
                <a:gd name="T18" fmla="*/ 0 w 178"/>
                <a:gd name="T19" fmla="*/ 253 h 376"/>
                <a:gd name="T20" fmla="*/ 0 w 178"/>
                <a:gd name="T21" fmla="*/ 275 h 376"/>
                <a:gd name="T22" fmla="*/ 9 w 178"/>
                <a:gd name="T23" fmla="*/ 285 h 376"/>
                <a:gd name="T24" fmla="*/ 9 w 178"/>
                <a:gd name="T25" fmla="*/ 328 h 376"/>
                <a:gd name="T26" fmla="*/ 32 w 178"/>
                <a:gd name="T27" fmla="*/ 349 h 376"/>
                <a:gd name="T28" fmla="*/ 57 w 178"/>
                <a:gd name="T29" fmla="*/ 376 h 376"/>
                <a:gd name="T30" fmla="*/ 75 w 178"/>
                <a:gd name="T31" fmla="*/ 360 h 376"/>
                <a:gd name="T32" fmla="*/ 94 w 178"/>
                <a:gd name="T33" fmla="*/ 360 h 376"/>
                <a:gd name="T34" fmla="*/ 107 w 178"/>
                <a:gd name="T35" fmla="*/ 348 h 376"/>
                <a:gd name="T36" fmla="*/ 107 w 178"/>
                <a:gd name="T37" fmla="*/ 323 h 376"/>
                <a:gd name="T38" fmla="*/ 117 w 178"/>
                <a:gd name="T39" fmla="*/ 312 h 376"/>
                <a:gd name="T40" fmla="*/ 117 w 178"/>
                <a:gd name="T41" fmla="*/ 291 h 376"/>
                <a:gd name="T42" fmla="*/ 142 w 178"/>
                <a:gd name="T43" fmla="*/ 267 h 376"/>
                <a:gd name="T44" fmla="*/ 142 w 178"/>
                <a:gd name="T45" fmla="*/ 202 h 376"/>
                <a:gd name="T46" fmla="*/ 160 w 178"/>
                <a:gd name="T47" fmla="*/ 184 h 376"/>
                <a:gd name="T48" fmla="*/ 160 w 178"/>
                <a:gd name="T49" fmla="*/ 143 h 376"/>
                <a:gd name="T50" fmla="*/ 169 w 178"/>
                <a:gd name="T51" fmla="*/ 134 h 376"/>
                <a:gd name="T52" fmla="*/ 169 w 178"/>
                <a:gd name="T53" fmla="*/ 112 h 376"/>
                <a:gd name="T54" fmla="*/ 178 w 178"/>
                <a:gd name="T55" fmla="*/ 103 h 376"/>
                <a:gd name="T56" fmla="*/ 178 w 178"/>
                <a:gd name="T57" fmla="*/ 20 h 376"/>
                <a:gd name="T58" fmla="*/ 158 w 178"/>
                <a:gd name="T59" fmla="*/ 0 h 376"/>
                <a:gd name="T60" fmla="*/ 144 w 178"/>
                <a:gd name="T61"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8" h="376">
                  <a:moveTo>
                    <a:pt x="144" y="0"/>
                  </a:moveTo>
                  <a:lnTo>
                    <a:pt x="144" y="38"/>
                  </a:lnTo>
                  <a:lnTo>
                    <a:pt x="75" y="107"/>
                  </a:lnTo>
                  <a:lnTo>
                    <a:pt x="34" y="107"/>
                  </a:lnTo>
                  <a:lnTo>
                    <a:pt x="34" y="128"/>
                  </a:lnTo>
                  <a:lnTo>
                    <a:pt x="21" y="141"/>
                  </a:lnTo>
                  <a:lnTo>
                    <a:pt x="21" y="187"/>
                  </a:lnTo>
                  <a:lnTo>
                    <a:pt x="32" y="200"/>
                  </a:lnTo>
                  <a:lnTo>
                    <a:pt x="32" y="219"/>
                  </a:lnTo>
                  <a:lnTo>
                    <a:pt x="0" y="253"/>
                  </a:lnTo>
                  <a:lnTo>
                    <a:pt x="0" y="275"/>
                  </a:lnTo>
                  <a:lnTo>
                    <a:pt x="9" y="285"/>
                  </a:lnTo>
                  <a:lnTo>
                    <a:pt x="9" y="328"/>
                  </a:lnTo>
                  <a:lnTo>
                    <a:pt x="32" y="349"/>
                  </a:lnTo>
                  <a:lnTo>
                    <a:pt x="57" y="376"/>
                  </a:lnTo>
                  <a:lnTo>
                    <a:pt x="75" y="360"/>
                  </a:lnTo>
                  <a:lnTo>
                    <a:pt x="94" y="360"/>
                  </a:lnTo>
                  <a:lnTo>
                    <a:pt x="107" y="348"/>
                  </a:lnTo>
                  <a:lnTo>
                    <a:pt x="107" y="323"/>
                  </a:lnTo>
                  <a:lnTo>
                    <a:pt x="117" y="312"/>
                  </a:lnTo>
                  <a:lnTo>
                    <a:pt x="117" y="291"/>
                  </a:lnTo>
                  <a:lnTo>
                    <a:pt x="142" y="267"/>
                  </a:lnTo>
                  <a:lnTo>
                    <a:pt x="142" y="202"/>
                  </a:lnTo>
                  <a:lnTo>
                    <a:pt x="160" y="184"/>
                  </a:lnTo>
                  <a:lnTo>
                    <a:pt x="160" y="143"/>
                  </a:lnTo>
                  <a:lnTo>
                    <a:pt x="169" y="134"/>
                  </a:lnTo>
                  <a:lnTo>
                    <a:pt x="169" y="112"/>
                  </a:lnTo>
                  <a:lnTo>
                    <a:pt x="178" y="103"/>
                  </a:lnTo>
                  <a:lnTo>
                    <a:pt x="178" y="20"/>
                  </a:lnTo>
                  <a:lnTo>
                    <a:pt x="158" y="0"/>
                  </a:lnTo>
                  <a:lnTo>
                    <a:pt x="144"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Freeform 369">
              <a:extLst>
                <a:ext uri="{FF2B5EF4-FFF2-40B4-BE49-F238E27FC236}">
                  <a16:creationId xmlns:a16="http://schemas.microsoft.com/office/drawing/2014/main" id="{5E4CA397-9232-4D2B-B1EA-44304D52A1D6}"/>
                </a:ext>
              </a:extLst>
            </p:cNvPr>
            <p:cNvSpPr>
              <a:spLocks/>
            </p:cNvSpPr>
            <p:nvPr/>
          </p:nvSpPr>
          <p:spPr bwMode="auto">
            <a:xfrm>
              <a:off x="4008438" y="3184525"/>
              <a:ext cx="173038" cy="147638"/>
            </a:xfrm>
            <a:custGeom>
              <a:avLst/>
              <a:gdLst>
                <a:gd name="T0" fmla="*/ 63 w 218"/>
                <a:gd name="T1" fmla="*/ 178 h 185"/>
                <a:gd name="T2" fmla="*/ 105 w 218"/>
                <a:gd name="T3" fmla="*/ 178 h 185"/>
                <a:gd name="T4" fmla="*/ 105 w 218"/>
                <a:gd name="T5" fmla="*/ 125 h 185"/>
                <a:gd name="T6" fmla="*/ 146 w 218"/>
                <a:gd name="T7" fmla="*/ 125 h 185"/>
                <a:gd name="T8" fmla="*/ 146 w 218"/>
                <a:gd name="T9" fmla="*/ 52 h 185"/>
                <a:gd name="T10" fmla="*/ 218 w 218"/>
                <a:gd name="T11" fmla="*/ 52 h 185"/>
                <a:gd name="T12" fmla="*/ 218 w 218"/>
                <a:gd name="T13" fmla="*/ 0 h 185"/>
                <a:gd name="T14" fmla="*/ 100 w 218"/>
                <a:gd name="T15" fmla="*/ 0 h 185"/>
                <a:gd name="T16" fmla="*/ 100 w 218"/>
                <a:gd name="T17" fmla="*/ 32 h 185"/>
                <a:gd name="T18" fmla="*/ 70 w 218"/>
                <a:gd name="T19" fmla="*/ 32 h 185"/>
                <a:gd name="T20" fmla="*/ 70 w 218"/>
                <a:gd name="T21" fmla="*/ 53 h 185"/>
                <a:gd name="T22" fmla="*/ 32 w 218"/>
                <a:gd name="T23" fmla="*/ 89 h 185"/>
                <a:gd name="T24" fmla="*/ 32 w 218"/>
                <a:gd name="T25" fmla="*/ 116 h 185"/>
                <a:gd name="T26" fmla="*/ 20 w 218"/>
                <a:gd name="T27" fmla="*/ 128 h 185"/>
                <a:gd name="T28" fmla="*/ 20 w 218"/>
                <a:gd name="T29" fmla="*/ 159 h 185"/>
                <a:gd name="T30" fmla="*/ 0 w 218"/>
                <a:gd name="T31" fmla="*/ 159 h 185"/>
                <a:gd name="T32" fmla="*/ 0 w 218"/>
                <a:gd name="T33" fmla="*/ 185 h 185"/>
                <a:gd name="T34" fmla="*/ 54 w 218"/>
                <a:gd name="T35" fmla="*/ 185 h 185"/>
                <a:gd name="T36" fmla="*/ 63 w 218"/>
                <a:gd name="T37" fmla="*/ 17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8" h="185">
                  <a:moveTo>
                    <a:pt x="63" y="178"/>
                  </a:moveTo>
                  <a:lnTo>
                    <a:pt x="105" y="178"/>
                  </a:lnTo>
                  <a:lnTo>
                    <a:pt x="105" y="125"/>
                  </a:lnTo>
                  <a:lnTo>
                    <a:pt x="146" y="125"/>
                  </a:lnTo>
                  <a:lnTo>
                    <a:pt x="146" y="52"/>
                  </a:lnTo>
                  <a:lnTo>
                    <a:pt x="218" y="52"/>
                  </a:lnTo>
                  <a:lnTo>
                    <a:pt x="218" y="0"/>
                  </a:lnTo>
                  <a:lnTo>
                    <a:pt x="100" y="0"/>
                  </a:lnTo>
                  <a:lnTo>
                    <a:pt x="100" y="32"/>
                  </a:lnTo>
                  <a:lnTo>
                    <a:pt x="70" y="32"/>
                  </a:lnTo>
                  <a:lnTo>
                    <a:pt x="70" y="53"/>
                  </a:lnTo>
                  <a:lnTo>
                    <a:pt x="32" y="89"/>
                  </a:lnTo>
                  <a:lnTo>
                    <a:pt x="32" y="116"/>
                  </a:lnTo>
                  <a:lnTo>
                    <a:pt x="20" y="128"/>
                  </a:lnTo>
                  <a:lnTo>
                    <a:pt x="20" y="159"/>
                  </a:lnTo>
                  <a:lnTo>
                    <a:pt x="0" y="159"/>
                  </a:lnTo>
                  <a:lnTo>
                    <a:pt x="0" y="185"/>
                  </a:lnTo>
                  <a:lnTo>
                    <a:pt x="54" y="185"/>
                  </a:lnTo>
                  <a:lnTo>
                    <a:pt x="63" y="17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Freeform 370">
              <a:extLst>
                <a:ext uri="{FF2B5EF4-FFF2-40B4-BE49-F238E27FC236}">
                  <a16:creationId xmlns:a16="http://schemas.microsoft.com/office/drawing/2014/main" id="{B39B8417-3CEF-4802-A606-9EBDC8722011}"/>
                </a:ext>
              </a:extLst>
            </p:cNvPr>
            <p:cNvSpPr>
              <a:spLocks/>
            </p:cNvSpPr>
            <p:nvPr/>
          </p:nvSpPr>
          <p:spPr bwMode="auto">
            <a:xfrm>
              <a:off x="4086226" y="3568700"/>
              <a:ext cx="69850" cy="73025"/>
            </a:xfrm>
            <a:custGeom>
              <a:avLst/>
              <a:gdLst>
                <a:gd name="T0" fmla="*/ 75 w 88"/>
                <a:gd name="T1" fmla="*/ 46 h 93"/>
                <a:gd name="T2" fmla="*/ 88 w 88"/>
                <a:gd name="T3" fmla="*/ 34 h 93"/>
                <a:gd name="T4" fmla="*/ 55 w 88"/>
                <a:gd name="T5" fmla="*/ 0 h 93"/>
                <a:gd name="T6" fmla="*/ 27 w 88"/>
                <a:gd name="T7" fmla="*/ 0 h 93"/>
                <a:gd name="T8" fmla="*/ 0 w 88"/>
                <a:gd name="T9" fmla="*/ 29 h 93"/>
                <a:gd name="T10" fmla="*/ 13 w 88"/>
                <a:gd name="T11" fmla="*/ 41 h 93"/>
                <a:gd name="T12" fmla="*/ 13 w 88"/>
                <a:gd name="T13" fmla="*/ 57 h 93"/>
                <a:gd name="T14" fmla="*/ 50 w 88"/>
                <a:gd name="T15" fmla="*/ 93 h 93"/>
                <a:gd name="T16" fmla="*/ 75 w 88"/>
                <a:gd name="T17" fmla="*/ 70 h 93"/>
                <a:gd name="T18" fmla="*/ 75 w 88"/>
                <a:gd name="T19"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93">
                  <a:moveTo>
                    <a:pt x="75" y="46"/>
                  </a:moveTo>
                  <a:lnTo>
                    <a:pt x="88" y="34"/>
                  </a:lnTo>
                  <a:lnTo>
                    <a:pt x="55" y="0"/>
                  </a:lnTo>
                  <a:lnTo>
                    <a:pt x="27" y="0"/>
                  </a:lnTo>
                  <a:lnTo>
                    <a:pt x="0" y="29"/>
                  </a:lnTo>
                  <a:lnTo>
                    <a:pt x="13" y="41"/>
                  </a:lnTo>
                  <a:lnTo>
                    <a:pt x="13" y="57"/>
                  </a:lnTo>
                  <a:lnTo>
                    <a:pt x="50" y="93"/>
                  </a:lnTo>
                  <a:lnTo>
                    <a:pt x="75" y="70"/>
                  </a:lnTo>
                  <a:lnTo>
                    <a:pt x="75" y="4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Freeform 371">
              <a:extLst>
                <a:ext uri="{FF2B5EF4-FFF2-40B4-BE49-F238E27FC236}">
                  <a16:creationId xmlns:a16="http://schemas.microsoft.com/office/drawing/2014/main" id="{9DFCD6EC-7B3F-4FA7-A83B-40FC8AB56512}"/>
                </a:ext>
              </a:extLst>
            </p:cNvPr>
            <p:cNvSpPr>
              <a:spLocks/>
            </p:cNvSpPr>
            <p:nvPr/>
          </p:nvSpPr>
          <p:spPr bwMode="auto">
            <a:xfrm>
              <a:off x="4125913" y="3595688"/>
              <a:ext cx="80963" cy="101600"/>
            </a:xfrm>
            <a:custGeom>
              <a:avLst/>
              <a:gdLst>
                <a:gd name="T0" fmla="*/ 75 w 102"/>
                <a:gd name="T1" fmla="*/ 53 h 128"/>
                <a:gd name="T2" fmla="*/ 75 w 102"/>
                <a:gd name="T3" fmla="*/ 36 h 128"/>
                <a:gd name="T4" fmla="*/ 43 w 102"/>
                <a:gd name="T5" fmla="*/ 3 h 128"/>
                <a:gd name="T6" fmla="*/ 38 w 102"/>
                <a:gd name="T7" fmla="*/ 0 h 128"/>
                <a:gd name="T8" fmla="*/ 25 w 102"/>
                <a:gd name="T9" fmla="*/ 12 h 128"/>
                <a:gd name="T10" fmla="*/ 25 w 102"/>
                <a:gd name="T11" fmla="*/ 36 h 128"/>
                <a:gd name="T12" fmla="*/ 0 w 102"/>
                <a:gd name="T13" fmla="*/ 59 h 128"/>
                <a:gd name="T14" fmla="*/ 41 w 102"/>
                <a:gd name="T15" fmla="*/ 101 h 128"/>
                <a:gd name="T16" fmla="*/ 59 w 102"/>
                <a:gd name="T17" fmla="*/ 101 h 128"/>
                <a:gd name="T18" fmla="*/ 87 w 102"/>
                <a:gd name="T19" fmla="*/ 128 h 128"/>
                <a:gd name="T20" fmla="*/ 102 w 102"/>
                <a:gd name="T21" fmla="*/ 114 h 128"/>
                <a:gd name="T22" fmla="*/ 102 w 102"/>
                <a:gd name="T23" fmla="*/ 80 h 128"/>
                <a:gd name="T24" fmla="*/ 75 w 102"/>
                <a:gd name="T25" fmla="*/ 5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28">
                  <a:moveTo>
                    <a:pt x="75" y="53"/>
                  </a:moveTo>
                  <a:lnTo>
                    <a:pt x="75" y="36"/>
                  </a:lnTo>
                  <a:lnTo>
                    <a:pt x="43" y="3"/>
                  </a:lnTo>
                  <a:lnTo>
                    <a:pt x="38" y="0"/>
                  </a:lnTo>
                  <a:lnTo>
                    <a:pt x="25" y="12"/>
                  </a:lnTo>
                  <a:lnTo>
                    <a:pt x="25" y="36"/>
                  </a:lnTo>
                  <a:lnTo>
                    <a:pt x="0" y="59"/>
                  </a:lnTo>
                  <a:lnTo>
                    <a:pt x="41" y="101"/>
                  </a:lnTo>
                  <a:lnTo>
                    <a:pt x="59" y="101"/>
                  </a:lnTo>
                  <a:lnTo>
                    <a:pt x="87" y="128"/>
                  </a:lnTo>
                  <a:lnTo>
                    <a:pt x="102" y="114"/>
                  </a:lnTo>
                  <a:lnTo>
                    <a:pt x="102" y="80"/>
                  </a:lnTo>
                  <a:lnTo>
                    <a:pt x="75" y="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5" name="Freeform 372">
              <a:extLst>
                <a:ext uri="{FF2B5EF4-FFF2-40B4-BE49-F238E27FC236}">
                  <a16:creationId xmlns:a16="http://schemas.microsoft.com/office/drawing/2014/main" id="{F4C5BFFA-0571-4B2C-B50F-3944CC2324C8}"/>
                </a:ext>
              </a:extLst>
            </p:cNvPr>
            <p:cNvSpPr>
              <a:spLocks/>
            </p:cNvSpPr>
            <p:nvPr/>
          </p:nvSpPr>
          <p:spPr bwMode="auto">
            <a:xfrm>
              <a:off x="4864101" y="3084513"/>
              <a:ext cx="220663" cy="242888"/>
            </a:xfrm>
            <a:custGeom>
              <a:avLst/>
              <a:gdLst>
                <a:gd name="T0" fmla="*/ 0 w 278"/>
                <a:gd name="T1" fmla="*/ 70 h 305"/>
                <a:gd name="T2" fmla="*/ 20 w 278"/>
                <a:gd name="T3" fmla="*/ 88 h 305"/>
                <a:gd name="T4" fmla="*/ 20 w 278"/>
                <a:gd name="T5" fmla="*/ 291 h 305"/>
                <a:gd name="T6" fmla="*/ 223 w 278"/>
                <a:gd name="T7" fmla="*/ 291 h 305"/>
                <a:gd name="T8" fmla="*/ 236 w 278"/>
                <a:gd name="T9" fmla="*/ 305 h 305"/>
                <a:gd name="T10" fmla="*/ 278 w 278"/>
                <a:gd name="T11" fmla="*/ 262 h 305"/>
                <a:gd name="T12" fmla="*/ 264 w 278"/>
                <a:gd name="T13" fmla="*/ 246 h 305"/>
                <a:gd name="T14" fmla="*/ 264 w 278"/>
                <a:gd name="T15" fmla="*/ 202 h 305"/>
                <a:gd name="T16" fmla="*/ 225 w 278"/>
                <a:gd name="T17" fmla="*/ 161 h 305"/>
                <a:gd name="T18" fmla="*/ 225 w 278"/>
                <a:gd name="T19" fmla="*/ 138 h 305"/>
                <a:gd name="T20" fmla="*/ 187 w 278"/>
                <a:gd name="T21" fmla="*/ 100 h 305"/>
                <a:gd name="T22" fmla="*/ 211 w 278"/>
                <a:gd name="T23" fmla="*/ 79 h 305"/>
                <a:gd name="T24" fmla="*/ 211 w 278"/>
                <a:gd name="T25" fmla="*/ 79 h 305"/>
                <a:gd name="T26" fmla="*/ 211 w 278"/>
                <a:gd name="T27" fmla="*/ 66 h 305"/>
                <a:gd name="T28" fmla="*/ 211 w 278"/>
                <a:gd name="T29" fmla="*/ 41 h 305"/>
                <a:gd name="T30" fmla="*/ 189 w 278"/>
                <a:gd name="T31" fmla="*/ 41 h 305"/>
                <a:gd name="T32" fmla="*/ 189 w 278"/>
                <a:gd name="T33" fmla="*/ 18 h 305"/>
                <a:gd name="T34" fmla="*/ 148 w 278"/>
                <a:gd name="T35" fmla="*/ 18 h 305"/>
                <a:gd name="T36" fmla="*/ 123 w 278"/>
                <a:gd name="T37" fmla="*/ 43 h 305"/>
                <a:gd name="T38" fmla="*/ 93 w 278"/>
                <a:gd name="T39" fmla="*/ 13 h 305"/>
                <a:gd name="T40" fmla="*/ 14 w 278"/>
                <a:gd name="T41" fmla="*/ 13 h 305"/>
                <a:gd name="T42" fmla="*/ 0 w 278"/>
                <a:gd name="T43" fmla="*/ 0 h 305"/>
                <a:gd name="T44" fmla="*/ 0 w 278"/>
                <a:gd name="T45" fmla="*/ 47 h 305"/>
                <a:gd name="T46" fmla="*/ 0 w 278"/>
                <a:gd name="T47" fmla="*/ 7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8" h="305">
                  <a:moveTo>
                    <a:pt x="0" y="70"/>
                  </a:moveTo>
                  <a:lnTo>
                    <a:pt x="20" y="88"/>
                  </a:lnTo>
                  <a:lnTo>
                    <a:pt x="20" y="291"/>
                  </a:lnTo>
                  <a:lnTo>
                    <a:pt x="223" y="291"/>
                  </a:lnTo>
                  <a:lnTo>
                    <a:pt x="236" y="305"/>
                  </a:lnTo>
                  <a:lnTo>
                    <a:pt x="278" y="262"/>
                  </a:lnTo>
                  <a:lnTo>
                    <a:pt x="264" y="246"/>
                  </a:lnTo>
                  <a:lnTo>
                    <a:pt x="264" y="202"/>
                  </a:lnTo>
                  <a:lnTo>
                    <a:pt x="225" y="161"/>
                  </a:lnTo>
                  <a:lnTo>
                    <a:pt x="225" y="138"/>
                  </a:lnTo>
                  <a:lnTo>
                    <a:pt x="187" y="100"/>
                  </a:lnTo>
                  <a:lnTo>
                    <a:pt x="211" y="79"/>
                  </a:lnTo>
                  <a:lnTo>
                    <a:pt x="211" y="79"/>
                  </a:lnTo>
                  <a:lnTo>
                    <a:pt x="211" y="66"/>
                  </a:lnTo>
                  <a:lnTo>
                    <a:pt x="211" y="41"/>
                  </a:lnTo>
                  <a:lnTo>
                    <a:pt x="189" y="41"/>
                  </a:lnTo>
                  <a:lnTo>
                    <a:pt x="189" y="18"/>
                  </a:lnTo>
                  <a:lnTo>
                    <a:pt x="148" y="18"/>
                  </a:lnTo>
                  <a:lnTo>
                    <a:pt x="123" y="43"/>
                  </a:lnTo>
                  <a:lnTo>
                    <a:pt x="93" y="13"/>
                  </a:lnTo>
                  <a:lnTo>
                    <a:pt x="14" y="13"/>
                  </a:lnTo>
                  <a:lnTo>
                    <a:pt x="0" y="0"/>
                  </a:lnTo>
                  <a:lnTo>
                    <a:pt x="0" y="47"/>
                  </a:lnTo>
                  <a:lnTo>
                    <a:pt x="0" y="7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6" name="Freeform 373">
              <a:extLst>
                <a:ext uri="{FF2B5EF4-FFF2-40B4-BE49-F238E27FC236}">
                  <a16:creationId xmlns:a16="http://schemas.microsoft.com/office/drawing/2014/main" id="{828B17DF-C73C-4C69-9B96-6CEB9D881435}"/>
                </a:ext>
              </a:extLst>
            </p:cNvPr>
            <p:cNvSpPr>
              <a:spLocks/>
            </p:cNvSpPr>
            <p:nvPr/>
          </p:nvSpPr>
          <p:spPr bwMode="auto">
            <a:xfrm>
              <a:off x="4492626" y="2949575"/>
              <a:ext cx="119063" cy="179388"/>
            </a:xfrm>
            <a:custGeom>
              <a:avLst/>
              <a:gdLst>
                <a:gd name="T0" fmla="*/ 36 w 150"/>
                <a:gd name="T1" fmla="*/ 79 h 227"/>
                <a:gd name="T2" fmla="*/ 36 w 150"/>
                <a:gd name="T3" fmla="*/ 109 h 227"/>
                <a:gd name="T4" fmla="*/ 21 w 150"/>
                <a:gd name="T5" fmla="*/ 123 h 227"/>
                <a:gd name="T6" fmla="*/ 21 w 150"/>
                <a:gd name="T7" fmla="*/ 139 h 227"/>
                <a:gd name="T8" fmla="*/ 43 w 150"/>
                <a:gd name="T9" fmla="*/ 161 h 227"/>
                <a:gd name="T10" fmla="*/ 66 w 150"/>
                <a:gd name="T11" fmla="*/ 184 h 227"/>
                <a:gd name="T12" fmla="*/ 66 w 150"/>
                <a:gd name="T13" fmla="*/ 227 h 227"/>
                <a:gd name="T14" fmla="*/ 86 w 150"/>
                <a:gd name="T15" fmla="*/ 227 h 227"/>
                <a:gd name="T16" fmla="*/ 118 w 150"/>
                <a:gd name="T17" fmla="*/ 195 h 227"/>
                <a:gd name="T18" fmla="*/ 118 w 150"/>
                <a:gd name="T19" fmla="*/ 170 h 227"/>
                <a:gd name="T20" fmla="*/ 150 w 150"/>
                <a:gd name="T21" fmla="*/ 138 h 227"/>
                <a:gd name="T22" fmla="*/ 123 w 150"/>
                <a:gd name="T23" fmla="*/ 138 h 227"/>
                <a:gd name="T24" fmla="*/ 94 w 150"/>
                <a:gd name="T25" fmla="*/ 109 h 227"/>
                <a:gd name="T26" fmla="*/ 123 w 150"/>
                <a:gd name="T27" fmla="*/ 80 h 227"/>
                <a:gd name="T28" fmla="*/ 94 w 150"/>
                <a:gd name="T29" fmla="*/ 54 h 227"/>
                <a:gd name="T30" fmla="*/ 119 w 150"/>
                <a:gd name="T31" fmla="*/ 27 h 227"/>
                <a:gd name="T32" fmla="*/ 93 w 150"/>
                <a:gd name="T33" fmla="*/ 0 h 227"/>
                <a:gd name="T34" fmla="*/ 68 w 150"/>
                <a:gd name="T35" fmla="*/ 25 h 227"/>
                <a:gd name="T36" fmla="*/ 0 w 150"/>
                <a:gd name="T37" fmla="*/ 25 h 227"/>
                <a:gd name="T38" fmla="*/ 0 w 150"/>
                <a:gd name="T39" fmla="*/ 43 h 227"/>
                <a:gd name="T40" fmla="*/ 36 w 150"/>
                <a:gd name="T41" fmla="*/ 7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27">
                  <a:moveTo>
                    <a:pt x="36" y="79"/>
                  </a:moveTo>
                  <a:lnTo>
                    <a:pt x="36" y="109"/>
                  </a:lnTo>
                  <a:lnTo>
                    <a:pt x="21" y="123"/>
                  </a:lnTo>
                  <a:lnTo>
                    <a:pt x="21" y="139"/>
                  </a:lnTo>
                  <a:lnTo>
                    <a:pt x="43" y="161"/>
                  </a:lnTo>
                  <a:lnTo>
                    <a:pt x="66" y="184"/>
                  </a:lnTo>
                  <a:lnTo>
                    <a:pt x="66" y="227"/>
                  </a:lnTo>
                  <a:lnTo>
                    <a:pt x="86" y="227"/>
                  </a:lnTo>
                  <a:lnTo>
                    <a:pt x="118" y="195"/>
                  </a:lnTo>
                  <a:lnTo>
                    <a:pt x="118" y="170"/>
                  </a:lnTo>
                  <a:lnTo>
                    <a:pt x="150" y="138"/>
                  </a:lnTo>
                  <a:lnTo>
                    <a:pt x="123" y="138"/>
                  </a:lnTo>
                  <a:lnTo>
                    <a:pt x="94" y="109"/>
                  </a:lnTo>
                  <a:lnTo>
                    <a:pt x="123" y="80"/>
                  </a:lnTo>
                  <a:lnTo>
                    <a:pt x="94" y="54"/>
                  </a:lnTo>
                  <a:lnTo>
                    <a:pt x="119" y="27"/>
                  </a:lnTo>
                  <a:lnTo>
                    <a:pt x="93" y="0"/>
                  </a:lnTo>
                  <a:lnTo>
                    <a:pt x="68" y="25"/>
                  </a:lnTo>
                  <a:lnTo>
                    <a:pt x="0" y="25"/>
                  </a:lnTo>
                  <a:lnTo>
                    <a:pt x="0" y="43"/>
                  </a:lnTo>
                  <a:lnTo>
                    <a:pt x="36" y="7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7" name="Freeform 374">
              <a:extLst>
                <a:ext uri="{FF2B5EF4-FFF2-40B4-BE49-F238E27FC236}">
                  <a16:creationId xmlns:a16="http://schemas.microsoft.com/office/drawing/2014/main" id="{317F4878-5DE5-42D5-991E-6B1A944B3807}"/>
                </a:ext>
              </a:extLst>
            </p:cNvPr>
            <p:cNvSpPr>
              <a:spLocks/>
            </p:cNvSpPr>
            <p:nvPr/>
          </p:nvSpPr>
          <p:spPr bwMode="auto">
            <a:xfrm>
              <a:off x="4545013" y="3057525"/>
              <a:ext cx="333375" cy="300038"/>
            </a:xfrm>
            <a:custGeom>
              <a:avLst/>
              <a:gdLst>
                <a:gd name="T0" fmla="*/ 28 w 421"/>
                <a:gd name="T1" fmla="*/ 185 h 377"/>
                <a:gd name="T2" fmla="*/ 2 w 421"/>
                <a:gd name="T3" fmla="*/ 210 h 377"/>
                <a:gd name="T4" fmla="*/ 21 w 421"/>
                <a:gd name="T5" fmla="*/ 229 h 377"/>
                <a:gd name="T6" fmla="*/ 21 w 421"/>
                <a:gd name="T7" fmla="*/ 260 h 377"/>
                <a:gd name="T8" fmla="*/ 45 w 421"/>
                <a:gd name="T9" fmla="*/ 260 h 377"/>
                <a:gd name="T10" fmla="*/ 68 w 421"/>
                <a:gd name="T11" fmla="*/ 283 h 377"/>
                <a:gd name="T12" fmla="*/ 130 w 421"/>
                <a:gd name="T13" fmla="*/ 283 h 377"/>
                <a:gd name="T14" fmla="*/ 152 w 421"/>
                <a:gd name="T15" fmla="*/ 304 h 377"/>
                <a:gd name="T16" fmla="*/ 173 w 421"/>
                <a:gd name="T17" fmla="*/ 304 h 377"/>
                <a:gd name="T18" fmla="*/ 264 w 421"/>
                <a:gd name="T19" fmla="*/ 304 h 377"/>
                <a:gd name="T20" fmla="*/ 337 w 421"/>
                <a:gd name="T21" fmla="*/ 377 h 377"/>
                <a:gd name="T22" fmla="*/ 387 w 421"/>
                <a:gd name="T23" fmla="*/ 377 h 377"/>
                <a:gd name="T24" fmla="*/ 421 w 421"/>
                <a:gd name="T25" fmla="*/ 377 h 377"/>
                <a:gd name="T26" fmla="*/ 421 w 421"/>
                <a:gd name="T27" fmla="*/ 324 h 377"/>
                <a:gd name="T28" fmla="*/ 421 w 421"/>
                <a:gd name="T29" fmla="*/ 121 h 377"/>
                <a:gd name="T30" fmla="*/ 401 w 421"/>
                <a:gd name="T31" fmla="*/ 103 h 377"/>
                <a:gd name="T32" fmla="*/ 401 w 421"/>
                <a:gd name="T33" fmla="*/ 80 h 377"/>
                <a:gd name="T34" fmla="*/ 401 w 421"/>
                <a:gd name="T35" fmla="*/ 33 h 377"/>
                <a:gd name="T36" fmla="*/ 399 w 421"/>
                <a:gd name="T37" fmla="*/ 30 h 377"/>
                <a:gd name="T38" fmla="*/ 355 w 421"/>
                <a:gd name="T39" fmla="*/ 30 h 377"/>
                <a:gd name="T40" fmla="*/ 355 w 421"/>
                <a:gd name="T41" fmla="*/ 14 h 377"/>
                <a:gd name="T42" fmla="*/ 303 w 421"/>
                <a:gd name="T43" fmla="*/ 14 h 377"/>
                <a:gd name="T44" fmla="*/ 282 w 421"/>
                <a:gd name="T45" fmla="*/ 35 h 377"/>
                <a:gd name="T46" fmla="*/ 282 w 421"/>
                <a:gd name="T47" fmla="*/ 73 h 377"/>
                <a:gd name="T48" fmla="*/ 244 w 421"/>
                <a:gd name="T49" fmla="*/ 73 h 377"/>
                <a:gd name="T50" fmla="*/ 235 w 421"/>
                <a:gd name="T51" fmla="*/ 64 h 377"/>
                <a:gd name="T52" fmla="*/ 180 w 421"/>
                <a:gd name="T53" fmla="*/ 64 h 377"/>
                <a:gd name="T54" fmla="*/ 159 w 421"/>
                <a:gd name="T55" fmla="*/ 41 h 377"/>
                <a:gd name="T56" fmla="*/ 159 w 421"/>
                <a:gd name="T57" fmla="*/ 26 h 377"/>
                <a:gd name="T58" fmla="*/ 143 w 421"/>
                <a:gd name="T59" fmla="*/ 26 h 377"/>
                <a:gd name="T60" fmla="*/ 116 w 421"/>
                <a:gd name="T61" fmla="*/ 0 h 377"/>
                <a:gd name="T62" fmla="*/ 84 w 421"/>
                <a:gd name="T63" fmla="*/ 0 h 377"/>
                <a:gd name="T64" fmla="*/ 52 w 421"/>
                <a:gd name="T65" fmla="*/ 32 h 377"/>
                <a:gd name="T66" fmla="*/ 52 w 421"/>
                <a:gd name="T67" fmla="*/ 57 h 377"/>
                <a:gd name="T68" fmla="*/ 20 w 421"/>
                <a:gd name="T69" fmla="*/ 89 h 377"/>
                <a:gd name="T70" fmla="*/ 0 w 421"/>
                <a:gd name="T71" fmla="*/ 89 h 377"/>
                <a:gd name="T72" fmla="*/ 28 w 421"/>
                <a:gd name="T73" fmla="*/ 130 h 377"/>
                <a:gd name="T74" fmla="*/ 28 w 421"/>
                <a:gd name="T75" fmla="*/ 185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1" h="377">
                  <a:moveTo>
                    <a:pt x="28" y="185"/>
                  </a:moveTo>
                  <a:lnTo>
                    <a:pt x="2" y="210"/>
                  </a:lnTo>
                  <a:lnTo>
                    <a:pt x="21" y="229"/>
                  </a:lnTo>
                  <a:lnTo>
                    <a:pt x="21" y="260"/>
                  </a:lnTo>
                  <a:lnTo>
                    <a:pt x="45" y="260"/>
                  </a:lnTo>
                  <a:lnTo>
                    <a:pt x="68" y="283"/>
                  </a:lnTo>
                  <a:lnTo>
                    <a:pt x="130" y="283"/>
                  </a:lnTo>
                  <a:lnTo>
                    <a:pt x="152" y="304"/>
                  </a:lnTo>
                  <a:lnTo>
                    <a:pt x="173" y="304"/>
                  </a:lnTo>
                  <a:lnTo>
                    <a:pt x="264" y="304"/>
                  </a:lnTo>
                  <a:lnTo>
                    <a:pt x="337" y="377"/>
                  </a:lnTo>
                  <a:lnTo>
                    <a:pt x="387" y="377"/>
                  </a:lnTo>
                  <a:lnTo>
                    <a:pt x="421" y="377"/>
                  </a:lnTo>
                  <a:lnTo>
                    <a:pt x="421" y="324"/>
                  </a:lnTo>
                  <a:lnTo>
                    <a:pt x="421" y="121"/>
                  </a:lnTo>
                  <a:lnTo>
                    <a:pt x="401" y="103"/>
                  </a:lnTo>
                  <a:lnTo>
                    <a:pt x="401" y="80"/>
                  </a:lnTo>
                  <a:lnTo>
                    <a:pt x="401" y="33"/>
                  </a:lnTo>
                  <a:lnTo>
                    <a:pt x="399" y="30"/>
                  </a:lnTo>
                  <a:lnTo>
                    <a:pt x="355" y="30"/>
                  </a:lnTo>
                  <a:lnTo>
                    <a:pt x="355" y="14"/>
                  </a:lnTo>
                  <a:lnTo>
                    <a:pt x="303" y="14"/>
                  </a:lnTo>
                  <a:lnTo>
                    <a:pt x="282" y="35"/>
                  </a:lnTo>
                  <a:lnTo>
                    <a:pt x="282" y="73"/>
                  </a:lnTo>
                  <a:lnTo>
                    <a:pt x="244" y="73"/>
                  </a:lnTo>
                  <a:lnTo>
                    <a:pt x="235" y="64"/>
                  </a:lnTo>
                  <a:lnTo>
                    <a:pt x="180" y="64"/>
                  </a:lnTo>
                  <a:lnTo>
                    <a:pt x="159" y="41"/>
                  </a:lnTo>
                  <a:lnTo>
                    <a:pt x="159" y="26"/>
                  </a:lnTo>
                  <a:lnTo>
                    <a:pt x="143" y="26"/>
                  </a:lnTo>
                  <a:lnTo>
                    <a:pt x="116" y="0"/>
                  </a:lnTo>
                  <a:lnTo>
                    <a:pt x="84" y="0"/>
                  </a:lnTo>
                  <a:lnTo>
                    <a:pt x="52" y="32"/>
                  </a:lnTo>
                  <a:lnTo>
                    <a:pt x="52" y="57"/>
                  </a:lnTo>
                  <a:lnTo>
                    <a:pt x="20" y="89"/>
                  </a:lnTo>
                  <a:lnTo>
                    <a:pt x="0" y="89"/>
                  </a:lnTo>
                  <a:lnTo>
                    <a:pt x="28" y="130"/>
                  </a:lnTo>
                  <a:lnTo>
                    <a:pt x="28" y="18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8" name="Freeform 375">
              <a:extLst>
                <a:ext uri="{FF2B5EF4-FFF2-40B4-BE49-F238E27FC236}">
                  <a16:creationId xmlns:a16="http://schemas.microsoft.com/office/drawing/2014/main" id="{9475AF58-2869-462B-893C-815D77AE9B5C}"/>
                </a:ext>
              </a:extLst>
            </p:cNvPr>
            <p:cNvSpPr>
              <a:spLocks/>
            </p:cNvSpPr>
            <p:nvPr/>
          </p:nvSpPr>
          <p:spPr bwMode="auto">
            <a:xfrm>
              <a:off x="4862513" y="4098925"/>
              <a:ext cx="157163" cy="152400"/>
            </a:xfrm>
            <a:custGeom>
              <a:avLst/>
              <a:gdLst>
                <a:gd name="T0" fmla="*/ 61 w 198"/>
                <a:gd name="T1" fmla="*/ 66 h 191"/>
                <a:gd name="T2" fmla="*/ 16 w 198"/>
                <a:gd name="T3" fmla="*/ 66 h 191"/>
                <a:gd name="T4" fmla="*/ 0 w 198"/>
                <a:gd name="T5" fmla="*/ 82 h 191"/>
                <a:gd name="T6" fmla="*/ 40 w 198"/>
                <a:gd name="T7" fmla="*/ 120 h 191"/>
                <a:gd name="T8" fmla="*/ 81 w 198"/>
                <a:gd name="T9" fmla="*/ 120 h 191"/>
                <a:gd name="T10" fmla="*/ 81 w 198"/>
                <a:gd name="T11" fmla="*/ 161 h 191"/>
                <a:gd name="T12" fmla="*/ 111 w 198"/>
                <a:gd name="T13" fmla="*/ 191 h 191"/>
                <a:gd name="T14" fmla="*/ 168 w 198"/>
                <a:gd name="T15" fmla="*/ 191 h 191"/>
                <a:gd name="T16" fmla="*/ 186 w 198"/>
                <a:gd name="T17" fmla="*/ 175 h 191"/>
                <a:gd name="T18" fmla="*/ 186 w 198"/>
                <a:gd name="T19" fmla="*/ 148 h 191"/>
                <a:gd name="T20" fmla="*/ 198 w 198"/>
                <a:gd name="T21" fmla="*/ 136 h 191"/>
                <a:gd name="T22" fmla="*/ 198 w 198"/>
                <a:gd name="T23" fmla="*/ 47 h 191"/>
                <a:gd name="T24" fmla="*/ 164 w 198"/>
                <a:gd name="T25" fmla="*/ 13 h 191"/>
                <a:gd name="T26" fmla="*/ 131 w 198"/>
                <a:gd name="T27" fmla="*/ 13 h 191"/>
                <a:gd name="T28" fmla="*/ 131 w 198"/>
                <a:gd name="T29" fmla="*/ 0 h 191"/>
                <a:gd name="T30" fmla="*/ 95 w 198"/>
                <a:gd name="T31" fmla="*/ 33 h 191"/>
                <a:gd name="T32" fmla="*/ 61 w 198"/>
                <a:gd name="T33" fmla="*/ 6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91">
                  <a:moveTo>
                    <a:pt x="61" y="66"/>
                  </a:moveTo>
                  <a:lnTo>
                    <a:pt x="16" y="66"/>
                  </a:lnTo>
                  <a:lnTo>
                    <a:pt x="0" y="82"/>
                  </a:lnTo>
                  <a:lnTo>
                    <a:pt x="40" y="120"/>
                  </a:lnTo>
                  <a:lnTo>
                    <a:pt x="81" y="120"/>
                  </a:lnTo>
                  <a:lnTo>
                    <a:pt x="81" y="161"/>
                  </a:lnTo>
                  <a:lnTo>
                    <a:pt x="111" y="191"/>
                  </a:lnTo>
                  <a:lnTo>
                    <a:pt x="168" y="191"/>
                  </a:lnTo>
                  <a:lnTo>
                    <a:pt x="186" y="175"/>
                  </a:lnTo>
                  <a:lnTo>
                    <a:pt x="186" y="148"/>
                  </a:lnTo>
                  <a:lnTo>
                    <a:pt x="198" y="136"/>
                  </a:lnTo>
                  <a:lnTo>
                    <a:pt x="198" y="47"/>
                  </a:lnTo>
                  <a:lnTo>
                    <a:pt x="164" y="13"/>
                  </a:lnTo>
                  <a:lnTo>
                    <a:pt x="131" y="13"/>
                  </a:lnTo>
                  <a:lnTo>
                    <a:pt x="131" y="0"/>
                  </a:lnTo>
                  <a:lnTo>
                    <a:pt x="95" y="33"/>
                  </a:lnTo>
                  <a:lnTo>
                    <a:pt x="61" y="6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59" name="Freeform 376">
              <a:extLst>
                <a:ext uri="{FF2B5EF4-FFF2-40B4-BE49-F238E27FC236}">
                  <a16:creationId xmlns:a16="http://schemas.microsoft.com/office/drawing/2014/main" id="{9F7A8710-AB36-4F48-BB78-10D49EBFEBA1}"/>
                </a:ext>
              </a:extLst>
            </p:cNvPr>
            <p:cNvSpPr>
              <a:spLocks/>
            </p:cNvSpPr>
            <p:nvPr/>
          </p:nvSpPr>
          <p:spPr bwMode="auto">
            <a:xfrm>
              <a:off x="4594226" y="4121150"/>
              <a:ext cx="192088" cy="280988"/>
            </a:xfrm>
            <a:custGeom>
              <a:avLst/>
              <a:gdLst>
                <a:gd name="T0" fmla="*/ 193 w 241"/>
                <a:gd name="T1" fmla="*/ 353 h 353"/>
                <a:gd name="T2" fmla="*/ 204 w 241"/>
                <a:gd name="T3" fmla="*/ 342 h 353"/>
                <a:gd name="T4" fmla="*/ 220 w 241"/>
                <a:gd name="T5" fmla="*/ 342 h 353"/>
                <a:gd name="T6" fmla="*/ 220 w 241"/>
                <a:gd name="T7" fmla="*/ 235 h 353"/>
                <a:gd name="T8" fmla="*/ 220 w 241"/>
                <a:gd name="T9" fmla="*/ 162 h 353"/>
                <a:gd name="T10" fmla="*/ 241 w 241"/>
                <a:gd name="T11" fmla="*/ 141 h 353"/>
                <a:gd name="T12" fmla="*/ 241 w 241"/>
                <a:gd name="T13" fmla="*/ 46 h 353"/>
                <a:gd name="T14" fmla="*/ 170 w 241"/>
                <a:gd name="T15" fmla="*/ 46 h 353"/>
                <a:gd name="T16" fmla="*/ 141 w 241"/>
                <a:gd name="T17" fmla="*/ 18 h 353"/>
                <a:gd name="T18" fmla="*/ 68 w 241"/>
                <a:gd name="T19" fmla="*/ 18 h 353"/>
                <a:gd name="T20" fmla="*/ 49 w 241"/>
                <a:gd name="T21" fmla="*/ 0 h 353"/>
                <a:gd name="T22" fmla="*/ 18 w 241"/>
                <a:gd name="T23" fmla="*/ 0 h 353"/>
                <a:gd name="T24" fmla="*/ 18 w 241"/>
                <a:gd name="T25" fmla="*/ 20 h 353"/>
                <a:gd name="T26" fmla="*/ 0 w 241"/>
                <a:gd name="T27" fmla="*/ 20 h 353"/>
                <a:gd name="T28" fmla="*/ 0 w 241"/>
                <a:gd name="T29" fmla="*/ 36 h 353"/>
                <a:gd name="T30" fmla="*/ 18 w 241"/>
                <a:gd name="T31" fmla="*/ 53 h 353"/>
                <a:gd name="T32" fmla="*/ 18 w 241"/>
                <a:gd name="T33" fmla="*/ 73 h 353"/>
                <a:gd name="T34" fmla="*/ 59 w 241"/>
                <a:gd name="T35" fmla="*/ 112 h 353"/>
                <a:gd name="T36" fmla="*/ 59 w 241"/>
                <a:gd name="T37" fmla="*/ 130 h 353"/>
                <a:gd name="T38" fmla="*/ 86 w 241"/>
                <a:gd name="T39" fmla="*/ 157 h 353"/>
                <a:gd name="T40" fmla="*/ 86 w 241"/>
                <a:gd name="T41" fmla="*/ 212 h 353"/>
                <a:gd name="T42" fmla="*/ 98 w 241"/>
                <a:gd name="T43" fmla="*/ 225 h 353"/>
                <a:gd name="T44" fmla="*/ 98 w 241"/>
                <a:gd name="T45" fmla="*/ 308 h 353"/>
                <a:gd name="T46" fmla="*/ 115 w 241"/>
                <a:gd name="T47" fmla="*/ 324 h 353"/>
                <a:gd name="T48" fmla="*/ 115 w 241"/>
                <a:gd name="T49" fmla="*/ 353 h 353"/>
                <a:gd name="T50" fmla="*/ 116 w 241"/>
                <a:gd name="T51" fmla="*/ 353 h 353"/>
                <a:gd name="T52" fmla="*/ 159 w 241"/>
                <a:gd name="T53" fmla="*/ 353 h 353"/>
                <a:gd name="T54" fmla="*/ 193 w 241"/>
                <a:gd name="T5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353">
                  <a:moveTo>
                    <a:pt x="193" y="353"/>
                  </a:moveTo>
                  <a:lnTo>
                    <a:pt x="204" y="342"/>
                  </a:lnTo>
                  <a:lnTo>
                    <a:pt x="220" y="342"/>
                  </a:lnTo>
                  <a:lnTo>
                    <a:pt x="220" y="235"/>
                  </a:lnTo>
                  <a:lnTo>
                    <a:pt x="220" y="162"/>
                  </a:lnTo>
                  <a:lnTo>
                    <a:pt x="241" y="141"/>
                  </a:lnTo>
                  <a:lnTo>
                    <a:pt x="241" y="46"/>
                  </a:lnTo>
                  <a:lnTo>
                    <a:pt x="170" y="46"/>
                  </a:lnTo>
                  <a:lnTo>
                    <a:pt x="141" y="18"/>
                  </a:lnTo>
                  <a:lnTo>
                    <a:pt x="68" y="18"/>
                  </a:lnTo>
                  <a:lnTo>
                    <a:pt x="49" y="0"/>
                  </a:lnTo>
                  <a:lnTo>
                    <a:pt x="18" y="0"/>
                  </a:lnTo>
                  <a:lnTo>
                    <a:pt x="18" y="20"/>
                  </a:lnTo>
                  <a:lnTo>
                    <a:pt x="0" y="20"/>
                  </a:lnTo>
                  <a:lnTo>
                    <a:pt x="0" y="36"/>
                  </a:lnTo>
                  <a:lnTo>
                    <a:pt x="18" y="53"/>
                  </a:lnTo>
                  <a:lnTo>
                    <a:pt x="18" y="73"/>
                  </a:lnTo>
                  <a:lnTo>
                    <a:pt x="59" y="112"/>
                  </a:lnTo>
                  <a:lnTo>
                    <a:pt x="59" y="130"/>
                  </a:lnTo>
                  <a:lnTo>
                    <a:pt x="86" y="157"/>
                  </a:lnTo>
                  <a:lnTo>
                    <a:pt x="86" y="212"/>
                  </a:lnTo>
                  <a:lnTo>
                    <a:pt x="98" y="225"/>
                  </a:lnTo>
                  <a:lnTo>
                    <a:pt x="98" y="308"/>
                  </a:lnTo>
                  <a:lnTo>
                    <a:pt x="115" y="324"/>
                  </a:lnTo>
                  <a:lnTo>
                    <a:pt x="115" y="353"/>
                  </a:lnTo>
                  <a:lnTo>
                    <a:pt x="116" y="353"/>
                  </a:lnTo>
                  <a:lnTo>
                    <a:pt x="159" y="353"/>
                  </a:lnTo>
                  <a:lnTo>
                    <a:pt x="193" y="3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0" name="Freeform 377">
              <a:extLst>
                <a:ext uri="{FF2B5EF4-FFF2-40B4-BE49-F238E27FC236}">
                  <a16:creationId xmlns:a16="http://schemas.microsoft.com/office/drawing/2014/main" id="{66FF709C-9911-44E4-8721-1217671D8B81}"/>
                </a:ext>
              </a:extLst>
            </p:cNvPr>
            <p:cNvSpPr>
              <a:spLocks/>
            </p:cNvSpPr>
            <p:nvPr/>
          </p:nvSpPr>
          <p:spPr bwMode="auto">
            <a:xfrm>
              <a:off x="4905376" y="4371975"/>
              <a:ext cx="66675" cy="58738"/>
            </a:xfrm>
            <a:custGeom>
              <a:avLst/>
              <a:gdLst>
                <a:gd name="T0" fmla="*/ 53 w 84"/>
                <a:gd name="T1" fmla="*/ 20 h 74"/>
                <a:gd name="T2" fmla="*/ 41 w 84"/>
                <a:gd name="T3" fmla="*/ 33 h 74"/>
                <a:gd name="T4" fmla="*/ 12 w 84"/>
                <a:gd name="T5" fmla="*/ 33 h 74"/>
                <a:gd name="T6" fmla="*/ 0 w 84"/>
                <a:gd name="T7" fmla="*/ 52 h 74"/>
                <a:gd name="T8" fmla="*/ 21 w 84"/>
                <a:gd name="T9" fmla="*/ 74 h 74"/>
                <a:gd name="T10" fmla="*/ 42 w 84"/>
                <a:gd name="T11" fmla="*/ 74 h 74"/>
                <a:gd name="T12" fmla="*/ 69 w 84"/>
                <a:gd name="T13" fmla="*/ 47 h 74"/>
                <a:gd name="T14" fmla="*/ 69 w 84"/>
                <a:gd name="T15" fmla="*/ 38 h 74"/>
                <a:gd name="T16" fmla="*/ 84 w 84"/>
                <a:gd name="T17" fmla="*/ 24 h 74"/>
                <a:gd name="T18" fmla="*/ 84 w 84"/>
                <a:gd name="T19" fmla="*/ 0 h 74"/>
                <a:gd name="T20" fmla="*/ 53 w 84"/>
                <a:gd name="T21" fmla="*/ 0 h 74"/>
                <a:gd name="T22" fmla="*/ 53 w 84"/>
                <a:gd name="T23" fmla="*/ 2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74">
                  <a:moveTo>
                    <a:pt x="53" y="20"/>
                  </a:moveTo>
                  <a:lnTo>
                    <a:pt x="41" y="33"/>
                  </a:lnTo>
                  <a:lnTo>
                    <a:pt x="12" y="33"/>
                  </a:lnTo>
                  <a:lnTo>
                    <a:pt x="0" y="52"/>
                  </a:lnTo>
                  <a:lnTo>
                    <a:pt x="21" y="74"/>
                  </a:lnTo>
                  <a:lnTo>
                    <a:pt x="42" y="74"/>
                  </a:lnTo>
                  <a:lnTo>
                    <a:pt x="69" y="47"/>
                  </a:lnTo>
                  <a:lnTo>
                    <a:pt x="69" y="38"/>
                  </a:lnTo>
                  <a:lnTo>
                    <a:pt x="84" y="24"/>
                  </a:lnTo>
                  <a:lnTo>
                    <a:pt x="84" y="0"/>
                  </a:lnTo>
                  <a:lnTo>
                    <a:pt x="53" y="0"/>
                  </a:lnTo>
                  <a:lnTo>
                    <a:pt x="53" y="2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1" name="Freeform 378">
              <a:extLst>
                <a:ext uri="{FF2B5EF4-FFF2-40B4-BE49-F238E27FC236}">
                  <a16:creationId xmlns:a16="http://schemas.microsoft.com/office/drawing/2014/main" id="{B96167DD-F02D-4E4E-8D81-E38D6533F2B1}"/>
                </a:ext>
              </a:extLst>
            </p:cNvPr>
            <p:cNvSpPr>
              <a:spLocks/>
            </p:cNvSpPr>
            <p:nvPr/>
          </p:nvSpPr>
          <p:spPr bwMode="auto">
            <a:xfrm>
              <a:off x="4594226" y="3900488"/>
              <a:ext cx="250825" cy="258763"/>
            </a:xfrm>
            <a:custGeom>
              <a:avLst/>
              <a:gdLst>
                <a:gd name="T0" fmla="*/ 293 w 316"/>
                <a:gd name="T1" fmla="*/ 305 h 326"/>
                <a:gd name="T2" fmla="*/ 270 w 316"/>
                <a:gd name="T3" fmla="*/ 282 h 326"/>
                <a:gd name="T4" fmla="*/ 270 w 316"/>
                <a:gd name="T5" fmla="*/ 194 h 326"/>
                <a:gd name="T6" fmla="*/ 316 w 316"/>
                <a:gd name="T7" fmla="*/ 194 h 326"/>
                <a:gd name="T8" fmla="*/ 316 w 316"/>
                <a:gd name="T9" fmla="*/ 139 h 326"/>
                <a:gd name="T10" fmla="*/ 296 w 316"/>
                <a:gd name="T11" fmla="*/ 139 h 326"/>
                <a:gd name="T12" fmla="*/ 277 w 316"/>
                <a:gd name="T13" fmla="*/ 120 h 326"/>
                <a:gd name="T14" fmla="*/ 259 w 316"/>
                <a:gd name="T15" fmla="*/ 102 h 326"/>
                <a:gd name="T16" fmla="*/ 259 w 316"/>
                <a:gd name="T17" fmla="*/ 57 h 326"/>
                <a:gd name="T18" fmla="*/ 239 w 316"/>
                <a:gd name="T19" fmla="*/ 38 h 326"/>
                <a:gd name="T20" fmla="*/ 218 w 316"/>
                <a:gd name="T21" fmla="*/ 16 h 326"/>
                <a:gd name="T22" fmla="*/ 184 w 316"/>
                <a:gd name="T23" fmla="*/ 50 h 326"/>
                <a:gd name="T24" fmla="*/ 154 w 316"/>
                <a:gd name="T25" fmla="*/ 50 h 326"/>
                <a:gd name="T26" fmla="*/ 131 w 316"/>
                <a:gd name="T27" fmla="*/ 27 h 326"/>
                <a:gd name="T28" fmla="*/ 131 w 316"/>
                <a:gd name="T29" fmla="*/ 0 h 326"/>
                <a:gd name="T30" fmla="*/ 68 w 316"/>
                <a:gd name="T31" fmla="*/ 0 h 326"/>
                <a:gd name="T32" fmla="*/ 54 w 316"/>
                <a:gd name="T33" fmla="*/ 0 h 326"/>
                <a:gd name="T34" fmla="*/ 25 w 316"/>
                <a:gd name="T35" fmla="*/ 29 h 326"/>
                <a:gd name="T36" fmla="*/ 38 w 316"/>
                <a:gd name="T37" fmla="*/ 43 h 326"/>
                <a:gd name="T38" fmla="*/ 38 w 316"/>
                <a:gd name="T39" fmla="*/ 109 h 326"/>
                <a:gd name="T40" fmla="*/ 61 w 316"/>
                <a:gd name="T41" fmla="*/ 132 h 326"/>
                <a:gd name="T42" fmla="*/ 61 w 316"/>
                <a:gd name="T43" fmla="*/ 171 h 326"/>
                <a:gd name="T44" fmla="*/ 20 w 316"/>
                <a:gd name="T45" fmla="*/ 212 h 326"/>
                <a:gd name="T46" fmla="*/ 20 w 316"/>
                <a:gd name="T47" fmla="*/ 250 h 326"/>
                <a:gd name="T48" fmla="*/ 0 w 316"/>
                <a:gd name="T49" fmla="*/ 269 h 326"/>
                <a:gd name="T50" fmla="*/ 0 w 316"/>
                <a:gd name="T51" fmla="*/ 300 h 326"/>
                <a:gd name="T52" fmla="*/ 18 w 316"/>
                <a:gd name="T53" fmla="*/ 300 h 326"/>
                <a:gd name="T54" fmla="*/ 18 w 316"/>
                <a:gd name="T55" fmla="*/ 280 h 326"/>
                <a:gd name="T56" fmla="*/ 49 w 316"/>
                <a:gd name="T57" fmla="*/ 280 h 326"/>
                <a:gd name="T58" fmla="*/ 68 w 316"/>
                <a:gd name="T59" fmla="*/ 298 h 326"/>
                <a:gd name="T60" fmla="*/ 141 w 316"/>
                <a:gd name="T61" fmla="*/ 298 h 326"/>
                <a:gd name="T62" fmla="*/ 170 w 316"/>
                <a:gd name="T63" fmla="*/ 326 h 326"/>
                <a:gd name="T64" fmla="*/ 241 w 316"/>
                <a:gd name="T65" fmla="*/ 326 h 326"/>
                <a:gd name="T66" fmla="*/ 271 w 316"/>
                <a:gd name="T67" fmla="*/ 326 h 326"/>
                <a:gd name="T68" fmla="*/ 293 w 316"/>
                <a:gd name="T6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6" h="326">
                  <a:moveTo>
                    <a:pt x="293" y="305"/>
                  </a:moveTo>
                  <a:lnTo>
                    <a:pt x="270" y="282"/>
                  </a:lnTo>
                  <a:lnTo>
                    <a:pt x="270" y="194"/>
                  </a:lnTo>
                  <a:lnTo>
                    <a:pt x="316" y="194"/>
                  </a:lnTo>
                  <a:lnTo>
                    <a:pt x="316" y="139"/>
                  </a:lnTo>
                  <a:lnTo>
                    <a:pt x="296" y="139"/>
                  </a:lnTo>
                  <a:lnTo>
                    <a:pt x="277" y="120"/>
                  </a:lnTo>
                  <a:lnTo>
                    <a:pt x="259" y="102"/>
                  </a:lnTo>
                  <a:lnTo>
                    <a:pt x="259" y="57"/>
                  </a:lnTo>
                  <a:lnTo>
                    <a:pt x="239" y="38"/>
                  </a:lnTo>
                  <a:lnTo>
                    <a:pt x="218" y="16"/>
                  </a:lnTo>
                  <a:lnTo>
                    <a:pt x="184" y="50"/>
                  </a:lnTo>
                  <a:lnTo>
                    <a:pt x="154" y="50"/>
                  </a:lnTo>
                  <a:lnTo>
                    <a:pt x="131" y="27"/>
                  </a:lnTo>
                  <a:lnTo>
                    <a:pt x="131" y="0"/>
                  </a:lnTo>
                  <a:lnTo>
                    <a:pt x="68" y="0"/>
                  </a:lnTo>
                  <a:lnTo>
                    <a:pt x="54" y="0"/>
                  </a:lnTo>
                  <a:lnTo>
                    <a:pt x="25" y="29"/>
                  </a:lnTo>
                  <a:lnTo>
                    <a:pt x="38" y="43"/>
                  </a:lnTo>
                  <a:lnTo>
                    <a:pt x="38" y="109"/>
                  </a:lnTo>
                  <a:lnTo>
                    <a:pt x="61" y="132"/>
                  </a:lnTo>
                  <a:lnTo>
                    <a:pt x="61" y="171"/>
                  </a:lnTo>
                  <a:lnTo>
                    <a:pt x="20" y="212"/>
                  </a:lnTo>
                  <a:lnTo>
                    <a:pt x="20" y="250"/>
                  </a:lnTo>
                  <a:lnTo>
                    <a:pt x="0" y="269"/>
                  </a:lnTo>
                  <a:lnTo>
                    <a:pt x="0" y="300"/>
                  </a:lnTo>
                  <a:lnTo>
                    <a:pt x="18" y="300"/>
                  </a:lnTo>
                  <a:lnTo>
                    <a:pt x="18" y="280"/>
                  </a:lnTo>
                  <a:lnTo>
                    <a:pt x="49" y="280"/>
                  </a:lnTo>
                  <a:lnTo>
                    <a:pt x="68" y="298"/>
                  </a:lnTo>
                  <a:lnTo>
                    <a:pt x="141" y="298"/>
                  </a:lnTo>
                  <a:lnTo>
                    <a:pt x="170" y="326"/>
                  </a:lnTo>
                  <a:lnTo>
                    <a:pt x="241" y="326"/>
                  </a:lnTo>
                  <a:lnTo>
                    <a:pt x="271" y="326"/>
                  </a:lnTo>
                  <a:lnTo>
                    <a:pt x="293" y="30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2" name="Freeform 379">
              <a:extLst>
                <a:ext uri="{FF2B5EF4-FFF2-40B4-BE49-F238E27FC236}">
                  <a16:creationId xmlns:a16="http://schemas.microsoft.com/office/drawing/2014/main" id="{F259BF26-7F7D-49E3-BB70-0C8904CB6FE9}"/>
                </a:ext>
              </a:extLst>
            </p:cNvPr>
            <p:cNvSpPr>
              <a:spLocks/>
            </p:cNvSpPr>
            <p:nvPr/>
          </p:nvSpPr>
          <p:spPr bwMode="auto">
            <a:xfrm>
              <a:off x="4597401" y="3692525"/>
              <a:ext cx="149225" cy="169863"/>
            </a:xfrm>
            <a:custGeom>
              <a:avLst/>
              <a:gdLst>
                <a:gd name="T0" fmla="*/ 130 w 187"/>
                <a:gd name="T1" fmla="*/ 184 h 216"/>
                <a:gd name="T2" fmla="*/ 130 w 187"/>
                <a:gd name="T3" fmla="*/ 144 h 216"/>
                <a:gd name="T4" fmla="*/ 148 w 187"/>
                <a:gd name="T5" fmla="*/ 127 h 216"/>
                <a:gd name="T6" fmla="*/ 148 w 187"/>
                <a:gd name="T7" fmla="*/ 82 h 216"/>
                <a:gd name="T8" fmla="*/ 187 w 187"/>
                <a:gd name="T9" fmla="*/ 43 h 216"/>
                <a:gd name="T10" fmla="*/ 134 w 187"/>
                <a:gd name="T11" fmla="*/ 0 h 216"/>
                <a:gd name="T12" fmla="*/ 103 w 187"/>
                <a:gd name="T13" fmla="*/ 30 h 216"/>
                <a:gd name="T14" fmla="*/ 103 w 187"/>
                <a:gd name="T15" fmla="*/ 73 h 216"/>
                <a:gd name="T16" fmla="*/ 87 w 187"/>
                <a:gd name="T17" fmla="*/ 57 h 216"/>
                <a:gd name="T18" fmla="*/ 34 w 187"/>
                <a:gd name="T19" fmla="*/ 57 h 216"/>
                <a:gd name="T20" fmla="*/ 62 w 187"/>
                <a:gd name="T21" fmla="*/ 86 h 216"/>
                <a:gd name="T22" fmla="*/ 62 w 187"/>
                <a:gd name="T23" fmla="*/ 152 h 216"/>
                <a:gd name="T24" fmla="*/ 46 w 187"/>
                <a:gd name="T25" fmla="*/ 168 h 216"/>
                <a:gd name="T26" fmla="*/ 23 w 187"/>
                <a:gd name="T27" fmla="*/ 168 h 216"/>
                <a:gd name="T28" fmla="*/ 0 w 187"/>
                <a:gd name="T29" fmla="*/ 191 h 216"/>
                <a:gd name="T30" fmla="*/ 27 w 187"/>
                <a:gd name="T31" fmla="*/ 216 h 216"/>
                <a:gd name="T32" fmla="*/ 96 w 187"/>
                <a:gd name="T33" fmla="*/ 216 h 216"/>
                <a:gd name="T34" fmla="*/ 130 w 187"/>
                <a:gd name="T35" fmla="*/ 18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216">
                  <a:moveTo>
                    <a:pt x="130" y="184"/>
                  </a:moveTo>
                  <a:lnTo>
                    <a:pt x="130" y="144"/>
                  </a:lnTo>
                  <a:lnTo>
                    <a:pt x="148" y="127"/>
                  </a:lnTo>
                  <a:lnTo>
                    <a:pt x="148" y="82"/>
                  </a:lnTo>
                  <a:lnTo>
                    <a:pt x="187" y="43"/>
                  </a:lnTo>
                  <a:lnTo>
                    <a:pt x="134" y="0"/>
                  </a:lnTo>
                  <a:lnTo>
                    <a:pt x="103" y="30"/>
                  </a:lnTo>
                  <a:lnTo>
                    <a:pt x="103" y="73"/>
                  </a:lnTo>
                  <a:lnTo>
                    <a:pt x="87" y="57"/>
                  </a:lnTo>
                  <a:lnTo>
                    <a:pt x="34" y="57"/>
                  </a:lnTo>
                  <a:lnTo>
                    <a:pt x="62" y="86"/>
                  </a:lnTo>
                  <a:lnTo>
                    <a:pt x="62" y="152"/>
                  </a:lnTo>
                  <a:lnTo>
                    <a:pt x="46" y="168"/>
                  </a:lnTo>
                  <a:lnTo>
                    <a:pt x="23" y="168"/>
                  </a:lnTo>
                  <a:lnTo>
                    <a:pt x="0" y="191"/>
                  </a:lnTo>
                  <a:lnTo>
                    <a:pt x="27" y="216"/>
                  </a:lnTo>
                  <a:lnTo>
                    <a:pt x="96" y="216"/>
                  </a:lnTo>
                  <a:lnTo>
                    <a:pt x="130" y="18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3" name="Freeform 380">
              <a:extLst>
                <a:ext uri="{FF2B5EF4-FFF2-40B4-BE49-F238E27FC236}">
                  <a16:creationId xmlns:a16="http://schemas.microsoft.com/office/drawing/2014/main" id="{66533ACD-A749-422E-881A-CF20697856AF}"/>
                </a:ext>
              </a:extLst>
            </p:cNvPr>
            <p:cNvSpPr>
              <a:spLocks/>
            </p:cNvSpPr>
            <p:nvPr/>
          </p:nvSpPr>
          <p:spPr bwMode="auto">
            <a:xfrm>
              <a:off x="4616451" y="3471863"/>
              <a:ext cx="60325" cy="63500"/>
            </a:xfrm>
            <a:custGeom>
              <a:avLst/>
              <a:gdLst>
                <a:gd name="T0" fmla="*/ 43 w 77"/>
                <a:gd name="T1" fmla="*/ 78 h 78"/>
                <a:gd name="T2" fmla="*/ 77 w 77"/>
                <a:gd name="T3" fmla="*/ 75 h 78"/>
                <a:gd name="T4" fmla="*/ 77 w 77"/>
                <a:gd name="T5" fmla="*/ 41 h 78"/>
                <a:gd name="T6" fmla="*/ 36 w 77"/>
                <a:gd name="T7" fmla="*/ 0 h 78"/>
                <a:gd name="T8" fmla="*/ 0 w 77"/>
                <a:gd name="T9" fmla="*/ 35 h 78"/>
                <a:gd name="T10" fmla="*/ 43 w 77"/>
                <a:gd name="T11" fmla="*/ 78 h 78"/>
              </a:gdLst>
              <a:ahLst/>
              <a:cxnLst>
                <a:cxn ang="0">
                  <a:pos x="T0" y="T1"/>
                </a:cxn>
                <a:cxn ang="0">
                  <a:pos x="T2" y="T3"/>
                </a:cxn>
                <a:cxn ang="0">
                  <a:pos x="T4" y="T5"/>
                </a:cxn>
                <a:cxn ang="0">
                  <a:pos x="T6" y="T7"/>
                </a:cxn>
                <a:cxn ang="0">
                  <a:pos x="T8" y="T9"/>
                </a:cxn>
                <a:cxn ang="0">
                  <a:pos x="T10" y="T11"/>
                </a:cxn>
              </a:cxnLst>
              <a:rect l="0" t="0" r="r" b="b"/>
              <a:pathLst>
                <a:path w="77" h="78">
                  <a:moveTo>
                    <a:pt x="43" y="78"/>
                  </a:moveTo>
                  <a:lnTo>
                    <a:pt x="77" y="75"/>
                  </a:lnTo>
                  <a:lnTo>
                    <a:pt x="77" y="41"/>
                  </a:lnTo>
                  <a:lnTo>
                    <a:pt x="36" y="0"/>
                  </a:lnTo>
                  <a:lnTo>
                    <a:pt x="0" y="35"/>
                  </a:lnTo>
                  <a:lnTo>
                    <a:pt x="43" y="7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4" name="Freeform 381">
              <a:extLst>
                <a:ext uri="{FF2B5EF4-FFF2-40B4-BE49-F238E27FC236}">
                  <a16:creationId xmlns:a16="http://schemas.microsoft.com/office/drawing/2014/main" id="{39DA2E1B-8139-4BB3-B857-F528AC6BA834}"/>
                </a:ext>
              </a:extLst>
            </p:cNvPr>
            <p:cNvSpPr>
              <a:spLocks/>
            </p:cNvSpPr>
            <p:nvPr/>
          </p:nvSpPr>
          <p:spPr bwMode="auto">
            <a:xfrm>
              <a:off x="4529138" y="3532188"/>
              <a:ext cx="152400" cy="217488"/>
            </a:xfrm>
            <a:custGeom>
              <a:avLst/>
              <a:gdLst>
                <a:gd name="T0" fmla="*/ 159 w 193"/>
                <a:gd name="T1" fmla="*/ 201 h 274"/>
                <a:gd name="T2" fmla="*/ 159 w 193"/>
                <a:gd name="T3" fmla="*/ 158 h 274"/>
                <a:gd name="T4" fmla="*/ 193 w 193"/>
                <a:gd name="T5" fmla="*/ 124 h 274"/>
                <a:gd name="T6" fmla="*/ 157 w 193"/>
                <a:gd name="T7" fmla="*/ 89 h 274"/>
                <a:gd name="T8" fmla="*/ 157 w 193"/>
                <a:gd name="T9" fmla="*/ 53 h 274"/>
                <a:gd name="T10" fmla="*/ 157 w 193"/>
                <a:gd name="T11" fmla="*/ 26 h 274"/>
                <a:gd name="T12" fmla="*/ 186 w 193"/>
                <a:gd name="T13" fmla="*/ 0 h 274"/>
                <a:gd name="T14" fmla="*/ 152 w 193"/>
                <a:gd name="T15" fmla="*/ 3 h 274"/>
                <a:gd name="T16" fmla="*/ 116 w 193"/>
                <a:gd name="T17" fmla="*/ 39 h 274"/>
                <a:gd name="T18" fmla="*/ 116 w 193"/>
                <a:gd name="T19" fmla="*/ 62 h 274"/>
                <a:gd name="T20" fmla="*/ 116 w 193"/>
                <a:gd name="T21" fmla="*/ 94 h 274"/>
                <a:gd name="T22" fmla="*/ 81 w 193"/>
                <a:gd name="T23" fmla="*/ 130 h 274"/>
                <a:gd name="T24" fmla="*/ 65 w 193"/>
                <a:gd name="T25" fmla="*/ 146 h 274"/>
                <a:gd name="T26" fmla="*/ 34 w 193"/>
                <a:gd name="T27" fmla="*/ 116 h 274"/>
                <a:gd name="T28" fmla="*/ 0 w 193"/>
                <a:gd name="T29" fmla="*/ 149 h 274"/>
                <a:gd name="T30" fmla="*/ 0 w 193"/>
                <a:gd name="T31" fmla="*/ 196 h 274"/>
                <a:gd name="T32" fmla="*/ 6 w 193"/>
                <a:gd name="T33" fmla="*/ 196 h 274"/>
                <a:gd name="T34" fmla="*/ 29 w 193"/>
                <a:gd name="T35" fmla="*/ 221 h 274"/>
                <a:gd name="T36" fmla="*/ 41 w 193"/>
                <a:gd name="T37" fmla="*/ 233 h 274"/>
                <a:gd name="T38" fmla="*/ 41 w 193"/>
                <a:gd name="T39" fmla="*/ 258 h 274"/>
                <a:gd name="T40" fmla="*/ 120 w 193"/>
                <a:gd name="T41" fmla="*/ 258 h 274"/>
                <a:gd name="T42" fmla="*/ 173 w 193"/>
                <a:gd name="T43" fmla="*/ 258 h 274"/>
                <a:gd name="T44" fmla="*/ 189 w 193"/>
                <a:gd name="T45" fmla="*/ 274 h 274"/>
                <a:gd name="T46" fmla="*/ 189 w 193"/>
                <a:gd name="T47" fmla="*/ 231 h 274"/>
                <a:gd name="T48" fmla="*/ 172 w 193"/>
                <a:gd name="T49" fmla="*/ 215 h 274"/>
                <a:gd name="T50" fmla="*/ 159 w 193"/>
                <a:gd name="T51" fmla="*/ 201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3" h="274">
                  <a:moveTo>
                    <a:pt x="159" y="201"/>
                  </a:moveTo>
                  <a:lnTo>
                    <a:pt x="159" y="158"/>
                  </a:lnTo>
                  <a:lnTo>
                    <a:pt x="193" y="124"/>
                  </a:lnTo>
                  <a:lnTo>
                    <a:pt x="157" y="89"/>
                  </a:lnTo>
                  <a:lnTo>
                    <a:pt x="157" y="53"/>
                  </a:lnTo>
                  <a:lnTo>
                    <a:pt x="157" y="26"/>
                  </a:lnTo>
                  <a:lnTo>
                    <a:pt x="186" y="0"/>
                  </a:lnTo>
                  <a:lnTo>
                    <a:pt x="152" y="3"/>
                  </a:lnTo>
                  <a:lnTo>
                    <a:pt x="116" y="39"/>
                  </a:lnTo>
                  <a:lnTo>
                    <a:pt x="116" y="62"/>
                  </a:lnTo>
                  <a:lnTo>
                    <a:pt x="116" y="94"/>
                  </a:lnTo>
                  <a:lnTo>
                    <a:pt x="81" y="130"/>
                  </a:lnTo>
                  <a:lnTo>
                    <a:pt x="65" y="146"/>
                  </a:lnTo>
                  <a:lnTo>
                    <a:pt x="34" y="116"/>
                  </a:lnTo>
                  <a:lnTo>
                    <a:pt x="0" y="149"/>
                  </a:lnTo>
                  <a:lnTo>
                    <a:pt x="0" y="196"/>
                  </a:lnTo>
                  <a:lnTo>
                    <a:pt x="6" y="196"/>
                  </a:lnTo>
                  <a:lnTo>
                    <a:pt x="29" y="221"/>
                  </a:lnTo>
                  <a:lnTo>
                    <a:pt x="41" y="233"/>
                  </a:lnTo>
                  <a:lnTo>
                    <a:pt x="41" y="258"/>
                  </a:lnTo>
                  <a:lnTo>
                    <a:pt x="120" y="258"/>
                  </a:lnTo>
                  <a:lnTo>
                    <a:pt x="173" y="258"/>
                  </a:lnTo>
                  <a:lnTo>
                    <a:pt x="189" y="274"/>
                  </a:lnTo>
                  <a:lnTo>
                    <a:pt x="189" y="231"/>
                  </a:lnTo>
                  <a:lnTo>
                    <a:pt x="172" y="215"/>
                  </a:lnTo>
                  <a:lnTo>
                    <a:pt x="159" y="20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5" name="Freeform 382">
              <a:extLst>
                <a:ext uri="{FF2B5EF4-FFF2-40B4-BE49-F238E27FC236}">
                  <a16:creationId xmlns:a16="http://schemas.microsoft.com/office/drawing/2014/main" id="{5650C798-5371-4DB2-B508-170622DC2C47}"/>
                </a:ext>
              </a:extLst>
            </p:cNvPr>
            <p:cNvSpPr>
              <a:spLocks/>
            </p:cNvSpPr>
            <p:nvPr/>
          </p:nvSpPr>
          <p:spPr bwMode="auto">
            <a:xfrm>
              <a:off x="4410076" y="3494088"/>
              <a:ext cx="239713" cy="193675"/>
            </a:xfrm>
            <a:custGeom>
              <a:avLst/>
              <a:gdLst>
                <a:gd name="T0" fmla="*/ 183 w 301"/>
                <a:gd name="T1" fmla="*/ 164 h 244"/>
                <a:gd name="T2" fmla="*/ 214 w 301"/>
                <a:gd name="T3" fmla="*/ 194 h 244"/>
                <a:gd name="T4" fmla="*/ 230 w 301"/>
                <a:gd name="T5" fmla="*/ 178 h 244"/>
                <a:gd name="T6" fmla="*/ 265 w 301"/>
                <a:gd name="T7" fmla="*/ 142 h 244"/>
                <a:gd name="T8" fmla="*/ 265 w 301"/>
                <a:gd name="T9" fmla="*/ 110 h 244"/>
                <a:gd name="T10" fmla="*/ 265 w 301"/>
                <a:gd name="T11" fmla="*/ 87 h 244"/>
                <a:gd name="T12" fmla="*/ 301 w 301"/>
                <a:gd name="T13" fmla="*/ 51 h 244"/>
                <a:gd name="T14" fmla="*/ 258 w 301"/>
                <a:gd name="T15" fmla="*/ 8 h 244"/>
                <a:gd name="T16" fmla="*/ 258 w 301"/>
                <a:gd name="T17" fmla="*/ 8 h 244"/>
                <a:gd name="T18" fmla="*/ 244 w 301"/>
                <a:gd name="T19" fmla="*/ 23 h 244"/>
                <a:gd name="T20" fmla="*/ 231 w 301"/>
                <a:gd name="T21" fmla="*/ 12 h 244"/>
                <a:gd name="T22" fmla="*/ 205 w 301"/>
                <a:gd name="T23" fmla="*/ 12 h 244"/>
                <a:gd name="T24" fmla="*/ 194 w 301"/>
                <a:gd name="T25" fmla="*/ 0 h 244"/>
                <a:gd name="T26" fmla="*/ 174 w 301"/>
                <a:gd name="T27" fmla="*/ 19 h 244"/>
                <a:gd name="T28" fmla="*/ 149 w 301"/>
                <a:gd name="T29" fmla="*/ 19 h 244"/>
                <a:gd name="T30" fmla="*/ 132 w 301"/>
                <a:gd name="T31" fmla="*/ 19 h 244"/>
                <a:gd name="T32" fmla="*/ 114 w 301"/>
                <a:gd name="T33" fmla="*/ 37 h 244"/>
                <a:gd name="T34" fmla="*/ 74 w 301"/>
                <a:gd name="T35" fmla="*/ 0 h 244"/>
                <a:gd name="T36" fmla="*/ 53 w 301"/>
                <a:gd name="T37" fmla="*/ 0 h 244"/>
                <a:gd name="T38" fmla="*/ 53 w 301"/>
                <a:gd name="T39" fmla="*/ 30 h 244"/>
                <a:gd name="T40" fmla="*/ 28 w 301"/>
                <a:gd name="T41" fmla="*/ 55 h 244"/>
                <a:gd name="T42" fmla="*/ 28 w 301"/>
                <a:gd name="T43" fmla="*/ 99 h 244"/>
                <a:gd name="T44" fmla="*/ 0 w 301"/>
                <a:gd name="T45" fmla="*/ 128 h 244"/>
                <a:gd name="T46" fmla="*/ 0 w 301"/>
                <a:gd name="T47" fmla="*/ 205 h 244"/>
                <a:gd name="T48" fmla="*/ 44 w 301"/>
                <a:gd name="T49" fmla="*/ 205 h 244"/>
                <a:gd name="T50" fmla="*/ 83 w 301"/>
                <a:gd name="T51" fmla="*/ 244 h 244"/>
                <a:gd name="T52" fmla="*/ 149 w 301"/>
                <a:gd name="T53" fmla="*/ 244 h 244"/>
                <a:gd name="T54" fmla="*/ 149 w 301"/>
                <a:gd name="T55" fmla="*/ 197 h 244"/>
                <a:gd name="T56" fmla="*/ 183 w 301"/>
                <a:gd name="T57" fmla="*/ 16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44">
                  <a:moveTo>
                    <a:pt x="183" y="164"/>
                  </a:moveTo>
                  <a:lnTo>
                    <a:pt x="214" y="194"/>
                  </a:lnTo>
                  <a:lnTo>
                    <a:pt x="230" y="178"/>
                  </a:lnTo>
                  <a:lnTo>
                    <a:pt x="265" y="142"/>
                  </a:lnTo>
                  <a:lnTo>
                    <a:pt x="265" y="110"/>
                  </a:lnTo>
                  <a:lnTo>
                    <a:pt x="265" y="87"/>
                  </a:lnTo>
                  <a:lnTo>
                    <a:pt x="301" y="51"/>
                  </a:lnTo>
                  <a:lnTo>
                    <a:pt x="258" y="8"/>
                  </a:lnTo>
                  <a:lnTo>
                    <a:pt x="258" y="8"/>
                  </a:lnTo>
                  <a:lnTo>
                    <a:pt x="244" y="23"/>
                  </a:lnTo>
                  <a:lnTo>
                    <a:pt x="231" y="12"/>
                  </a:lnTo>
                  <a:lnTo>
                    <a:pt x="205" y="12"/>
                  </a:lnTo>
                  <a:lnTo>
                    <a:pt x="194" y="0"/>
                  </a:lnTo>
                  <a:lnTo>
                    <a:pt x="174" y="19"/>
                  </a:lnTo>
                  <a:lnTo>
                    <a:pt x="149" y="19"/>
                  </a:lnTo>
                  <a:lnTo>
                    <a:pt x="132" y="19"/>
                  </a:lnTo>
                  <a:lnTo>
                    <a:pt x="114" y="37"/>
                  </a:lnTo>
                  <a:lnTo>
                    <a:pt x="74" y="0"/>
                  </a:lnTo>
                  <a:lnTo>
                    <a:pt x="53" y="0"/>
                  </a:lnTo>
                  <a:lnTo>
                    <a:pt x="53" y="30"/>
                  </a:lnTo>
                  <a:lnTo>
                    <a:pt x="28" y="55"/>
                  </a:lnTo>
                  <a:lnTo>
                    <a:pt x="28" y="99"/>
                  </a:lnTo>
                  <a:lnTo>
                    <a:pt x="0" y="128"/>
                  </a:lnTo>
                  <a:lnTo>
                    <a:pt x="0" y="205"/>
                  </a:lnTo>
                  <a:lnTo>
                    <a:pt x="44" y="205"/>
                  </a:lnTo>
                  <a:lnTo>
                    <a:pt x="83" y="244"/>
                  </a:lnTo>
                  <a:lnTo>
                    <a:pt x="149" y="244"/>
                  </a:lnTo>
                  <a:lnTo>
                    <a:pt x="149" y="197"/>
                  </a:lnTo>
                  <a:lnTo>
                    <a:pt x="183" y="16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Line 383">
              <a:extLst>
                <a:ext uri="{FF2B5EF4-FFF2-40B4-BE49-F238E27FC236}">
                  <a16:creationId xmlns:a16="http://schemas.microsoft.com/office/drawing/2014/main" id="{3E27B404-1D70-4157-AE3C-ED6BE6D7D7BD}"/>
                </a:ext>
              </a:extLst>
            </p:cNvPr>
            <p:cNvSpPr>
              <a:spLocks noChangeShapeType="1"/>
            </p:cNvSpPr>
            <p:nvPr/>
          </p:nvSpPr>
          <p:spPr bwMode="auto">
            <a:xfrm>
              <a:off x="4300538" y="3571875"/>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7" name="Line 384">
              <a:extLst>
                <a:ext uri="{FF2B5EF4-FFF2-40B4-BE49-F238E27FC236}">
                  <a16:creationId xmlns:a16="http://schemas.microsoft.com/office/drawing/2014/main" id="{FB975ABB-9A17-4C78-A645-4DCC7579758D}"/>
                </a:ext>
              </a:extLst>
            </p:cNvPr>
            <p:cNvSpPr>
              <a:spLocks noChangeShapeType="1"/>
            </p:cNvSpPr>
            <p:nvPr/>
          </p:nvSpPr>
          <p:spPr bwMode="auto">
            <a:xfrm>
              <a:off x="4300538" y="3571875"/>
              <a:ext cx="0" cy="0"/>
            </a:xfrm>
            <a:prstGeom prst="line">
              <a:avLst/>
            </a:prstGeom>
            <a:noFill/>
            <a:ln w="1588">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8" name="Freeform 385">
              <a:extLst>
                <a:ext uri="{FF2B5EF4-FFF2-40B4-BE49-F238E27FC236}">
                  <a16:creationId xmlns:a16="http://schemas.microsoft.com/office/drawing/2014/main" id="{26D21912-9960-4E03-B0D8-98BF7A54438B}"/>
                </a:ext>
              </a:extLst>
            </p:cNvPr>
            <p:cNvSpPr>
              <a:spLocks/>
            </p:cNvSpPr>
            <p:nvPr/>
          </p:nvSpPr>
          <p:spPr bwMode="auto">
            <a:xfrm>
              <a:off x="4186238" y="3568700"/>
              <a:ext cx="130175" cy="119063"/>
            </a:xfrm>
            <a:custGeom>
              <a:avLst/>
              <a:gdLst>
                <a:gd name="T0" fmla="*/ 27 w 164"/>
                <a:gd name="T1" fmla="*/ 70 h 150"/>
                <a:gd name="T2" fmla="*/ 0 w 164"/>
                <a:gd name="T3" fmla="*/ 70 h 150"/>
                <a:gd name="T4" fmla="*/ 0 w 164"/>
                <a:gd name="T5" fmla="*/ 87 h 150"/>
                <a:gd name="T6" fmla="*/ 27 w 164"/>
                <a:gd name="T7" fmla="*/ 114 h 150"/>
                <a:gd name="T8" fmla="*/ 27 w 164"/>
                <a:gd name="T9" fmla="*/ 148 h 150"/>
                <a:gd name="T10" fmla="*/ 32 w 164"/>
                <a:gd name="T11" fmla="*/ 143 h 150"/>
                <a:gd name="T12" fmla="*/ 137 w 164"/>
                <a:gd name="T13" fmla="*/ 143 h 150"/>
                <a:gd name="T14" fmla="*/ 143 w 164"/>
                <a:gd name="T15" fmla="*/ 150 h 150"/>
                <a:gd name="T16" fmla="*/ 143 w 164"/>
                <a:gd name="T17" fmla="*/ 98 h 150"/>
                <a:gd name="T18" fmla="*/ 164 w 164"/>
                <a:gd name="T19" fmla="*/ 77 h 150"/>
                <a:gd name="T20" fmla="*/ 164 w 164"/>
                <a:gd name="T21" fmla="*/ 52 h 150"/>
                <a:gd name="T22" fmla="*/ 144 w 164"/>
                <a:gd name="T23" fmla="*/ 32 h 150"/>
                <a:gd name="T24" fmla="*/ 144 w 164"/>
                <a:gd name="T25" fmla="*/ 4 h 150"/>
                <a:gd name="T26" fmla="*/ 80 w 164"/>
                <a:gd name="T27" fmla="*/ 4 h 150"/>
                <a:gd name="T28" fmla="*/ 27 w 164"/>
                <a:gd name="T29" fmla="*/ 0 h 150"/>
                <a:gd name="T30" fmla="*/ 27 w 164"/>
                <a:gd name="T31"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4" h="150">
                  <a:moveTo>
                    <a:pt x="27" y="70"/>
                  </a:moveTo>
                  <a:lnTo>
                    <a:pt x="0" y="70"/>
                  </a:lnTo>
                  <a:lnTo>
                    <a:pt x="0" y="87"/>
                  </a:lnTo>
                  <a:lnTo>
                    <a:pt x="27" y="114"/>
                  </a:lnTo>
                  <a:lnTo>
                    <a:pt x="27" y="148"/>
                  </a:lnTo>
                  <a:lnTo>
                    <a:pt x="32" y="143"/>
                  </a:lnTo>
                  <a:lnTo>
                    <a:pt x="137" y="143"/>
                  </a:lnTo>
                  <a:lnTo>
                    <a:pt x="143" y="150"/>
                  </a:lnTo>
                  <a:lnTo>
                    <a:pt x="143" y="98"/>
                  </a:lnTo>
                  <a:lnTo>
                    <a:pt x="164" y="77"/>
                  </a:lnTo>
                  <a:lnTo>
                    <a:pt x="164" y="52"/>
                  </a:lnTo>
                  <a:lnTo>
                    <a:pt x="144" y="32"/>
                  </a:lnTo>
                  <a:lnTo>
                    <a:pt x="144" y="4"/>
                  </a:lnTo>
                  <a:lnTo>
                    <a:pt x="80" y="4"/>
                  </a:lnTo>
                  <a:lnTo>
                    <a:pt x="27" y="0"/>
                  </a:lnTo>
                  <a:lnTo>
                    <a:pt x="27" y="7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Freeform 386">
              <a:extLst>
                <a:ext uri="{FF2B5EF4-FFF2-40B4-BE49-F238E27FC236}">
                  <a16:creationId xmlns:a16="http://schemas.microsoft.com/office/drawing/2014/main" id="{0E1D5B41-91B1-4694-9704-6C5EB6D87A33}"/>
                </a:ext>
              </a:extLst>
            </p:cNvPr>
            <p:cNvSpPr>
              <a:spLocks/>
            </p:cNvSpPr>
            <p:nvPr/>
          </p:nvSpPr>
          <p:spPr bwMode="auto">
            <a:xfrm>
              <a:off x="4116388" y="3238500"/>
              <a:ext cx="333375" cy="333375"/>
            </a:xfrm>
            <a:custGeom>
              <a:avLst/>
              <a:gdLst>
                <a:gd name="T0" fmla="*/ 387 w 420"/>
                <a:gd name="T1" fmla="*/ 174 h 419"/>
                <a:gd name="T2" fmla="*/ 387 w 420"/>
                <a:gd name="T3" fmla="*/ 137 h 419"/>
                <a:gd name="T4" fmla="*/ 344 w 420"/>
                <a:gd name="T5" fmla="*/ 137 h 419"/>
                <a:gd name="T6" fmla="*/ 310 w 420"/>
                <a:gd name="T7" fmla="*/ 105 h 419"/>
                <a:gd name="T8" fmla="*/ 255 w 420"/>
                <a:gd name="T9" fmla="*/ 105 h 419"/>
                <a:gd name="T10" fmla="*/ 192 w 420"/>
                <a:gd name="T11" fmla="*/ 42 h 419"/>
                <a:gd name="T12" fmla="*/ 151 w 420"/>
                <a:gd name="T13" fmla="*/ 0 h 419"/>
                <a:gd name="T14" fmla="*/ 124 w 420"/>
                <a:gd name="T15" fmla="*/ 25 h 419"/>
                <a:gd name="T16" fmla="*/ 155 w 420"/>
                <a:gd name="T17" fmla="*/ 55 h 419"/>
                <a:gd name="T18" fmla="*/ 155 w 420"/>
                <a:gd name="T19" fmla="*/ 132 h 419"/>
                <a:gd name="T20" fmla="*/ 155 w 420"/>
                <a:gd name="T21" fmla="*/ 246 h 419"/>
                <a:gd name="T22" fmla="*/ 167 w 420"/>
                <a:gd name="T23" fmla="*/ 258 h 419"/>
                <a:gd name="T24" fmla="*/ 167 w 420"/>
                <a:gd name="T25" fmla="*/ 285 h 419"/>
                <a:gd name="T26" fmla="*/ 80 w 420"/>
                <a:gd name="T27" fmla="*/ 285 h 419"/>
                <a:gd name="T28" fmla="*/ 57 w 420"/>
                <a:gd name="T29" fmla="*/ 262 h 419"/>
                <a:gd name="T30" fmla="*/ 28 w 420"/>
                <a:gd name="T31" fmla="*/ 262 h 419"/>
                <a:gd name="T32" fmla="*/ 0 w 420"/>
                <a:gd name="T33" fmla="*/ 292 h 419"/>
                <a:gd name="T34" fmla="*/ 0 w 420"/>
                <a:gd name="T35" fmla="*/ 358 h 419"/>
                <a:gd name="T36" fmla="*/ 17 w 420"/>
                <a:gd name="T37" fmla="*/ 358 h 419"/>
                <a:gd name="T38" fmla="*/ 60 w 420"/>
                <a:gd name="T39" fmla="*/ 358 h 419"/>
                <a:gd name="T40" fmla="*/ 82 w 420"/>
                <a:gd name="T41" fmla="*/ 378 h 419"/>
                <a:gd name="T42" fmla="*/ 96 w 420"/>
                <a:gd name="T43" fmla="*/ 392 h 419"/>
                <a:gd name="T44" fmla="*/ 114 w 420"/>
                <a:gd name="T45" fmla="*/ 392 h 419"/>
                <a:gd name="T46" fmla="*/ 114 w 420"/>
                <a:gd name="T47" fmla="*/ 415 h 419"/>
                <a:gd name="T48" fmla="*/ 167 w 420"/>
                <a:gd name="T49" fmla="*/ 419 h 419"/>
                <a:gd name="T50" fmla="*/ 167 w 420"/>
                <a:gd name="T51" fmla="*/ 403 h 419"/>
                <a:gd name="T52" fmla="*/ 183 w 420"/>
                <a:gd name="T53" fmla="*/ 388 h 419"/>
                <a:gd name="T54" fmla="*/ 205 w 420"/>
                <a:gd name="T55" fmla="*/ 365 h 419"/>
                <a:gd name="T56" fmla="*/ 205 w 420"/>
                <a:gd name="T57" fmla="*/ 340 h 419"/>
                <a:gd name="T58" fmla="*/ 231 w 420"/>
                <a:gd name="T59" fmla="*/ 313 h 419"/>
                <a:gd name="T60" fmla="*/ 274 w 420"/>
                <a:gd name="T61" fmla="*/ 313 h 419"/>
                <a:gd name="T62" fmla="*/ 292 w 420"/>
                <a:gd name="T63" fmla="*/ 296 h 419"/>
                <a:gd name="T64" fmla="*/ 315 w 420"/>
                <a:gd name="T65" fmla="*/ 272 h 419"/>
                <a:gd name="T66" fmla="*/ 330 w 420"/>
                <a:gd name="T67" fmla="*/ 285 h 419"/>
                <a:gd name="T68" fmla="*/ 358 w 420"/>
                <a:gd name="T69" fmla="*/ 285 h 419"/>
                <a:gd name="T70" fmla="*/ 399 w 420"/>
                <a:gd name="T71" fmla="*/ 285 h 419"/>
                <a:gd name="T72" fmla="*/ 420 w 420"/>
                <a:gd name="T73" fmla="*/ 265 h 419"/>
                <a:gd name="T74" fmla="*/ 420 w 420"/>
                <a:gd name="T75" fmla="*/ 174 h 419"/>
                <a:gd name="T76" fmla="*/ 387 w 420"/>
                <a:gd name="T77" fmla="*/ 17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0" h="419">
                  <a:moveTo>
                    <a:pt x="387" y="174"/>
                  </a:moveTo>
                  <a:lnTo>
                    <a:pt x="387" y="137"/>
                  </a:lnTo>
                  <a:lnTo>
                    <a:pt x="344" y="137"/>
                  </a:lnTo>
                  <a:lnTo>
                    <a:pt x="310" y="105"/>
                  </a:lnTo>
                  <a:lnTo>
                    <a:pt x="255" y="105"/>
                  </a:lnTo>
                  <a:lnTo>
                    <a:pt x="192" y="42"/>
                  </a:lnTo>
                  <a:lnTo>
                    <a:pt x="151" y="0"/>
                  </a:lnTo>
                  <a:lnTo>
                    <a:pt x="124" y="25"/>
                  </a:lnTo>
                  <a:lnTo>
                    <a:pt x="155" y="55"/>
                  </a:lnTo>
                  <a:lnTo>
                    <a:pt x="155" y="132"/>
                  </a:lnTo>
                  <a:lnTo>
                    <a:pt x="155" y="246"/>
                  </a:lnTo>
                  <a:lnTo>
                    <a:pt x="167" y="258"/>
                  </a:lnTo>
                  <a:lnTo>
                    <a:pt x="167" y="285"/>
                  </a:lnTo>
                  <a:lnTo>
                    <a:pt x="80" y="285"/>
                  </a:lnTo>
                  <a:lnTo>
                    <a:pt x="57" y="262"/>
                  </a:lnTo>
                  <a:lnTo>
                    <a:pt x="28" y="262"/>
                  </a:lnTo>
                  <a:lnTo>
                    <a:pt x="0" y="292"/>
                  </a:lnTo>
                  <a:lnTo>
                    <a:pt x="0" y="358"/>
                  </a:lnTo>
                  <a:lnTo>
                    <a:pt x="17" y="358"/>
                  </a:lnTo>
                  <a:lnTo>
                    <a:pt x="60" y="358"/>
                  </a:lnTo>
                  <a:lnTo>
                    <a:pt x="82" y="378"/>
                  </a:lnTo>
                  <a:lnTo>
                    <a:pt x="96" y="392"/>
                  </a:lnTo>
                  <a:lnTo>
                    <a:pt x="114" y="392"/>
                  </a:lnTo>
                  <a:lnTo>
                    <a:pt x="114" y="415"/>
                  </a:lnTo>
                  <a:lnTo>
                    <a:pt x="167" y="419"/>
                  </a:lnTo>
                  <a:lnTo>
                    <a:pt x="167" y="403"/>
                  </a:lnTo>
                  <a:lnTo>
                    <a:pt x="183" y="388"/>
                  </a:lnTo>
                  <a:lnTo>
                    <a:pt x="205" y="365"/>
                  </a:lnTo>
                  <a:lnTo>
                    <a:pt x="205" y="340"/>
                  </a:lnTo>
                  <a:lnTo>
                    <a:pt x="231" y="313"/>
                  </a:lnTo>
                  <a:lnTo>
                    <a:pt x="274" y="313"/>
                  </a:lnTo>
                  <a:lnTo>
                    <a:pt x="292" y="296"/>
                  </a:lnTo>
                  <a:lnTo>
                    <a:pt x="315" y="272"/>
                  </a:lnTo>
                  <a:lnTo>
                    <a:pt x="330" y="285"/>
                  </a:lnTo>
                  <a:lnTo>
                    <a:pt x="358" y="285"/>
                  </a:lnTo>
                  <a:lnTo>
                    <a:pt x="399" y="285"/>
                  </a:lnTo>
                  <a:lnTo>
                    <a:pt x="420" y="265"/>
                  </a:lnTo>
                  <a:lnTo>
                    <a:pt x="420" y="174"/>
                  </a:lnTo>
                  <a:lnTo>
                    <a:pt x="387" y="17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0" name="Freeform 387">
              <a:extLst>
                <a:ext uri="{FF2B5EF4-FFF2-40B4-BE49-F238E27FC236}">
                  <a16:creationId xmlns:a16="http://schemas.microsoft.com/office/drawing/2014/main" id="{EF499CA8-50B1-4967-B387-2555EF6F9B7A}"/>
                </a:ext>
              </a:extLst>
            </p:cNvPr>
            <p:cNvSpPr>
              <a:spLocks/>
            </p:cNvSpPr>
            <p:nvPr/>
          </p:nvSpPr>
          <p:spPr bwMode="auto">
            <a:xfrm>
              <a:off x="4087813" y="2989263"/>
              <a:ext cx="254000" cy="195263"/>
            </a:xfrm>
            <a:custGeom>
              <a:avLst/>
              <a:gdLst>
                <a:gd name="T0" fmla="*/ 200 w 319"/>
                <a:gd name="T1" fmla="*/ 200 h 246"/>
                <a:gd name="T2" fmla="*/ 253 w 319"/>
                <a:gd name="T3" fmla="*/ 146 h 246"/>
                <a:gd name="T4" fmla="*/ 253 w 319"/>
                <a:gd name="T5" fmla="*/ 121 h 246"/>
                <a:gd name="T6" fmla="*/ 319 w 319"/>
                <a:gd name="T7" fmla="*/ 121 h 246"/>
                <a:gd name="T8" fmla="*/ 294 w 319"/>
                <a:gd name="T9" fmla="*/ 98 h 246"/>
                <a:gd name="T10" fmla="*/ 294 w 319"/>
                <a:gd name="T11" fmla="*/ 25 h 246"/>
                <a:gd name="T12" fmla="*/ 282 w 319"/>
                <a:gd name="T13" fmla="*/ 25 h 246"/>
                <a:gd name="T14" fmla="*/ 267 w 319"/>
                <a:gd name="T15" fmla="*/ 11 h 246"/>
                <a:gd name="T16" fmla="*/ 253 w 319"/>
                <a:gd name="T17" fmla="*/ 11 h 246"/>
                <a:gd name="T18" fmla="*/ 234 w 319"/>
                <a:gd name="T19" fmla="*/ 30 h 246"/>
                <a:gd name="T20" fmla="*/ 203 w 319"/>
                <a:gd name="T21" fmla="*/ 0 h 246"/>
                <a:gd name="T22" fmla="*/ 194 w 319"/>
                <a:gd name="T23" fmla="*/ 0 h 246"/>
                <a:gd name="T24" fmla="*/ 171 w 319"/>
                <a:gd name="T25" fmla="*/ 23 h 246"/>
                <a:gd name="T26" fmla="*/ 171 w 319"/>
                <a:gd name="T27" fmla="*/ 39 h 246"/>
                <a:gd name="T28" fmla="*/ 146 w 319"/>
                <a:gd name="T29" fmla="*/ 64 h 246"/>
                <a:gd name="T30" fmla="*/ 146 w 319"/>
                <a:gd name="T31" fmla="*/ 75 h 246"/>
                <a:gd name="T32" fmla="*/ 86 w 319"/>
                <a:gd name="T33" fmla="*/ 135 h 246"/>
                <a:gd name="T34" fmla="*/ 86 w 319"/>
                <a:gd name="T35" fmla="*/ 185 h 246"/>
                <a:gd name="T36" fmla="*/ 37 w 319"/>
                <a:gd name="T37" fmla="*/ 233 h 246"/>
                <a:gd name="T38" fmla="*/ 0 w 319"/>
                <a:gd name="T39" fmla="*/ 233 h 246"/>
                <a:gd name="T40" fmla="*/ 0 w 319"/>
                <a:gd name="T41" fmla="*/ 246 h 246"/>
                <a:gd name="T42" fmla="*/ 118 w 319"/>
                <a:gd name="T43" fmla="*/ 246 h 246"/>
                <a:gd name="T44" fmla="*/ 166 w 319"/>
                <a:gd name="T45" fmla="*/ 200 h 246"/>
                <a:gd name="T46" fmla="*/ 200 w 319"/>
                <a:gd name="T47" fmla="*/ 20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9" h="246">
                  <a:moveTo>
                    <a:pt x="200" y="200"/>
                  </a:moveTo>
                  <a:lnTo>
                    <a:pt x="253" y="146"/>
                  </a:lnTo>
                  <a:lnTo>
                    <a:pt x="253" y="121"/>
                  </a:lnTo>
                  <a:lnTo>
                    <a:pt x="319" y="121"/>
                  </a:lnTo>
                  <a:lnTo>
                    <a:pt x="294" y="98"/>
                  </a:lnTo>
                  <a:lnTo>
                    <a:pt x="294" y="25"/>
                  </a:lnTo>
                  <a:lnTo>
                    <a:pt x="282" y="25"/>
                  </a:lnTo>
                  <a:lnTo>
                    <a:pt x="267" y="11"/>
                  </a:lnTo>
                  <a:lnTo>
                    <a:pt x="253" y="11"/>
                  </a:lnTo>
                  <a:lnTo>
                    <a:pt x="234" y="30"/>
                  </a:lnTo>
                  <a:lnTo>
                    <a:pt x="203" y="0"/>
                  </a:lnTo>
                  <a:lnTo>
                    <a:pt x="194" y="0"/>
                  </a:lnTo>
                  <a:lnTo>
                    <a:pt x="171" y="23"/>
                  </a:lnTo>
                  <a:lnTo>
                    <a:pt x="171" y="39"/>
                  </a:lnTo>
                  <a:lnTo>
                    <a:pt x="146" y="64"/>
                  </a:lnTo>
                  <a:lnTo>
                    <a:pt x="146" y="75"/>
                  </a:lnTo>
                  <a:lnTo>
                    <a:pt x="86" y="135"/>
                  </a:lnTo>
                  <a:lnTo>
                    <a:pt x="86" y="185"/>
                  </a:lnTo>
                  <a:lnTo>
                    <a:pt x="37" y="233"/>
                  </a:lnTo>
                  <a:lnTo>
                    <a:pt x="0" y="233"/>
                  </a:lnTo>
                  <a:lnTo>
                    <a:pt x="0" y="246"/>
                  </a:lnTo>
                  <a:lnTo>
                    <a:pt x="118" y="246"/>
                  </a:lnTo>
                  <a:lnTo>
                    <a:pt x="166" y="200"/>
                  </a:lnTo>
                  <a:lnTo>
                    <a:pt x="200" y="20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1" name="Freeform 388">
              <a:extLst>
                <a:ext uri="{FF2B5EF4-FFF2-40B4-BE49-F238E27FC236}">
                  <a16:creationId xmlns:a16="http://schemas.microsoft.com/office/drawing/2014/main" id="{5E7EC0F9-4068-4A35-AF70-3629B8988D1E}"/>
                </a:ext>
              </a:extLst>
            </p:cNvPr>
            <p:cNvSpPr>
              <a:spLocks/>
            </p:cNvSpPr>
            <p:nvPr/>
          </p:nvSpPr>
          <p:spPr bwMode="auto">
            <a:xfrm>
              <a:off x="4181476" y="2968625"/>
              <a:ext cx="398463" cy="409575"/>
            </a:xfrm>
            <a:custGeom>
              <a:avLst/>
              <a:gdLst>
                <a:gd name="T0" fmla="*/ 110 w 503"/>
                <a:gd name="T1" fmla="*/ 383 h 515"/>
                <a:gd name="T2" fmla="*/ 173 w 503"/>
                <a:gd name="T3" fmla="*/ 446 h 515"/>
                <a:gd name="T4" fmla="*/ 228 w 503"/>
                <a:gd name="T5" fmla="*/ 446 h 515"/>
                <a:gd name="T6" fmla="*/ 262 w 503"/>
                <a:gd name="T7" fmla="*/ 478 h 515"/>
                <a:gd name="T8" fmla="*/ 305 w 503"/>
                <a:gd name="T9" fmla="*/ 478 h 515"/>
                <a:gd name="T10" fmla="*/ 305 w 503"/>
                <a:gd name="T11" fmla="*/ 515 h 515"/>
                <a:gd name="T12" fmla="*/ 353 w 503"/>
                <a:gd name="T13" fmla="*/ 515 h 515"/>
                <a:gd name="T14" fmla="*/ 372 w 503"/>
                <a:gd name="T15" fmla="*/ 496 h 515"/>
                <a:gd name="T16" fmla="*/ 394 w 503"/>
                <a:gd name="T17" fmla="*/ 496 h 515"/>
                <a:gd name="T18" fmla="*/ 503 w 503"/>
                <a:gd name="T19" fmla="*/ 373 h 515"/>
                <a:gd name="T20" fmla="*/ 479 w 503"/>
                <a:gd name="T21" fmla="*/ 373 h 515"/>
                <a:gd name="T22" fmla="*/ 479 w 503"/>
                <a:gd name="T23" fmla="*/ 342 h 515"/>
                <a:gd name="T24" fmla="*/ 460 w 503"/>
                <a:gd name="T25" fmla="*/ 323 h 515"/>
                <a:gd name="T26" fmla="*/ 486 w 503"/>
                <a:gd name="T27" fmla="*/ 298 h 515"/>
                <a:gd name="T28" fmla="*/ 486 w 503"/>
                <a:gd name="T29" fmla="*/ 243 h 515"/>
                <a:gd name="T30" fmla="*/ 458 w 503"/>
                <a:gd name="T31" fmla="*/ 202 h 515"/>
                <a:gd name="T32" fmla="*/ 458 w 503"/>
                <a:gd name="T33" fmla="*/ 159 h 515"/>
                <a:gd name="T34" fmla="*/ 435 w 503"/>
                <a:gd name="T35" fmla="*/ 136 h 515"/>
                <a:gd name="T36" fmla="*/ 413 w 503"/>
                <a:gd name="T37" fmla="*/ 114 h 515"/>
                <a:gd name="T38" fmla="*/ 413 w 503"/>
                <a:gd name="T39" fmla="*/ 98 h 515"/>
                <a:gd name="T40" fmla="*/ 428 w 503"/>
                <a:gd name="T41" fmla="*/ 84 h 515"/>
                <a:gd name="T42" fmla="*/ 428 w 503"/>
                <a:gd name="T43" fmla="*/ 54 h 515"/>
                <a:gd name="T44" fmla="*/ 392 w 503"/>
                <a:gd name="T45" fmla="*/ 18 h 515"/>
                <a:gd name="T46" fmla="*/ 392 w 503"/>
                <a:gd name="T47" fmla="*/ 0 h 515"/>
                <a:gd name="T48" fmla="*/ 324 w 503"/>
                <a:gd name="T49" fmla="*/ 0 h 515"/>
                <a:gd name="T50" fmla="*/ 315 w 503"/>
                <a:gd name="T51" fmla="*/ 11 h 515"/>
                <a:gd name="T52" fmla="*/ 233 w 503"/>
                <a:gd name="T53" fmla="*/ 11 h 515"/>
                <a:gd name="T54" fmla="*/ 219 w 503"/>
                <a:gd name="T55" fmla="*/ 25 h 515"/>
                <a:gd name="T56" fmla="*/ 205 w 503"/>
                <a:gd name="T57" fmla="*/ 25 h 515"/>
                <a:gd name="T58" fmla="*/ 178 w 503"/>
                <a:gd name="T59" fmla="*/ 52 h 515"/>
                <a:gd name="T60" fmla="*/ 176 w 503"/>
                <a:gd name="T61" fmla="*/ 52 h 515"/>
                <a:gd name="T62" fmla="*/ 176 w 503"/>
                <a:gd name="T63" fmla="*/ 125 h 515"/>
                <a:gd name="T64" fmla="*/ 201 w 503"/>
                <a:gd name="T65" fmla="*/ 148 h 515"/>
                <a:gd name="T66" fmla="*/ 135 w 503"/>
                <a:gd name="T67" fmla="*/ 148 h 515"/>
                <a:gd name="T68" fmla="*/ 135 w 503"/>
                <a:gd name="T69" fmla="*/ 173 h 515"/>
                <a:gd name="T70" fmla="*/ 82 w 503"/>
                <a:gd name="T71" fmla="*/ 227 h 515"/>
                <a:gd name="T72" fmla="*/ 48 w 503"/>
                <a:gd name="T73" fmla="*/ 227 h 515"/>
                <a:gd name="T74" fmla="*/ 0 w 503"/>
                <a:gd name="T75" fmla="*/ 273 h 515"/>
                <a:gd name="T76" fmla="*/ 69 w 503"/>
                <a:gd name="T77" fmla="*/ 341 h 515"/>
                <a:gd name="T78" fmla="*/ 110 w 503"/>
                <a:gd name="T79" fmla="*/ 38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3" h="515">
                  <a:moveTo>
                    <a:pt x="110" y="383"/>
                  </a:moveTo>
                  <a:lnTo>
                    <a:pt x="173" y="446"/>
                  </a:lnTo>
                  <a:lnTo>
                    <a:pt x="228" y="446"/>
                  </a:lnTo>
                  <a:lnTo>
                    <a:pt x="262" y="478"/>
                  </a:lnTo>
                  <a:lnTo>
                    <a:pt x="305" y="478"/>
                  </a:lnTo>
                  <a:lnTo>
                    <a:pt x="305" y="515"/>
                  </a:lnTo>
                  <a:lnTo>
                    <a:pt x="353" y="515"/>
                  </a:lnTo>
                  <a:lnTo>
                    <a:pt x="372" y="496"/>
                  </a:lnTo>
                  <a:lnTo>
                    <a:pt x="394" y="496"/>
                  </a:lnTo>
                  <a:lnTo>
                    <a:pt x="503" y="373"/>
                  </a:lnTo>
                  <a:lnTo>
                    <a:pt x="479" y="373"/>
                  </a:lnTo>
                  <a:lnTo>
                    <a:pt x="479" y="342"/>
                  </a:lnTo>
                  <a:lnTo>
                    <a:pt x="460" y="323"/>
                  </a:lnTo>
                  <a:lnTo>
                    <a:pt x="486" y="298"/>
                  </a:lnTo>
                  <a:lnTo>
                    <a:pt x="486" y="243"/>
                  </a:lnTo>
                  <a:lnTo>
                    <a:pt x="458" y="202"/>
                  </a:lnTo>
                  <a:lnTo>
                    <a:pt x="458" y="159"/>
                  </a:lnTo>
                  <a:lnTo>
                    <a:pt x="435" y="136"/>
                  </a:lnTo>
                  <a:lnTo>
                    <a:pt x="413" y="114"/>
                  </a:lnTo>
                  <a:lnTo>
                    <a:pt x="413" y="98"/>
                  </a:lnTo>
                  <a:lnTo>
                    <a:pt x="428" y="84"/>
                  </a:lnTo>
                  <a:lnTo>
                    <a:pt x="428" y="54"/>
                  </a:lnTo>
                  <a:lnTo>
                    <a:pt x="392" y="18"/>
                  </a:lnTo>
                  <a:lnTo>
                    <a:pt x="392" y="0"/>
                  </a:lnTo>
                  <a:lnTo>
                    <a:pt x="324" y="0"/>
                  </a:lnTo>
                  <a:lnTo>
                    <a:pt x="315" y="11"/>
                  </a:lnTo>
                  <a:lnTo>
                    <a:pt x="233" y="11"/>
                  </a:lnTo>
                  <a:lnTo>
                    <a:pt x="219" y="25"/>
                  </a:lnTo>
                  <a:lnTo>
                    <a:pt x="205" y="25"/>
                  </a:lnTo>
                  <a:lnTo>
                    <a:pt x="178" y="52"/>
                  </a:lnTo>
                  <a:lnTo>
                    <a:pt x="176" y="52"/>
                  </a:lnTo>
                  <a:lnTo>
                    <a:pt x="176" y="125"/>
                  </a:lnTo>
                  <a:lnTo>
                    <a:pt x="201" y="148"/>
                  </a:lnTo>
                  <a:lnTo>
                    <a:pt x="135" y="148"/>
                  </a:lnTo>
                  <a:lnTo>
                    <a:pt x="135" y="173"/>
                  </a:lnTo>
                  <a:lnTo>
                    <a:pt x="82" y="227"/>
                  </a:lnTo>
                  <a:lnTo>
                    <a:pt x="48" y="227"/>
                  </a:lnTo>
                  <a:lnTo>
                    <a:pt x="0" y="273"/>
                  </a:lnTo>
                  <a:lnTo>
                    <a:pt x="69" y="341"/>
                  </a:lnTo>
                  <a:lnTo>
                    <a:pt x="110" y="38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Freeform 389">
              <a:extLst>
                <a:ext uri="{FF2B5EF4-FFF2-40B4-BE49-F238E27FC236}">
                  <a16:creationId xmlns:a16="http://schemas.microsoft.com/office/drawing/2014/main" id="{850165D2-387F-4363-9AB8-F65F8B1A999C}"/>
                </a:ext>
              </a:extLst>
            </p:cNvPr>
            <p:cNvSpPr>
              <a:spLocks/>
            </p:cNvSpPr>
            <p:nvPr/>
          </p:nvSpPr>
          <p:spPr bwMode="auto">
            <a:xfrm>
              <a:off x="4008438" y="3184525"/>
              <a:ext cx="241300" cy="287338"/>
            </a:xfrm>
            <a:custGeom>
              <a:avLst/>
              <a:gdLst>
                <a:gd name="T0" fmla="*/ 193 w 303"/>
                <a:gd name="T1" fmla="*/ 330 h 360"/>
                <a:gd name="T2" fmla="*/ 216 w 303"/>
                <a:gd name="T3" fmla="*/ 353 h 360"/>
                <a:gd name="T4" fmla="*/ 303 w 303"/>
                <a:gd name="T5" fmla="*/ 353 h 360"/>
                <a:gd name="T6" fmla="*/ 303 w 303"/>
                <a:gd name="T7" fmla="*/ 326 h 360"/>
                <a:gd name="T8" fmla="*/ 291 w 303"/>
                <a:gd name="T9" fmla="*/ 314 h 360"/>
                <a:gd name="T10" fmla="*/ 291 w 303"/>
                <a:gd name="T11" fmla="*/ 200 h 360"/>
                <a:gd name="T12" fmla="*/ 291 w 303"/>
                <a:gd name="T13" fmla="*/ 123 h 360"/>
                <a:gd name="T14" fmla="*/ 260 w 303"/>
                <a:gd name="T15" fmla="*/ 93 h 360"/>
                <a:gd name="T16" fmla="*/ 287 w 303"/>
                <a:gd name="T17" fmla="*/ 68 h 360"/>
                <a:gd name="T18" fmla="*/ 218 w 303"/>
                <a:gd name="T19" fmla="*/ 0 h 360"/>
                <a:gd name="T20" fmla="*/ 218 w 303"/>
                <a:gd name="T21" fmla="*/ 52 h 360"/>
                <a:gd name="T22" fmla="*/ 146 w 303"/>
                <a:gd name="T23" fmla="*/ 52 h 360"/>
                <a:gd name="T24" fmla="*/ 146 w 303"/>
                <a:gd name="T25" fmla="*/ 125 h 360"/>
                <a:gd name="T26" fmla="*/ 105 w 303"/>
                <a:gd name="T27" fmla="*/ 125 h 360"/>
                <a:gd name="T28" fmla="*/ 105 w 303"/>
                <a:gd name="T29" fmla="*/ 178 h 360"/>
                <a:gd name="T30" fmla="*/ 63 w 303"/>
                <a:gd name="T31" fmla="*/ 178 h 360"/>
                <a:gd name="T32" fmla="*/ 54 w 303"/>
                <a:gd name="T33" fmla="*/ 185 h 360"/>
                <a:gd name="T34" fmla="*/ 0 w 303"/>
                <a:gd name="T35" fmla="*/ 185 h 360"/>
                <a:gd name="T36" fmla="*/ 0 w 303"/>
                <a:gd name="T37" fmla="*/ 209 h 360"/>
                <a:gd name="T38" fmla="*/ 22 w 303"/>
                <a:gd name="T39" fmla="*/ 230 h 360"/>
                <a:gd name="T40" fmla="*/ 22 w 303"/>
                <a:gd name="T41" fmla="*/ 317 h 360"/>
                <a:gd name="T42" fmla="*/ 70 w 303"/>
                <a:gd name="T43" fmla="*/ 317 h 360"/>
                <a:gd name="T44" fmla="*/ 112 w 303"/>
                <a:gd name="T45" fmla="*/ 360 h 360"/>
                <a:gd name="T46" fmla="*/ 136 w 303"/>
                <a:gd name="T47" fmla="*/ 360 h 360"/>
                <a:gd name="T48" fmla="*/ 164 w 303"/>
                <a:gd name="T49" fmla="*/ 330 h 360"/>
                <a:gd name="T50" fmla="*/ 193 w 303"/>
                <a:gd name="T51" fmla="*/ 3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3" h="360">
                  <a:moveTo>
                    <a:pt x="193" y="330"/>
                  </a:moveTo>
                  <a:lnTo>
                    <a:pt x="216" y="353"/>
                  </a:lnTo>
                  <a:lnTo>
                    <a:pt x="303" y="353"/>
                  </a:lnTo>
                  <a:lnTo>
                    <a:pt x="303" y="326"/>
                  </a:lnTo>
                  <a:lnTo>
                    <a:pt x="291" y="314"/>
                  </a:lnTo>
                  <a:lnTo>
                    <a:pt x="291" y="200"/>
                  </a:lnTo>
                  <a:lnTo>
                    <a:pt x="291" y="123"/>
                  </a:lnTo>
                  <a:lnTo>
                    <a:pt x="260" y="93"/>
                  </a:lnTo>
                  <a:lnTo>
                    <a:pt x="287" y="68"/>
                  </a:lnTo>
                  <a:lnTo>
                    <a:pt x="218" y="0"/>
                  </a:lnTo>
                  <a:lnTo>
                    <a:pt x="218" y="52"/>
                  </a:lnTo>
                  <a:lnTo>
                    <a:pt x="146" y="52"/>
                  </a:lnTo>
                  <a:lnTo>
                    <a:pt x="146" y="125"/>
                  </a:lnTo>
                  <a:lnTo>
                    <a:pt x="105" y="125"/>
                  </a:lnTo>
                  <a:lnTo>
                    <a:pt x="105" y="178"/>
                  </a:lnTo>
                  <a:lnTo>
                    <a:pt x="63" y="178"/>
                  </a:lnTo>
                  <a:lnTo>
                    <a:pt x="54" y="185"/>
                  </a:lnTo>
                  <a:lnTo>
                    <a:pt x="0" y="185"/>
                  </a:lnTo>
                  <a:lnTo>
                    <a:pt x="0" y="209"/>
                  </a:lnTo>
                  <a:lnTo>
                    <a:pt x="22" y="230"/>
                  </a:lnTo>
                  <a:lnTo>
                    <a:pt x="22" y="317"/>
                  </a:lnTo>
                  <a:lnTo>
                    <a:pt x="70" y="317"/>
                  </a:lnTo>
                  <a:lnTo>
                    <a:pt x="112" y="360"/>
                  </a:lnTo>
                  <a:lnTo>
                    <a:pt x="136" y="360"/>
                  </a:lnTo>
                  <a:lnTo>
                    <a:pt x="164" y="330"/>
                  </a:lnTo>
                  <a:lnTo>
                    <a:pt x="193" y="33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3" name="Freeform 390">
              <a:extLst>
                <a:ext uri="{FF2B5EF4-FFF2-40B4-BE49-F238E27FC236}">
                  <a16:creationId xmlns:a16="http://schemas.microsoft.com/office/drawing/2014/main" id="{57D4E87E-342C-44F3-88F9-D07DE81B97F7}"/>
                </a:ext>
              </a:extLst>
            </p:cNvPr>
            <p:cNvSpPr>
              <a:spLocks/>
            </p:cNvSpPr>
            <p:nvPr/>
          </p:nvSpPr>
          <p:spPr bwMode="auto">
            <a:xfrm>
              <a:off x="4768851" y="4141788"/>
              <a:ext cx="180975" cy="211138"/>
            </a:xfrm>
            <a:custGeom>
              <a:avLst/>
              <a:gdLst>
                <a:gd name="T0" fmla="*/ 73 w 228"/>
                <a:gd name="T1" fmla="*/ 0 h 266"/>
                <a:gd name="T2" fmla="*/ 51 w 228"/>
                <a:gd name="T3" fmla="*/ 21 h 266"/>
                <a:gd name="T4" fmla="*/ 21 w 228"/>
                <a:gd name="T5" fmla="*/ 21 h 266"/>
                <a:gd name="T6" fmla="*/ 21 w 228"/>
                <a:gd name="T7" fmla="*/ 116 h 266"/>
                <a:gd name="T8" fmla="*/ 0 w 228"/>
                <a:gd name="T9" fmla="*/ 137 h 266"/>
                <a:gd name="T10" fmla="*/ 0 w 228"/>
                <a:gd name="T11" fmla="*/ 210 h 266"/>
                <a:gd name="T12" fmla="*/ 21 w 228"/>
                <a:gd name="T13" fmla="*/ 230 h 266"/>
                <a:gd name="T14" fmla="*/ 21 w 228"/>
                <a:gd name="T15" fmla="*/ 266 h 266"/>
                <a:gd name="T16" fmla="*/ 48 w 228"/>
                <a:gd name="T17" fmla="*/ 266 h 266"/>
                <a:gd name="T18" fmla="*/ 92 w 228"/>
                <a:gd name="T19" fmla="*/ 221 h 266"/>
                <a:gd name="T20" fmla="*/ 123 w 228"/>
                <a:gd name="T21" fmla="*/ 221 h 266"/>
                <a:gd name="T22" fmla="*/ 166 w 228"/>
                <a:gd name="T23" fmla="*/ 180 h 266"/>
                <a:gd name="T24" fmla="*/ 187 w 228"/>
                <a:gd name="T25" fmla="*/ 180 h 266"/>
                <a:gd name="T26" fmla="*/ 210 w 228"/>
                <a:gd name="T27" fmla="*/ 155 h 266"/>
                <a:gd name="T28" fmla="*/ 228 w 228"/>
                <a:gd name="T29" fmla="*/ 137 h 266"/>
                <a:gd name="T30" fmla="*/ 198 w 228"/>
                <a:gd name="T31" fmla="*/ 107 h 266"/>
                <a:gd name="T32" fmla="*/ 198 w 228"/>
                <a:gd name="T33" fmla="*/ 66 h 266"/>
                <a:gd name="T34" fmla="*/ 157 w 228"/>
                <a:gd name="T35" fmla="*/ 66 h 266"/>
                <a:gd name="T36" fmla="*/ 117 w 228"/>
                <a:gd name="T37" fmla="*/ 28 h 266"/>
                <a:gd name="T38" fmla="*/ 105 w 228"/>
                <a:gd name="T39" fmla="*/ 0 h 266"/>
                <a:gd name="T40" fmla="*/ 73 w 228"/>
                <a:gd name="T4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 h="266">
                  <a:moveTo>
                    <a:pt x="73" y="0"/>
                  </a:moveTo>
                  <a:lnTo>
                    <a:pt x="51" y="21"/>
                  </a:lnTo>
                  <a:lnTo>
                    <a:pt x="21" y="21"/>
                  </a:lnTo>
                  <a:lnTo>
                    <a:pt x="21" y="116"/>
                  </a:lnTo>
                  <a:lnTo>
                    <a:pt x="0" y="137"/>
                  </a:lnTo>
                  <a:lnTo>
                    <a:pt x="0" y="210"/>
                  </a:lnTo>
                  <a:lnTo>
                    <a:pt x="21" y="230"/>
                  </a:lnTo>
                  <a:lnTo>
                    <a:pt x="21" y="266"/>
                  </a:lnTo>
                  <a:lnTo>
                    <a:pt x="48" y="266"/>
                  </a:lnTo>
                  <a:lnTo>
                    <a:pt x="92" y="221"/>
                  </a:lnTo>
                  <a:lnTo>
                    <a:pt x="123" y="221"/>
                  </a:lnTo>
                  <a:lnTo>
                    <a:pt x="166" y="180"/>
                  </a:lnTo>
                  <a:lnTo>
                    <a:pt x="187" y="180"/>
                  </a:lnTo>
                  <a:lnTo>
                    <a:pt x="210" y="155"/>
                  </a:lnTo>
                  <a:lnTo>
                    <a:pt x="228" y="137"/>
                  </a:lnTo>
                  <a:lnTo>
                    <a:pt x="198" y="107"/>
                  </a:lnTo>
                  <a:lnTo>
                    <a:pt x="198" y="66"/>
                  </a:lnTo>
                  <a:lnTo>
                    <a:pt x="157" y="66"/>
                  </a:lnTo>
                  <a:lnTo>
                    <a:pt x="117" y="28"/>
                  </a:lnTo>
                  <a:lnTo>
                    <a:pt x="105" y="0"/>
                  </a:lnTo>
                  <a:lnTo>
                    <a:pt x="73"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4" name="Freeform 391">
              <a:extLst>
                <a:ext uri="{FF2B5EF4-FFF2-40B4-BE49-F238E27FC236}">
                  <a16:creationId xmlns:a16="http://schemas.microsoft.com/office/drawing/2014/main" id="{DC4AC4C5-596E-49F1-9A8A-7A16B6015FD2}"/>
                </a:ext>
              </a:extLst>
            </p:cNvPr>
            <p:cNvSpPr>
              <a:spLocks/>
            </p:cNvSpPr>
            <p:nvPr/>
          </p:nvSpPr>
          <p:spPr bwMode="auto">
            <a:xfrm>
              <a:off x="4808538" y="3925888"/>
              <a:ext cx="241300" cy="238125"/>
            </a:xfrm>
            <a:custGeom>
              <a:avLst/>
              <a:gdLst>
                <a:gd name="T0" fmla="*/ 219 w 305"/>
                <a:gd name="T1" fmla="*/ 54 h 301"/>
                <a:gd name="T2" fmla="*/ 219 w 305"/>
                <a:gd name="T3" fmla="*/ 25 h 301"/>
                <a:gd name="T4" fmla="*/ 192 w 305"/>
                <a:gd name="T5" fmla="*/ 0 h 301"/>
                <a:gd name="T6" fmla="*/ 157 w 305"/>
                <a:gd name="T7" fmla="*/ 47 h 301"/>
                <a:gd name="T8" fmla="*/ 157 w 305"/>
                <a:gd name="T9" fmla="*/ 72 h 301"/>
                <a:gd name="T10" fmla="*/ 176 w 305"/>
                <a:gd name="T11" fmla="*/ 91 h 301"/>
                <a:gd name="T12" fmla="*/ 176 w 305"/>
                <a:gd name="T13" fmla="*/ 121 h 301"/>
                <a:gd name="T14" fmla="*/ 199 w 305"/>
                <a:gd name="T15" fmla="*/ 121 h 301"/>
                <a:gd name="T16" fmla="*/ 199 w 305"/>
                <a:gd name="T17" fmla="*/ 134 h 301"/>
                <a:gd name="T18" fmla="*/ 189 w 305"/>
                <a:gd name="T19" fmla="*/ 145 h 301"/>
                <a:gd name="T20" fmla="*/ 174 w 305"/>
                <a:gd name="T21" fmla="*/ 130 h 301"/>
                <a:gd name="T22" fmla="*/ 128 w 305"/>
                <a:gd name="T23" fmla="*/ 130 h 301"/>
                <a:gd name="T24" fmla="*/ 100 w 305"/>
                <a:gd name="T25" fmla="*/ 130 h 301"/>
                <a:gd name="T26" fmla="*/ 76 w 305"/>
                <a:gd name="T27" fmla="*/ 107 h 301"/>
                <a:gd name="T28" fmla="*/ 46 w 305"/>
                <a:gd name="T29" fmla="*/ 107 h 301"/>
                <a:gd name="T30" fmla="*/ 46 w 305"/>
                <a:gd name="T31" fmla="*/ 162 h 301"/>
                <a:gd name="T32" fmla="*/ 0 w 305"/>
                <a:gd name="T33" fmla="*/ 162 h 301"/>
                <a:gd name="T34" fmla="*/ 0 w 305"/>
                <a:gd name="T35" fmla="*/ 250 h 301"/>
                <a:gd name="T36" fmla="*/ 23 w 305"/>
                <a:gd name="T37" fmla="*/ 273 h 301"/>
                <a:gd name="T38" fmla="*/ 55 w 305"/>
                <a:gd name="T39" fmla="*/ 273 h 301"/>
                <a:gd name="T40" fmla="*/ 67 w 305"/>
                <a:gd name="T41" fmla="*/ 301 h 301"/>
                <a:gd name="T42" fmla="*/ 83 w 305"/>
                <a:gd name="T43" fmla="*/ 285 h 301"/>
                <a:gd name="T44" fmla="*/ 128 w 305"/>
                <a:gd name="T45" fmla="*/ 285 h 301"/>
                <a:gd name="T46" fmla="*/ 162 w 305"/>
                <a:gd name="T47" fmla="*/ 252 h 301"/>
                <a:gd name="T48" fmla="*/ 198 w 305"/>
                <a:gd name="T49" fmla="*/ 219 h 301"/>
                <a:gd name="T50" fmla="*/ 224 w 305"/>
                <a:gd name="T51" fmla="*/ 191 h 301"/>
                <a:gd name="T52" fmla="*/ 289 w 305"/>
                <a:gd name="T53" fmla="*/ 191 h 301"/>
                <a:gd name="T54" fmla="*/ 289 w 305"/>
                <a:gd name="T55" fmla="*/ 136 h 301"/>
                <a:gd name="T56" fmla="*/ 289 w 305"/>
                <a:gd name="T57" fmla="*/ 102 h 301"/>
                <a:gd name="T58" fmla="*/ 305 w 305"/>
                <a:gd name="T59" fmla="*/ 84 h 301"/>
                <a:gd name="T60" fmla="*/ 305 w 305"/>
                <a:gd name="T61" fmla="*/ 54 h 301"/>
                <a:gd name="T62" fmla="*/ 219 w 305"/>
                <a:gd name="T63" fmla="*/ 5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5" h="301">
                  <a:moveTo>
                    <a:pt x="219" y="54"/>
                  </a:moveTo>
                  <a:lnTo>
                    <a:pt x="219" y="25"/>
                  </a:lnTo>
                  <a:lnTo>
                    <a:pt x="192" y="0"/>
                  </a:lnTo>
                  <a:lnTo>
                    <a:pt x="157" y="47"/>
                  </a:lnTo>
                  <a:lnTo>
                    <a:pt x="157" y="72"/>
                  </a:lnTo>
                  <a:lnTo>
                    <a:pt x="176" y="91"/>
                  </a:lnTo>
                  <a:lnTo>
                    <a:pt x="176" y="121"/>
                  </a:lnTo>
                  <a:lnTo>
                    <a:pt x="199" y="121"/>
                  </a:lnTo>
                  <a:lnTo>
                    <a:pt x="199" y="134"/>
                  </a:lnTo>
                  <a:lnTo>
                    <a:pt x="189" y="145"/>
                  </a:lnTo>
                  <a:lnTo>
                    <a:pt x="174" y="130"/>
                  </a:lnTo>
                  <a:lnTo>
                    <a:pt x="128" y="130"/>
                  </a:lnTo>
                  <a:lnTo>
                    <a:pt x="100" y="130"/>
                  </a:lnTo>
                  <a:lnTo>
                    <a:pt x="76" y="107"/>
                  </a:lnTo>
                  <a:lnTo>
                    <a:pt x="46" y="107"/>
                  </a:lnTo>
                  <a:lnTo>
                    <a:pt x="46" y="162"/>
                  </a:lnTo>
                  <a:lnTo>
                    <a:pt x="0" y="162"/>
                  </a:lnTo>
                  <a:lnTo>
                    <a:pt x="0" y="250"/>
                  </a:lnTo>
                  <a:lnTo>
                    <a:pt x="23" y="273"/>
                  </a:lnTo>
                  <a:lnTo>
                    <a:pt x="55" y="273"/>
                  </a:lnTo>
                  <a:lnTo>
                    <a:pt x="67" y="301"/>
                  </a:lnTo>
                  <a:lnTo>
                    <a:pt x="83" y="285"/>
                  </a:lnTo>
                  <a:lnTo>
                    <a:pt x="128" y="285"/>
                  </a:lnTo>
                  <a:lnTo>
                    <a:pt x="162" y="252"/>
                  </a:lnTo>
                  <a:lnTo>
                    <a:pt x="198" y="219"/>
                  </a:lnTo>
                  <a:lnTo>
                    <a:pt x="224" y="191"/>
                  </a:lnTo>
                  <a:lnTo>
                    <a:pt x="289" y="191"/>
                  </a:lnTo>
                  <a:lnTo>
                    <a:pt x="289" y="136"/>
                  </a:lnTo>
                  <a:lnTo>
                    <a:pt x="289" y="102"/>
                  </a:lnTo>
                  <a:lnTo>
                    <a:pt x="305" y="84"/>
                  </a:lnTo>
                  <a:lnTo>
                    <a:pt x="305" y="54"/>
                  </a:lnTo>
                  <a:lnTo>
                    <a:pt x="219" y="5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Freeform 392">
              <a:extLst>
                <a:ext uri="{FF2B5EF4-FFF2-40B4-BE49-F238E27FC236}">
                  <a16:creationId xmlns:a16="http://schemas.microsoft.com/office/drawing/2014/main" id="{03E853C6-79B2-4FFC-9AEF-38D818005AF1}"/>
                </a:ext>
              </a:extLst>
            </p:cNvPr>
            <p:cNvSpPr>
              <a:spLocks/>
            </p:cNvSpPr>
            <p:nvPr/>
          </p:nvSpPr>
          <p:spPr bwMode="auto">
            <a:xfrm>
              <a:off x="4643438" y="3300413"/>
              <a:ext cx="207963" cy="330200"/>
            </a:xfrm>
            <a:custGeom>
              <a:avLst/>
              <a:gdLst>
                <a:gd name="T0" fmla="*/ 148 w 262"/>
                <a:gd name="T1" fmla="*/ 378 h 417"/>
                <a:gd name="T2" fmla="*/ 183 w 262"/>
                <a:gd name="T3" fmla="*/ 378 h 417"/>
                <a:gd name="T4" fmla="*/ 208 w 262"/>
                <a:gd name="T5" fmla="*/ 353 h 417"/>
                <a:gd name="T6" fmla="*/ 208 w 262"/>
                <a:gd name="T7" fmla="*/ 325 h 417"/>
                <a:gd name="T8" fmla="*/ 232 w 262"/>
                <a:gd name="T9" fmla="*/ 325 h 417"/>
                <a:gd name="T10" fmla="*/ 232 w 262"/>
                <a:gd name="T11" fmla="*/ 287 h 417"/>
                <a:gd name="T12" fmla="*/ 198 w 262"/>
                <a:gd name="T13" fmla="*/ 255 h 417"/>
                <a:gd name="T14" fmla="*/ 235 w 262"/>
                <a:gd name="T15" fmla="*/ 216 h 417"/>
                <a:gd name="T16" fmla="*/ 262 w 262"/>
                <a:gd name="T17" fmla="*/ 191 h 417"/>
                <a:gd name="T18" fmla="*/ 262 w 262"/>
                <a:gd name="T19" fmla="*/ 73 h 417"/>
                <a:gd name="T20" fmla="*/ 212 w 262"/>
                <a:gd name="T21" fmla="*/ 73 h 417"/>
                <a:gd name="T22" fmla="*/ 139 w 262"/>
                <a:gd name="T23" fmla="*/ 0 h 417"/>
                <a:gd name="T24" fmla="*/ 48 w 262"/>
                <a:gd name="T25" fmla="*/ 0 h 417"/>
                <a:gd name="T26" fmla="*/ 27 w 262"/>
                <a:gd name="T27" fmla="*/ 0 h 417"/>
                <a:gd name="T28" fmla="*/ 27 w 262"/>
                <a:gd name="T29" fmla="*/ 54 h 417"/>
                <a:gd name="T30" fmla="*/ 39 w 262"/>
                <a:gd name="T31" fmla="*/ 66 h 417"/>
                <a:gd name="T32" fmla="*/ 39 w 262"/>
                <a:gd name="T33" fmla="*/ 98 h 417"/>
                <a:gd name="T34" fmla="*/ 39 w 262"/>
                <a:gd name="T35" fmla="*/ 189 h 417"/>
                <a:gd name="T36" fmla="*/ 0 w 262"/>
                <a:gd name="T37" fmla="*/ 189 h 417"/>
                <a:gd name="T38" fmla="*/ 0 w 262"/>
                <a:gd name="T39" fmla="*/ 218 h 417"/>
                <a:gd name="T40" fmla="*/ 41 w 262"/>
                <a:gd name="T41" fmla="*/ 259 h 417"/>
                <a:gd name="T42" fmla="*/ 41 w 262"/>
                <a:gd name="T43" fmla="*/ 293 h 417"/>
                <a:gd name="T44" fmla="*/ 12 w 262"/>
                <a:gd name="T45" fmla="*/ 319 h 417"/>
                <a:gd name="T46" fmla="*/ 12 w 262"/>
                <a:gd name="T47" fmla="*/ 346 h 417"/>
                <a:gd name="T48" fmla="*/ 12 w 262"/>
                <a:gd name="T49" fmla="*/ 382 h 417"/>
                <a:gd name="T50" fmla="*/ 48 w 262"/>
                <a:gd name="T51" fmla="*/ 417 h 417"/>
                <a:gd name="T52" fmla="*/ 110 w 262"/>
                <a:gd name="T53" fmla="*/ 417 h 417"/>
                <a:gd name="T54" fmla="*/ 148 w 262"/>
                <a:gd name="T55" fmla="*/ 37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2" h="417">
                  <a:moveTo>
                    <a:pt x="148" y="378"/>
                  </a:moveTo>
                  <a:lnTo>
                    <a:pt x="183" y="378"/>
                  </a:lnTo>
                  <a:lnTo>
                    <a:pt x="208" y="353"/>
                  </a:lnTo>
                  <a:lnTo>
                    <a:pt x="208" y="325"/>
                  </a:lnTo>
                  <a:lnTo>
                    <a:pt x="232" y="325"/>
                  </a:lnTo>
                  <a:lnTo>
                    <a:pt x="232" y="287"/>
                  </a:lnTo>
                  <a:lnTo>
                    <a:pt x="198" y="255"/>
                  </a:lnTo>
                  <a:lnTo>
                    <a:pt x="235" y="216"/>
                  </a:lnTo>
                  <a:lnTo>
                    <a:pt x="262" y="191"/>
                  </a:lnTo>
                  <a:lnTo>
                    <a:pt x="262" y="73"/>
                  </a:lnTo>
                  <a:lnTo>
                    <a:pt x="212" y="73"/>
                  </a:lnTo>
                  <a:lnTo>
                    <a:pt x="139" y="0"/>
                  </a:lnTo>
                  <a:lnTo>
                    <a:pt x="48" y="0"/>
                  </a:lnTo>
                  <a:lnTo>
                    <a:pt x="27" y="0"/>
                  </a:lnTo>
                  <a:lnTo>
                    <a:pt x="27" y="54"/>
                  </a:lnTo>
                  <a:lnTo>
                    <a:pt x="39" y="66"/>
                  </a:lnTo>
                  <a:lnTo>
                    <a:pt x="39" y="98"/>
                  </a:lnTo>
                  <a:lnTo>
                    <a:pt x="39" y="189"/>
                  </a:lnTo>
                  <a:lnTo>
                    <a:pt x="0" y="189"/>
                  </a:lnTo>
                  <a:lnTo>
                    <a:pt x="0" y="218"/>
                  </a:lnTo>
                  <a:lnTo>
                    <a:pt x="41" y="259"/>
                  </a:lnTo>
                  <a:lnTo>
                    <a:pt x="41" y="293"/>
                  </a:lnTo>
                  <a:lnTo>
                    <a:pt x="12" y="319"/>
                  </a:lnTo>
                  <a:lnTo>
                    <a:pt x="12" y="346"/>
                  </a:lnTo>
                  <a:lnTo>
                    <a:pt x="12" y="382"/>
                  </a:lnTo>
                  <a:lnTo>
                    <a:pt x="48" y="417"/>
                  </a:lnTo>
                  <a:lnTo>
                    <a:pt x="110" y="417"/>
                  </a:lnTo>
                  <a:lnTo>
                    <a:pt x="148" y="37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Freeform 393">
              <a:extLst>
                <a:ext uri="{FF2B5EF4-FFF2-40B4-BE49-F238E27FC236}">
                  <a16:creationId xmlns:a16="http://schemas.microsoft.com/office/drawing/2014/main" id="{E6F8BC33-29EF-4A04-A83B-74F2DAD95AAB}"/>
                </a:ext>
              </a:extLst>
            </p:cNvPr>
            <p:cNvSpPr>
              <a:spLocks/>
            </p:cNvSpPr>
            <p:nvPr/>
          </p:nvSpPr>
          <p:spPr bwMode="auto">
            <a:xfrm>
              <a:off x="4249738" y="3473450"/>
              <a:ext cx="157163" cy="98425"/>
            </a:xfrm>
            <a:custGeom>
              <a:avLst/>
              <a:gdLst>
                <a:gd name="T0" fmla="*/ 184 w 198"/>
                <a:gd name="T1" fmla="*/ 98 h 123"/>
                <a:gd name="T2" fmla="*/ 198 w 198"/>
                <a:gd name="T3" fmla="*/ 83 h 123"/>
                <a:gd name="T4" fmla="*/ 177 w 198"/>
                <a:gd name="T5" fmla="*/ 62 h 123"/>
                <a:gd name="T6" fmla="*/ 177 w 198"/>
                <a:gd name="T7" fmla="*/ 37 h 123"/>
                <a:gd name="T8" fmla="*/ 125 w 198"/>
                <a:gd name="T9" fmla="*/ 0 h 123"/>
                <a:gd name="T10" fmla="*/ 107 w 198"/>
                <a:gd name="T11" fmla="*/ 17 h 123"/>
                <a:gd name="T12" fmla="*/ 64 w 198"/>
                <a:gd name="T13" fmla="*/ 17 h 123"/>
                <a:gd name="T14" fmla="*/ 38 w 198"/>
                <a:gd name="T15" fmla="*/ 44 h 123"/>
                <a:gd name="T16" fmla="*/ 38 w 198"/>
                <a:gd name="T17" fmla="*/ 69 h 123"/>
                <a:gd name="T18" fmla="*/ 16 w 198"/>
                <a:gd name="T19" fmla="*/ 92 h 123"/>
                <a:gd name="T20" fmla="*/ 0 w 198"/>
                <a:gd name="T21" fmla="*/ 107 h 123"/>
                <a:gd name="T22" fmla="*/ 0 w 198"/>
                <a:gd name="T23" fmla="*/ 123 h 123"/>
                <a:gd name="T24" fmla="*/ 57 w 198"/>
                <a:gd name="T25" fmla="*/ 123 h 123"/>
                <a:gd name="T26" fmla="*/ 82 w 198"/>
                <a:gd name="T27" fmla="*/ 98 h 123"/>
                <a:gd name="T28" fmla="*/ 184 w 198"/>
                <a:gd name="T29"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23">
                  <a:moveTo>
                    <a:pt x="184" y="98"/>
                  </a:moveTo>
                  <a:lnTo>
                    <a:pt x="198" y="83"/>
                  </a:lnTo>
                  <a:lnTo>
                    <a:pt x="177" y="62"/>
                  </a:lnTo>
                  <a:lnTo>
                    <a:pt x="177" y="37"/>
                  </a:lnTo>
                  <a:lnTo>
                    <a:pt x="125" y="0"/>
                  </a:lnTo>
                  <a:lnTo>
                    <a:pt x="107" y="17"/>
                  </a:lnTo>
                  <a:lnTo>
                    <a:pt x="64" y="17"/>
                  </a:lnTo>
                  <a:lnTo>
                    <a:pt x="38" y="44"/>
                  </a:lnTo>
                  <a:lnTo>
                    <a:pt x="38" y="69"/>
                  </a:lnTo>
                  <a:lnTo>
                    <a:pt x="16" y="92"/>
                  </a:lnTo>
                  <a:lnTo>
                    <a:pt x="0" y="107"/>
                  </a:lnTo>
                  <a:lnTo>
                    <a:pt x="0" y="123"/>
                  </a:lnTo>
                  <a:lnTo>
                    <a:pt x="57" y="123"/>
                  </a:lnTo>
                  <a:lnTo>
                    <a:pt x="82" y="98"/>
                  </a:lnTo>
                  <a:lnTo>
                    <a:pt x="184" y="9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7" name="Freeform 394">
              <a:extLst>
                <a:ext uri="{FF2B5EF4-FFF2-40B4-BE49-F238E27FC236}">
                  <a16:creationId xmlns:a16="http://schemas.microsoft.com/office/drawing/2014/main" id="{64DFF80C-4339-4E48-9721-A9F47E3DA92E}"/>
                </a:ext>
              </a:extLst>
            </p:cNvPr>
            <p:cNvSpPr>
              <a:spLocks/>
            </p:cNvSpPr>
            <p:nvPr/>
          </p:nvSpPr>
          <p:spPr bwMode="auto">
            <a:xfrm>
              <a:off x="4002088" y="3436938"/>
              <a:ext cx="114300" cy="103188"/>
            </a:xfrm>
            <a:custGeom>
              <a:avLst/>
              <a:gdLst>
                <a:gd name="T0" fmla="*/ 119 w 143"/>
                <a:gd name="T1" fmla="*/ 43 h 130"/>
                <a:gd name="T2" fmla="*/ 77 w 143"/>
                <a:gd name="T3" fmla="*/ 0 h 130"/>
                <a:gd name="T4" fmla="*/ 29 w 143"/>
                <a:gd name="T5" fmla="*/ 0 h 130"/>
                <a:gd name="T6" fmla="*/ 29 w 143"/>
                <a:gd name="T7" fmla="*/ 22 h 130"/>
                <a:gd name="T8" fmla="*/ 0 w 143"/>
                <a:gd name="T9" fmla="*/ 48 h 130"/>
                <a:gd name="T10" fmla="*/ 0 w 143"/>
                <a:gd name="T11" fmla="*/ 59 h 130"/>
                <a:gd name="T12" fmla="*/ 86 w 143"/>
                <a:gd name="T13" fmla="*/ 59 h 130"/>
                <a:gd name="T14" fmla="*/ 86 w 143"/>
                <a:gd name="T15" fmla="*/ 75 h 130"/>
                <a:gd name="T16" fmla="*/ 0 w 143"/>
                <a:gd name="T17" fmla="*/ 75 h 130"/>
                <a:gd name="T18" fmla="*/ 0 w 143"/>
                <a:gd name="T19" fmla="*/ 105 h 130"/>
                <a:gd name="T20" fmla="*/ 25 w 143"/>
                <a:gd name="T21" fmla="*/ 130 h 130"/>
                <a:gd name="T22" fmla="*/ 50 w 143"/>
                <a:gd name="T23" fmla="*/ 105 h 130"/>
                <a:gd name="T24" fmla="*/ 75 w 143"/>
                <a:gd name="T25" fmla="*/ 105 h 130"/>
                <a:gd name="T26" fmla="*/ 87 w 143"/>
                <a:gd name="T27" fmla="*/ 91 h 130"/>
                <a:gd name="T28" fmla="*/ 105 w 143"/>
                <a:gd name="T29" fmla="*/ 109 h 130"/>
                <a:gd name="T30" fmla="*/ 143 w 143"/>
                <a:gd name="T31" fmla="*/ 109 h 130"/>
                <a:gd name="T32" fmla="*/ 143 w 143"/>
                <a:gd name="T33" fmla="*/ 43 h 130"/>
                <a:gd name="T34" fmla="*/ 119 w 143"/>
                <a:gd name="T35" fmla="*/ 4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130">
                  <a:moveTo>
                    <a:pt x="119" y="43"/>
                  </a:moveTo>
                  <a:lnTo>
                    <a:pt x="77" y="0"/>
                  </a:lnTo>
                  <a:lnTo>
                    <a:pt x="29" y="0"/>
                  </a:lnTo>
                  <a:lnTo>
                    <a:pt x="29" y="22"/>
                  </a:lnTo>
                  <a:lnTo>
                    <a:pt x="0" y="48"/>
                  </a:lnTo>
                  <a:lnTo>
                    <a:pt x="0" y="59"/>
                  </a:lnTo>
                  <a:lnTo>
                    <a:pt x="86" y="59"/>
                  </a:lnTo>
                  <a:lnTo>
                    <a:pt x="86" y="75"/>
                  </a:lnTo>
                  <a:lnTo>
                    <a:pt x="0" y="75"/>
                  </a:lnTo>
                  <a:lnTo>
                    <a:pt x="0" y="105"/>
                  </a:lnTo>
                  <a:lnTo>
                    <a:pt x="25" y="130"/>
                  </a:lnTo>
                  <a:lnTo>
                    <a:pt x="50" y="105"/>
                  </a:lnTo>
                  <a:lnTo>
                    <a:pt x="75" y="105"/>
                  </a:lnTo>
                  <a:lnTo>
                    <a:pt x="87" y="91"/>
                  </a:lnTo>
                  <a:lnTo>
                    <a:pt x="105" y="109"/>
                  </a:lnTo>
                  <a:lnTo>
                    <a:pt x="143" y="109"/>
                  </a:lnTo>
                  <a:lnTo>
                    <a:pt x="143" y="43"/>
                  </a:lnTo>
                  <a:lnTo>
                    <a:pt x="119" y="4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8" name="Rectangle 395">
              <a:extLst>
                <a:ext uri="{FF2B5EF4-FFF2-40B4-BE49-F238E27FC236}">
                  <a16:creationId xmlns:a16="http://schemas.microsoft.com/office/drawing/2014/main" id="{623E4600-2E93-4CD9-97E0-8E2770033CD6}"/>
                </a:ext>
              </a:extLst>
            </p:cNvPr>
            <p:cNvSpPr>
              <a:spLocks noChangeArrowheads="1"/>
            </p:cNvSpPr>
            <p:nvPr/>
          </p:nvSpPr>
          <p:spPr bwMode="auto">
            <a:xfrm>
              <a:off x="4002088" y="3484563"/>
              <a:ext cx="1588" cy="12700"/>
            </a:xfrm>
            <a:prstGeom prst="rect">
              <a:avLst/>
            </a:prstGeom>
            <a:solidFill>
              <a:schemeClr val="bg1"/>
            </a:solidFill>
            <a:ln w="1588">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79" name="Rectangle 396">
              <a:extLst>
                <a:ext uri="{FF2B5EF4-FFF2-40B4-BE49-F238E27FC236}">
                  <a16:creationId xmlns:a16="http://schemas.microsoft.com/office/drawing/2014/main" id="{E4BDA86B-8FA1-4420-94A3-D497678B13D1}"/>
                </a:ext>
              </a:extLst>
            </p:cNvPr>
            <p:cNvSpPr>
              <a:spLocks noChangeArrowheads="1"/>
            </p:cNvSpPr>
            <p:nvPr/>
          </p:nvSpPr>
          <p:spPr bwMode="auto">
            <a:xfrm>
              <a:off x="4002088" y="3484563"/>
              <a:ext cx="68263" cy="12700"/>
            </a:xfrm>
            <a:prstGeom prst="rect">
              <a:avLst/>
            </a:prstGeom>
            <a:solidFill>
              <a:schemeClr val="bg1"/>
            </a:solidFill>
            <a:ln w="1588">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0" name="Freeform 397">
              <a:extLst>
                <a:ext uri="{FF2B5EF4-FFF2-40B4-BE49-F238E27FC236}">
                  <a16:creationId xmlns:a16="http://schemas.microsoft.com/office/drawing/2014/main" id="{9992A876-A1F7-4A0C-B788-4D9F5E101F88}"/>
                </a:ext>
              </a:extLst>
            </p:cNvPr>
            <p:cNvSpPr>
              <a:spLocks/>
            </p:cNvSpPr>
            <p:nvPr/>
          </p:nvSpPr>
          <p:spPr bwMode="auto">
            <a:xfrm>
              <a:off x="4929188" y="3559175"/>
              <a:ext cx="26988" cy="22225"/>
            </a:xfrm>
            <a:custGeom>
              <a:avLst/>
              <a:gdLst>
                <a:gd name="T0" fmla="*/ 0 w 36"/>
                <a:gd name="T1" fmla="*/ 0 h 28"/>
                <a:gd name="T2" fmla="*/ 0 w 36"/>
                <a:gd name="T3" fmla="*/ 14 h 28"/>
                <a:gd name="T4" fmla="*/ 0 w 36"/>
                <a:gd name="T5" fmla="*/ 28 h 28"/>
                <a:gd name="T6" fmla="*/ 22 w 36"/>
                <a:gd name="T7" fmla="*/ 28 h 28"/>
                <a:gd name="T8" fmla="*/ 36 w 36"/>
                <a:gd name="T9" fmla="*/ 14 h 28"/>
                <a:gd name="T10" fmla="*/ 36 w 36"/>
                <a:gd name="T11" fmla="*/ 14 h 28"/>
                <a:gd name="T12" fmla="*/ 36 w 36"/>
                <a:gd name="T13" fmla="*/ 0 h 28"/>
                <a:gd name="T14" fmla="*/ 0 w 36"/>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8">
                  <a:moveTo>
                    <a:pt x="0" y="0"/>
                  </a:moveTo>
                  <a:lnTo>
                    <a:pt x="0" y="14"/>
                  </a:lnTo>
                  <a:lnTo>
                    <a:pt x="0" y="28"/>
                  </a:lnTo>
                  <a:lnTo>
                    <a:pt x="22" y="28"/>
                  </a:lnTo>
                  <a:lnTo>
                    <a:pt x="36" y="14"/>
                  </a:lnTo>
                  <a:lnTo>
                    <a:pt x="36" y="14"/>
                  </a:lnTo>
                  <a:lnTo>
                    <a:pt x="36" y="0"/>
                  </a:lnTo>
                  <a:lnTo>
                    <a:pt x="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1" name="Freeform 398">
              <a:extLst>
                <a:ext uri="{FF2B5EF4-FFF2-40B4-BE49-F238E27FC236}">
                  <a16:creationId xmlns:a16="http://schemas.microsoft.com/office/drawing/2014/main" id="{7C235747-3350-4881-87DE-EE40D1BBD179}"/>
                </a:ext>
              </a:extLst>
            </p:cNvPr>
            <p:cNvSpPr>
              <a:spLocks/>
            </p:cNvSpPr>
            <p:nvPr/>
          </p:nvSpPr>
          <p:spPr bwMode="auto">
            <a:xfrm>
              <a:off x="4929188" y="3559175"/>
              <a:ext cx="26988" cy="22225"/>
            </a:xfrm>
            <a:custGeom>
              <a:avLst/>
              <a:gdLst>
                <a:gd name="T0" fmla="*/ 22 w 36"/>
                <a:gd name="T1" fmla="*/ 28 h 28"/>
                <a:gd name="T2" fmla="*/ 36 w 36"/>
                <a:gd name="T3" fmla="*/ 14 h 28"/>
                <a:gd name="T4" fmla="*/ 36 w 36"/>
                <a:gd name="T5" fmla="*/ 14 h 28"/>
                <a:gd name="T6" fmla="*/ 36 w 36"/>
                <a:gd name="T7" fmla="*/ 0 h 28"/>
                <a:gd name="T8" fmla="*/ 0 w 36"/>
                <a:gd name="T9" fmla="*/ 0 h 28"/>
                <a:gd name="T10" fmla="*/ 0 w 36"/>
                <a:gd name="T11" fmla="*/ 14 h 28"/>
                <a:gd name="T12" fmla="*/ 0 w 36"/>
                <a:gd name="T13" fmla="*/ 28 h 28"/>
                <a:gd name="T14" fmla="*/ 22 w 3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8">
                  <a:moveTo>
                    <a:pt x="22" y="28"/>
                  </a:moveTo>
                  <a:lnTo>
                    <a:pt x="36" y="14"/>
                  </a:lnTo>
                  <a:lnTo>
                    <a:pt x="36" y="14"/>
                  </a:lnTo>
                  <a:lnTo>
                    <a:pt x="36" y="0"/>
                  </a:lnTo>
                  <a:lnTo>
                    <a:pt x="0" y="0"/>
                  </a:lnTo>
                  <a:lnTo>
                    <a:pt x="0" y="14"/>
                  </a:lnTo>
                  <a:lnTo>
                    <a:pt x="0" y="28"/>
                  </a:lnTo>
                  <a:lnTo>
                    <a:pt x="22" y="2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Freeform 399">
              <a:extLst>
                <a:ext uri="{FF2B5EF4-FFF2-40B4-BE49-F238E27FC236}">
                  <a16:creationId xmlns:a16="http://schemas.microsoft.com/office/drawing/2014/main" id="{D81AF6F4-3715-49BE-AF85-0571C9D49DCA}"/>
                </a:ext>
              </a:extLst>
            </p:cNvPr>
            <p:cNvSpPr>
              <a:spLocks/>
            </p:cNvSpPr>
            <p:nvPr/>
          </p:nvSpPr>
          <p:spPr bwMode="auto">
            <a:xfrm>
              <a:off x="4656138" y="3557588"/>
              <a:ext cx="261938" cy="168275"/>
            </a:xfrm>
            <a:custGeom>
              <a:avLst/>
              <a:gdLst>
                <a:gd name="T0" fmla="*/ 237 w 332"/>
                <a:gd name="T1" fmla="*/ 19 h 212"/>
                <a:gd name="T2" fmla="*/ 218 w 332"/>
                <a:gd name="T3" fmla="*/ 0 h 212"/>
                <a:gd name="T4" fmla="*/ 194 w 332"/>
                <a:gd name="T5" fmla="*/ 0 h 212"/>
                <a:gd name="T6" fmla="*/ 194 w 332"/>
                <a:gd name="T7" fmla="*/ 28 h 212"/>
                <a:gd name="T8" fmla="*/ 169 w 332"/>
                <a:gd name="T9" fmla="*/ 53 h 212"/>
                <a:gd name="T10" fmla="*/ 134 w 332"/>
                <a:gd name="T11" fmla="*/ 53 h 212"/>
                <a:gd name="T12" fmla="*/ 96 w 332"/>
                <a:gd name="T13" fmla="*/ 92 h 212"/>
                <a:gd name="T14" fmla="*/ 34 w 332"/>
                <a:gd name="T15" fmla="*/ 92 h 212"/>
                <a:gd name="T16" fmla="*/ 0 w 332"/>
                <a:gd name="T17" fmla="*/ 126 h 212"/>
                <a:gd name="T18" fmla="*/ 0 w 332"/>
                <a:gd name="T19" fmla="*/ 169 h 212"/>
                <a:gd name="T20" fmla="*/ 13 w 332"/>
                <a:gd name="T21" fmla="*/ 183 h 212"/>
                <a:gd name="T22" fmla="*/ 30 w 332"/>
                <a:gd name="T23" fmla="*/ 199 h 212"/>
                <a:gd name="T24" fmla="*/ 61 w 332"/>
                <a:gd name="T25" fmla="*/ 169 h 212"/>
                <a:gd name="T26" fmla="*/ 114 w 332"/>
                <a:gd name="T27" fmla="*/ 212 h 212"/>
                <a:gd name="T28" fmla="*/ 123 w 332"/>
                <a:gd name="T29" fmla="*/ 203 h 212"/>
                <a:gd name="T30" fmla="*/ 157 w 332"/>
                <a:gd name="T31" fmla="*/ 169 h 212"/>
                <a:gd name="T32" fmla="*/ 175 w 332"/>
                <a:gd name="T33" fmla="*/ 187 h 212"/>
                <a:gd name="T34" fmla="*/ 191 w 332"/>
                <a:gd name="T35" fmla="*/ 171 h 212"/>
                <a:gd name="T36" fmla="*/ 216 w 332"/>
                <a:gd name="T37" fmla="*/ 171 h 212"/>
                <a:gd name="T38" fmla="*/ 234 w 332"/>
                <a:gd name="T39" fmla="*/ 155 h 212"/>
                <a:gd name="T40" fmla="*/ 300 w 332"/>
                <a:gd name="T41" fmla="*/ 155 h 212"/>
                <a:gd name="T42" fmla="*/ 332 w 332"/>
                <a:gd name="T43" fmla="*/ 149 h 212"/>
                <a:gd name="T44" fmla="*/ 237 w 332"/>
                <a:gd name="T45" fmla="*/ 57 h 212"/>
                <a:gd name="T46" fmla="*/ 237 w 332"/>
                <a:gd name="T47" fmla="*/ 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212">
                  <a:moveTo>
                    <a:pt x="237" y="19"/>
                  </a:moveTo>
                  <a:lnTo>
                    <a:pt x="218" y="0"/>
                  </a:lnTo>
                  <a:lnTo>
                    <a:pt x="194" y="0"/>
                  </a:lnTo>
                  <a:lnTo>
                    <a:pt x="194" y="28"/>
                  </a:lnTo>
                  <a:lnTo>
                    <a:pt x="169" y="53"/>
                  </a:lnTo>
                  <a:lnTo>
                    <a:pt x="134" y="53"/>
                  </a:lnTo>
                  <a:lnTo>
                    <a:pt x="96" y="92"/>
                  </a:lnTo>
                  <a:lnTo>
                    <a:pt x="34" y="92"/>
                  </a:lnTo>
                  <a:lnTo>
                    <a:pt x="0" y="126"/>
                  </a:lnTo>
                  <a:lnTo>
                    <a:pt x="0" y="169"/>
                  </a:lnTo>
                  <a:lnTo>
                    <a:pt x="13" y="183"/>
                  </a:lnTo>
                  <a:lnTo>
                    <a:pt x="30" y="199"/>
                  </a:lnTo>
                  <a:lnTo>
                    <a:pt x="61" y="169"/>
                  </a:lnTo>
                  <a:lnTo>
                    <a:pt x="114" y="212"/>
                  </a:lnTo>
                  <a:lnTo>
                    <a:pt x="123" y="203"/>
                  </a:lnTo>
                  <a:lnTo>
                    <a:pt x="157" y="169"/>
                  </a:lnTo>
                  <a:lnTo>
                    <a:pt x="175" y="187"/>
                  </a:lnTo>
                  <a:lnTo>
                    <a:pt x="191" y="171"/>
                  </a:lnTo>
                  <a:lnTo>
                    <a:pt x="216" y="171"/>
                  </a:lnTo>
                  <a:lnTo>
                    <a:pt x="234" y="155"/>
                  </a:lnTo>
                  <a:lnTo>
                    <a:pt x="300" y="155"/>
                  </a:lnTo>
                  <a:lnTo>
                    <a:pt x="332" y="149"/>
                  </a:lnTo>
                  <a:lnTo>
                    <a:pt x="237" y="57"/>
                  </a:lnTo>
                  <a:lnTo>
                    <a:pt x="237" y="19"/>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3" name="Freeform 400">
              <a:extLst>
                <a:ext uri="{FF2B5EF4-FFF2-40B4-BE49-F238E27FC236}">
                  <a16:creationId xmlns:a16="http://schemas.microsoft.com/office/drawing/2014/main" id="{BE7D1178-022F-4A7C-B7EF-1AB13A82CF8A}"/>
                </a:ext>
              </a:extLst>
            </p:cNvPr>
            <p:cNvSpPr>
              <a:spLocks/>
            </p:cNvSpPr>
            <p:nvPr/>
          </p:nvSpPr>
          <p:spPr bwMode="auto">
            <a:xfrm>
              <a:off x="4800601" y="3292475"/>
              <a:ext cx="342900" cy="280988"/>
            </a:xfrm>
            <a:custGeom>
              <a:avLst/>
              <a:gdLst>
                <a:gd name="T0" fmla="*/ 413 w 431"/>
                <a:gd name="T1" fmla="*/ 115 h 353"/>
                <a:gd name="T2" fmla="*/ 413 w 431"/>
                <a:gd name="T3" fmla="*/ 56 h 353"/>
                <a:gd name="T4" fmla="*/ 356 w 431"/>
                <a:gd name="T5" fmla="*/ 0 h 353"/>
                <a:gd name="T6" fmla="*/ 314 w 431"/>
                <a:gd name="T7" fmla="*/ 43 h 353"/>
                <a:gd name="T8" fmla="*/ 301 w 431"/>
                <a:gd name="T9" fmla="*/ 29 h 353"/>
                <a:gd name="T10" fmla="*/ 98 w 431"/>
                <a:gd name="T11" fmla="*/ 29 h 353"/>
                <a:gd name="T12" fmla="*/ 98 w 431"/>
                <a:gd name="T13" fmla="*/ 82 h 353"/>
                <a:gd name="T14" fmla="*/ 64 w 431"/>
                <a:gd name="T15" fmla="*/ 82 h 353"/>
                <a:gd name="T16" fmla="*/ 64 w 431"/>
                <a:gd name="T17" fmla="*/ 200 h 353"/>
                <a:gd name="T18" fmla="*/ 37 w 431"/>
                <a:gd name="T19" fmla="*/ 225 h 353"/>
                <a:gd name="T20" fmla="*/ 0 w 431"/>
                <a:gd name="T21" fmla="*/ 264 h 353"/>
                <a:gd name="T22" fmla="*/ 34 w 431"/>
                <a:gd name="T23" fmla="*/ 296 h 353"/>
                <a:gd name="T24" fmla="*/ 34 w 431"/>
                <a:gd name="T25" fmla="*/ 334 h 353"/>
                <a:gd name="T26" fmla="*/ 53 w 431"/>
                <a:gd name="T27" fmla="*/ 353 h 353"/>
                <a:gd name="T28" fmla="*/ 62 w 431"/>
                <a:gd name="T29" fmla="*/ 353 h 353"/>
                <a:gd name="T30" fmla="*/ 82 w 431"/>
                <a:gd name="T31" fmla="*/ 334 h 353"/>
                <a:gd name="T32" fmla="*/ 112 w 431"/>
                <a:gd name="T33" fmla="*/ 334 h 353"/>
                <a:gd name="T34" fmla="*/ 126 w 431"/>
                <a:gd name="T35" fmla="*/ 350 h 353"/>
                <a:gd name="T36" fmla="*/ 160 w 431"/>
                <a:gd name="T37" fmla="*/ 350 h 353"/>
                <a:gd name="T38" fmla="*/ 160 w 431"/>
                <a:gd name="T39" fmla="*/ 336 h 353"/>
                <a:gd name="T40" fmla="*/ 196 w 431"/>
                <a:gd name="T41" fmla="*/ 336 h 353"/>
                <a:gd name="T42" fmla="*/ 196 w 431"/>
                <a:gd name="T43" fmla="*/ 350 h 353"/>
                <a:gd name="T44" fmla="*/ 253 w 431"/>
                <a:gd name="T45" fmla="*/ 350 h 353"/>
                <a:gd name="T46" fmla="*/ 278 w 431"/>
                <a:gd name="T47" fmla="*/ 325 h 353"/>
                <a:gd name="T48" fmla="*/ 278 w 431"/>
                <a:gd name="T49" fmla="*/ 291 h 353"/>
                <a:gd name="T50" fmla="*/ 299 w 431"/>
                <a:gd name="T51" fmla="*/ 291 h 353"/>
                <a:gd name="T52" fmla="*/ 299 w 431"/>
                <a:gd name="T53" fmla="*/ 314 h 353"/>
                <a:gd name="T54" fmla="*/ 324 w 431"/>
                <a:gd name="T55" fmla="*/ 341 h 353"/>
                <a:gd name="T56" fmla="*/ 324 w 431"/>
                <a:gd name="T57" fmla="*/ 339 h 353"/>
                <a:gd name="T58" fmla="*/ 378 w 431"/>
                <a:gd name="T59" fmla="*/ 286 h 353"/>
                <a:gd name="T60" fmla="*/ 388 w 431"/>
                <a:gd name="T61" fmla="*/ 275 h 353"/>
                <a:gd name="T62" fmla="*/ 387 w 431"/>
                <a:gd name="T63" fmla="*/ 236 h 353"/>
                <a:gd name="T64" fmla="*/ 387 w 431"/>
                <a:gd name="T65" fmla="*/ 173 h 353"/>
                <a:gd name="T66" fmla="*/ 406 w 431"/>
                <a:gd name="T67" fmla="*/ 154 h 353"/>
                <a:gd name="T68" fmla="*/ 431 w 431"/>
                <a:gd name="T69" fmla="*/ 154 h 353"/>
                <a:gd name="T70" fmla="*/ 431 w 431"/>
                <a:gd name="T71" fmla="*/ 134 h 353"/>
                <a:gd name="T72" fmla="*/ 413 w 431"/>
                <a:gd name="T73" fmla="*/ 11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1" h="353">
                  <a:moveTo>
                    <a:pt x="413" y="115"/>
                  </a:moveTo>
                  <a:lnTo>
                    <a:pt x="413" y="56"/>
                  </a:lnTo>
                  <a:lnTo>
                    <a:pt x="356" y="0"/>
                  </a:lnTo>
                  <a:lnTo>
                    <a:pt x="314" y="43"/>
                  </a:lnTo>
                  <a:lnTo>
                    <a:pt x="301" y="29"/>
                  </a:lnTo>
                  <a:lnTo>
                    <a:pt x="98" y="29"/>
                  </a:lnTo>
                  <a:lnTo>
                    <a:pt x="98" y="82"/>
                  </a:lnTo>
                  <a:lnTo>
                    <a:pt x="64" y="82"/>
                  </a:lnTo>
                  <a:lnTo>
                    <a:pt x="64" y="200"/>
                  </a:lnTo>
                  <a:lnTo>
                    <a:pt x="37" y="225"/>
                  </a:lnTo>
                  <a:lnTo>
                    <a:pt x="0" y="264"/>
                  </a:lnTo>
                  <a:lnTo>
                    <a:pt x="34" y="296"/>
                  </a:lnTo>
                  <a:lnTo>
                    <a:pt x="34" y="334"/>
                  </a:lnTo>
                  <a:lnTo>
                    <a:pt x="53" y="353"/>
                  </a:lnTo>
                  <a:lnTo>
                    <a:pt x="62" y="353"/>
                  </a:lnTo>
                  <a:lnTo>
                    <a:pt x="82" y="334"/>
                  </a:lnTo>
                  <a:lnTo>
                    <a:pt x="112" y="334"/>
                  </a:lnTo>
                  <a:lnTo>
                    <a:pt x="126" y="350"/>
                  </a:lnTo>
                  <a:lnTo>
                    <a:pt x="160" y="350"/>
                  </a:lnTo>
                  <a:lnTo>
                    <a:pt x="160" y="336"/>
                  </a:lnTo>
                  <a:lnTo>
                    <a:pt x="196" y="336"/>
                  </a:lnTo>
                  <a:lnTo>
                    <a:pt x="196" y="350"/>
                  </a:lnTo>
                  <a:lnTo>
                    <a:pt x="253" y="350"/>
                  </a:lnTo>
                  <a:lnTo>
                    <a:pt x="278" y="325"/>
                  </a:lnTo>
                  <a:lnTo>
                    <a:pt x="278" y="291"/>
                  </a:lnTo>
                  <a:lnTo>
                    <a:pt x="299" y="291"/>
                  </a:lnTo>
                  <a:lnTo>
                    <a:pt x="299" y="314"/>
                  </a:lnTo>
                  <a:lnTo>
                    <a:pt x="324" y="341"/>
                  </a:lnTo>
                  <a:lnTo>
                    <a:pt x="324" y="339"/>
                  </a:lnTo>
                  <a:lnTo>
                    <a:pt x="378" y="286"/>
                  </a:lnTo>
                  <a:lnTo>
                    <a:pt x="388" y="275"/>
                  </a:lnTo>
                  <a:lnTo>
                    <a:pt x="387" y="236"/>
                  </a:lnTo>
                  <a:lnTo>
                    <a:pt x="387" y="173"/>
                  </a:lnTo>
                  <a:lnTo>
                    <a:pt x="406" y="154"/>
                  </a:lnTo>
                  <a:lnTo>
                    <a:pt x="431" y="154"/>
                  </a:lnTo>
                  <a:lnTo>
                    <a:pt x="431" y="134"/>
                  </a:lnTo>
                  <a:lnTo>
                    <a:pt x="413" y="11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4" name="Freeform 401">
              <a:extLst>
                <a:ext uri="{FF2B5EF4-FFF2-40B4-BE49-F238E27FC236}">
                  <a16:creationId xmlns:a16="http://schemas.microsoft.com/office/drawing/2014/main" id="{E618D470-76BE-41AB-AE16-50B2BD728270}"/>
                </a:ext>
              </a:extLst>
            </p:cNvPr>
            <p:cNvSpPr>
              <a:spLocks/>
            </p:cNvSpPr>
            <p:nvPr/>
          </p:nvSpPr>
          <p:spPr bwMode="auto">
            <a:xfrm>
              <a:off x="4054476" y="3509963"/>
              <a:ext cx="152400" cy="114300"/>
            </a:xfrm>
            <a:custGeom>
              <a:avLst/>
              <a:gdLst>
                <a:gd name="T0" fmla="*/ 175 w 193"/>
                <a:gd name="T1" fmla="*/ 52 h 145"/>
                <a:gd name="T2" fmla="*/ 161 w 193"/>
                <a:gd name="T3" fmla="*/ 38 h 145"/>
                <a:gd name="T4" fmla="*/ 139 w 193"/>
                <a:gd name="T5" fmla="*/ 18 h 145"/>
                <a:gd name="T6" fmla="*/ 96 w 193"/>
                <a:gd name="T7" fmla="*/ 18 h 145"/>
                <a:gd name="T8" fmla="*/ 79 w 193"/>
                <a:gd name="T9" fmla="*/ 18 h 145"/>
                <a:gd name="T10" fmla="*/ 41 w 193"/>
                <a:gd name="T11" fmla="*/ 18 h 145"/>
                <a:gd name="T12" fmla="*/ 23 w 193"/>
                <a:gd name="T13" fmla="*/ 0 h 145"/>
                <a:gd name="T14" fmla="*/ 23 w 193"/>
                <a:gd name="T15" fmla="*/ 41 h 145"/>
                <a:gd name="T16" fmla="*/ 0 w 193"/>
                <a:gd name="T17" fmla="*/ 64 h 145"/>
                <a:gd name="T18" fmla="*/ 41 w 193"/>
                <a:gd name="T19" fmla="*/ 104 h 145"/>
                <a:gd name="T20" fmla="*/ 68 w 193"/>
                <a:gd name="T21" fmla="*/ 75 h 145"/>
                <a:gd name="T22" fmla="*/ 96 w 193"/>
                <a:gd name="T23" fmla="*/ 75 h 145"/>
                <a:gd name="T24" fmla="*/ 134 w 193"/>
                <a:gd name="T25" fmla="*/ 112 h 145"/>
                <a:gd name="T26" fmla="*/ 166 w 193"/>
                <a:gd name="T27" fmla="*/ 145 h 145"/>
                <a:gd name="T28" fmla="*/ 193 w 193"/>
                <a:gd name="T29" fmla="*/ 145 h 145"/>
                <a:gd name="T30" fmla="*/ 193 w 193"/>
                <a:gd name="T31" fmla="*/ 75 h 145"/>
                <a:gd name="T32" fmla="*/ 193 w 193"/>
                <a:gd name="T33" fmla="*/ 52 h 145"/>
                <a:gd name="T34" fmla="*/ 175 w 193"/>
                <a:gd name="T35" fmla="*/ 5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45">
                  <a:moveTo>
                    <a:pt x="175" y="52"/>
                  </a:moveTo>
                  <a:lnTo>
                    <a:pt x="161" y="38"/>
                  </a:lnTo>
                  <a:lnTo>
                    <a:pt x="139" y="18"/>
                  </a:lnTo>
                  <a:lnTo>
                    <a:pt x="96" y="18"/>
                  </a:lnTo>
                  <a:lnTo>
                    <a:pt x="79" y="18"/>
                  </a:lnTo>
                  <a:lnTo>
                    <a:pt x="41" y="18"/>
                  </a:lnTo>
                  <a:lnTo>
                    <a:pt x="23" y="0"/>
                  </a:lnTo>
                  <a:lnTo>
                    <a:pt x="23" y="41"/>
                  </a:lnTo>
                  <a:lnTo>
                    <a:pt x="0" y="64"/>
                  </a:lnTo>
                  <a:lnTo>
                    <a:pt x="41" y="104"/>
                  </a:lnTo>
                  <a:lnTo>
                    <a:pt x="68" y="75"/>
                  </a:lnTo>
                  <a:lnTo>
                    <a:pt x="96" y="75"/>
                  </a:lnTo>
                  <a:lnTo>
                    <a:pt x="134" y="112"/>
                  </a:lnTo>
                  <a:lnTo>
                    <a:pt x="166" y="145"/>
                  </a:lnTo>
                  <a:lnTo>
                    <a:pt x="193" y="145"/>
                  </a:lnTo>
                  <a:lnTo>
                    <a:pt x="193" y="75"/>
                  </a:lnTo>
                  <a:lnTo>
                    <a:pt x="193" y="52"/>
                  </a:lnTo>
                  <a:lnTo>
                    <a:pt x="175" y="52"/>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5" name="Freeform 402">
              <a:extLst>
                <a:ext uri="{FF2B5EF4-FFF2-40B4-BE49-F238E27FC236}">
                  <a16:creationId xmlns:a16="http://schemas.microsoft.com/office/drawing/2014/main" id="{B0FDA766-E3B1-4892-92CB-3EF2B62C7A3E}"/>
                </a:ext>
              </a:extLst>
            </p:cNvPr>
            <p:cNvSpPr>
              <a:spLocks/>
            </p:cNvSpPr>
            <p:nvPr/>
          </p:nvSpPr>
          <p:spPr bwMode="auto">
            <a:xfrm>
              <a:off x="4022726" y="3509963"/>
              <a:ext cx="49213" cy="50800"/>
            </a:xfrm>
            <a:custGeom>
              <a:avLst/>
              <a:gdLst>
                <a:gd name="T0" fmla="*/ 62 w 62"/>
                <a:gd name="T1" fmla="*/ 0 h 64"/>
                <a:gd name="T2" fmla="*/ 50 w 62"/>
                <a:gd name="T3" fmla="*/ 14 h 64"/>
                <a:gd name="T4" fmla="*/ 25 w 62"/>
                <a:gd name="T5" fmla="*/ 14 h 64"/>
                <a:gd name="T6" fmla="*/ 0 w 62"/>
                <a:gd name="T7" fmla="*/ 39 h 64"/>
                <a:gd name="T8" fmla="*/ 9 w 62"/>
                <a:gd name="T9" fmla="*/ 48 h 64"/>
                <a:gd name="T10" fmla="*/ 11 w 62"/>
                <a:gd name="T11" fmla="*/ 48 h 64"/>
                <a:gd name="T12" fmla="*/ 25 w 62"/>
                <a:gd name="T13" fmla="*/ 48 h 64"/>
                <a:gd name="T14" fmla="*/ 39 w 62"/>
                <a:gd name="T15" fmla="*/ 64 h 64"/>
                <a:gd name="T16" fmla="*/ 62 w 62"/>
                <a:gd name="T17" fmla="*/ 41 h 64"/>
                <a:gd name="T18" fmla="*/ 62 w 62"/>
                <a:gd name="T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4">
                  <a:moveTo>
                    <a:pt x="62" y="0"/>
                  </a:moveTo>
                  <a:lnTo>
                    <a:pt x="50" y="14"/>
                  </a:lnTo>
                  <a:lnTo>
                    <a:pt x="25" y="14"/>
                  </a:lnTo>
                  <a:lnTo>
                    <a:pt x="0" y="39"/>
                  </a:lnTo>
                  <a:lnTo>
                    <a:pt x="9" y="48"/>
                  </a:lnTo>
                  <a:lnTo>
                    <a:pt x="11" y="48"/>
                  </a:lnTo>
                  <a:lnTo>
                    <a:pt x="25" y="48"/>
                  </a:lnTo>
                  <a:lnTo>
                    <a:pt x="39" y="64"/>
                  </a:lnTo>
                  <a:lnTo>
                    <a:pt x="62" y="41"/>
                  </a:lnTo>
                  <a:lnTo>
                    <a:pt x="62"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Freeform 403">
              <a:extLst>
                <a:ext uri="{FF2B5EF4-FFF2-40B4-BE49-F238E27FC236}">
                  <a16:creationId xmlns:a16="http://schemas.microsoft.com/office/drawing/2014/main" id="{386D4BF8-6650-442D-B743-778B02FAE057}"/>
                </a:ext>
              </a:extLst>
            </p:cNvPr>
            <p:cNvSpPr>
              <a:spLocks/>
            </p:cNvSpPr>
            <p:nvPr/>
          </p:nvSpPr>
          <p:spPr bwMode="auto">
            <a:xfrm>
              <a:off x="4543426" y="3736975"/>
              <a:ext cx="103188" cy="150813"/>
            </a:xfrm>
            <a:custGeom>
              <a:avLst/>
              <a:gdLst>
                <a:gd name="T0" fmla="*/ 102 w 130"/>
                <a:gd name="T1" fmla="*/ 0 h 189"/>
                <a:gd name="T2" fmla="*/ 63 w 130"/>
                <a:gd name="T3" fmla="*/ 0 h 189"/>
                <a:gd name="T4" fmla="*/ 63 w 130"/>
                <a:gd name="T5" fmla="*/ 25 h 189"/>
                <a:gd name="T6" fmla="*/ 23 w 130"/>
                <a:gd name="T7" fmla="*/ 25 h 189"/>
                <a:gd name="T8" fmla="*/ 23 w 130"/>
                <a:gd name="T9" fmla="*/ 48 h 189"/>
                <a:gd name="T10" fmla="*/ 0 w 130"/>
                <a:gd name="T11" fmla="*/ 71 h 189"/>
                <a:gd name="T12" fmla="*/ 0 w 130"/>
                <a:gd name="T13" fmla="*/ 98 h 189"/>
                <a:gd name="T14" fmla="*/ 64 w 130"/>
                <a:gd name="T15" fmla="*/ 164 h 189"/>
                <a:gd name="T16" fmla="*/ 64 w 130"/>
                <a:gd name="T17" fmla="*/ 189 h 189"/>
                <a:gd name="T18" fmla="*/ 95 w 130"/>
                <a:gd name="T19" fmla="*/ 159 h 189"/>
                <a:gd name="T20" fmla="*/ 68 w 130"/>
                <a:gd name="T21" fmla="*/ 134 h 189"/>
                <a:gd name="T22" fmla="*/ 91 w 130"/>
                <a:gd name="T23" fmla="*/ 111 h 189"/>
                <a:gd name="T24" fmla="*/ 114 w 130"/>
                <a:gd name="T25" fmla="*/ 111 h 189"/>
                <a:gd name="T26" fmla="*/ 130 w 130"/>
                <a:gd name="T27" fmla="*/ 95 h 189"/>
                <a:gd name="T28" fmla="*/ 130 w 130"/>
                <a:gd name="T29" fmla="*/ 29 h 189"/>
                <a:gd name="T30" fmla="*/ 102 w 130"/>
                <a:gd name="T31"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189">
                  <a:moveTo>
                    <a:pt x="102" y="0"/>
                  </a:moveTo>
                  <a:lnTo>
                    <a:pt x="63" y="0"/>
                  </a:lnTo>
                  <a:lnTo>
                    <a:pt x="63" y="25"/>
                  </a:lnTo>
                  <a:lnTo>
                    <a:pt x="23" y="25"/>
                  </a:lnTo>
                  <a:lnTo>
                    <a:pt x="23" y="48"/>
                  </a:lnTo>
                  <a:lnTo>
                    <a:pt x="0" y="71"/>
                  </a:lnTo>
                  <a:lnTo>
                    <a:pt x="0" y="98"/>
                  </a:lnTo>
                  <a:lnTo>
                    <a:pt x="64" y="164"/>
                  </a:lnTo>
                  <a:lnTo>
                    <a:pt x="64" y="189"/>
                  </a:lnTo>
                  <a:lnTo>
                    <a:pt x="95" y="159"/>
                  </a:lnTo>
                  <a:lnTo>
                    <a:pt x="68" y="134"/>
                  </a:lnTo>
                  <a:lnTo>
                    <a:pt x="91" y="111"/>
                  </a:lnTo>
                  <a:lnTo>
                    <a:pt x="114" y="111"/>
                  </a:lnTo>
                  <a:lnTo>
                    <a:pt x="130" y="95"/>
                  </a:lnTo>
                  <a:lnTo>
                    <a:pt x="130" y="29"/>
                  </a:lnTo>
                  <a:lnTo>
                    <a:pt x="102"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7" name="Rectangle 404">
              <a:extLst>
                <a:ext uri="{FF2B5EF4-FFF2-40B4-BE49-F238E27FC236}">
                  <a16:creationId xmlns:a16="http://schemas.microsoft.com/office/drawing/2014/main" id="{6AFB71CC-97DD-4EA6-B247-04331DDF1378}"/>
                </a:ext>
              </a:extLst>
            </p:cNvPr>
            <p:cNvSpPr>
              <a:spLocks noChangeArrowheads="1"/>
            </p:cNvSpPr>
            <p:nvPr/>
          </p:nvSpPr>
          <p:spPr bwMode="auto">
            <a:xfrm>
              <a:off x="4562476" y="3736975"/>
              <a:ext cx="30163" cy="20638"/>
            </a:xfrm>
            <a:prstGeom prst="rect">
              <a:avLst/>
            </a:prstGeom>
            <a:solidFill>
              <a:schemeClr val="bg1"/>
            </a:solidFill>
            <a:ln w="1588">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8" name="Freeform 405">
              <a:extLst>
                <a:ext uri="{FF2B5EF4-FFF2-40B4-BE49-F238E27FC236}">
                  <a16:creationId xmlns:a16="http://schemas.microsoft.com/office/drawing/2014/main" id="{3B31F9E0-F80B-4BCE-B808-00EB1CA4EEF1}"/>
                </a:ext>
              </a:extLst>
            </p:cNvPr>
            <p:cNvSpPr>
              <a:spLocks/>
            </p:cNvSpPr>
            <p:nvPr/>
          </p:nvSpPr>
          <p:spPr bwMode="auto">
            <a:xfrm>
              <a:off x="4965701" y="3986213"/>
              <a:ext cx="231775" cy="366713"/>
            </a:xfrm>
            <a:custGeom>
              <a:avLst/>
              <a:gdLst>
                <a:gd name="T0" fmla="*/ 274 w 292"/>
                <a:gd name="T1" fmla="*/ 0 h 462"/>
                <a:gd name="T2" fmla="*/ 255 w 292"/>
                <a:gd name="T3" fmla="*/ 19 h 462"/>
                <a:gd name="T4" fmla="*/ 212 w 292"/>
                <a:gd name="T5" fmla="*/ 19 h 462"/>
                <a:gd name="T6" fmla="*/ 194 w 292"/>
                <a:gd name="T7" fmla="*/ 37 h 462"/>
                <a:gd name="T8" fmla="*/ 137 w 292"/>
                <a:gd name="T9" fmla="*/ 37 h 462"/>
                <a:gd name="T10" fmla="*/ 123 w 292"/>
                <a:gd name="T11" fmla="*/ 50 h 462"/>
                <a:gd name="T12" fmla="*/ 123 w 292"/>
                <a:gd name="T13" fmla="*/ 94 h 462"/>
                <a:gd name="T14" fmla="*/ 148 w 292"/>
                <a:gd name="T15" fmla="*/ 119 h 462"/>
                <a:gd name="T16" fmla="*/ 148 w 292"/>
                <a:gd name="T17" fmla="*/ 164 h 462"/>
                <a:gd name="T18" fmla="*/ 128 w 292"/>
                <a:gd name="T19" fmla="*/ 183 h 462"/>
                <a:gd name="T20" fmla="*/ 105 w 292"/>
                <a:gd name="T21" fmla="*/ 158 h 462"/>
                <a:gd name="T22" fmla="*/ 105 w 292"/>
                <a:gd name="T23" fmla="*/ 130 h 462"/>
                <a:gd name="T24" fmla="*/ 89 w 292"/>
                <a:gd name="T25" fmla="*/ 114 h 462"/>
                <a:gd name="T26" fmla="*/ 26 w 292"/>
                <a:gd name="T27" fmla="*/ 114 h 462"/>
                <a:gd name="T28" fmla="*/ 0 w 292"/>
                <a:gd name="T29" fmla="*/ 142 h 462"/>
                <a:gd name="T30" fmla="*/ 0 w 292"/>
                <a:gd name="T31" fmla="*/ 155 h 462"/>
                <a:gd name="T32" fmla="*/ 33 w 292"/>
                <a:gd name="T33" fmla="*/ 155 h 462"/>
                <a:gd name="T34" fmla="*/ 67 w 292"/>
                <a:gd name="T35" fmla="*/ 189 h 462"/>
                <a:gd name="T36" fmla="*/ 67 w 292"/>
                <a:gd name="T37" fmla="*/ 278 h 462"/>
                <a:gd name="T38" fmla="*/ 55 w 292"/>
                <a:gd name="T39" fmla="*/ 290 h 462"/>
                <a:gd name="T40" fmla="*/ 55 w 292"/>
                <a:gd name="T41" fmla="*/ 317 h 462"/>
                <a:gd name="T42" fmla="*/ 37 w 292"/>
                <a:gd name="T43" fmla="*/ 333 h 462"/>
                <a:gd name="T44" fmla="*/ 64 w 292"/>
                <a:gd name="T45" fmla="*/ 360 h 462"/>
                <a:gd name="T46" fmla="*/ 64 w 292"/>
                <a:gd name="T47" fmla="*/ 394 h 462"/>
                <a:gd name="T48" fmla="*/ 42 w 292"/>
                <a:gd name="T49" fmla="*/ 413 h 462"/>
                <a:gd name="T50" fmla="*/ 42 w 292"/>
                <a:gd name="T51" fmla="*/ 462 h 462"/>
                <a:gd name="T52" fmla="*/ 76 w 292"/>
                <a:gd name="T53" fmla="*/ 462 h 462"/>
                <a:gd name="T54" fmla="*/ 76 w 292"/>
                <a:gd name="T55" fmla="*/ 442 h 462"/>
                <a:gd name="T56" fmla="*/ 66 w 292"/>
                <a:gd name="T57" fmla="*/ 442 h 462"/>
                <a:gd name="T58" fmla="*/ 117 w 292"/>
                <a:gd name="T59" fmla="*/ 390 h 462"/>
                <a:gd name="T60" fmla="*/ 144 w 292"/>
                <a:gd name="T61" fmla="*/ 390 h 462"/>
                <a:gd name="T62" fmla="*/ 144 w 292"/>
                <a:gd name="T63" fmla="*/ 278 h 462"/>
                <a:gd name="T64" fmla="*/ 132 w 292"/>
                <a:gd name="T65" fmla="*/ 265 h 462"/>
                <a:gd name="T66" fmla="*/ 157 w 292"/>
                <a:gd name="T67" fmla="*/ 240 h 462"/>
                <a:gd name="T68" fmla="*/ 210 w 292"/>
                <a:gd name="T69" fmla="*/ 185 h 462"/>
                <a:gd name="T70" fmla="*/ 246 w 292"/>
                <a:gd name="T71" fmla="*/ 185 h 462"/>
                <a:gd name="T72" fmla="*/ 292 w 292"/>
                <a:gd name="T73" fmla="*/ 141 h 462"/>
                <a:gd name="T74" fmla="*/ 292 w 292"/>
                <a:gd name="T75" fmla="*/ 18 h 462"/>
                <a:gd name="T76" fmla="*/ 274 w 292"/>
                <a:gd name="T77"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2" h="462">
                  <a:moveTo>
                    <a:pt x="274" y="0"/>
                  </a:moveTo>
                  <a:lnTo>
                    <a:pt x="255" y="19"/>
                  </a:lnTo>
                  <a:lnTo>
                    <a:pt x="212" y="19"/>
                  </a:lnTo>
                  <a:lnTo>
                    <a:pt x="194" y="37"/>
                  </a:lnTo>
                  <a:lnTo>
                    <a:pt x="137" y="37"/>
                  </a:lnTo>
                  <a:lnTo>
                    <a:pt x="123" y="50"/>
                  </a:lnTo>
                  <a:lnTo>
                    <a:pt x="123" y="94"/>
                  </a:lnTo>
                  <a:lnTo>
                    <a:pt x="148" y="119"/>
                  </a:lnTo>
                  <a:lnTo>
                    <a:pt x="148" y="164"/>
                  </a:lnTo>
                  <a:lnTo>
                    <a:pt x="128" y="183"/>
                  </a:lnTo>
                  <a:lnTo>
                    <a:pt x="105" y="158"/>
                  </a:lnTo>
                  <a:lnTo>
                    <a:pt x="105" y="130"/>
                  </a:lnTo>
                  <a:lnTo>
                    <a:pt x="89" y="114"/>
                  </a:lnTo>
                  <a:lnTo>
                    <a:pt x="26" y="114"/>
                  </a:lnTo>
                  <a:lnTo>
                    <a:pt x="0" y="142"/>
                  </a:lnTo>
                  <a:lnTo>
                    <a:pt x="0" y="155"/>
                  </a:lnTo>
                  <a:lnTo>
                    <a:pt x="33" y="155"/>
                  </a:lnTo>
                  <a:lnTo>
                    <a:pt x="67" y="189"/>
                  </a:lnTo>
                  <a:lnTo>
                    <a:pt x="67" y="278"/>
                  </a:lnTo>
                  <a:lnTo>
                    <a:pt x="55" y="290"/>
                  </a:lnTo>
                  <a:lnTo>
                    <a:pt x="55" y="317"/>
                  </a:lnTo>
                  <a:lnTo>
                    <a:pt x="37" y="333"/>
                  </a:lnTo>
                  <a:lnTo>
                    <a:pt x="64" y="360"/>
                  </a:lnTo>
                  <a:lnTo>
                    <a:pt x="64" y="394"/>
                  </a:lnTo>
                  <a:lnTo>
                    <a:pt x="42" y="413"/>
                  </a:lnTo>
                  <a:lnTo>
                    <a:pt x="42" y="462"/>
                  </a:lnTo>
                  <a:lnTo>
                    <a:pt x="76" y="462"/>
                  </a:lnTo>
                  <a:lnTo>
                    <a:pt x="76" y="442"/>
                  </a:lnTo>
                  <a:lnTo>
                    <a:pt x="66" y="442"/>
                  </a:lnTo>
                  <a:lnTo>
                    <a:pt x="117" y="390"/>
                  </a:lnTo>
                  <a:lnTo>
                    <a:pt x="144" y="390"/>
                  </a:lnTo>
                  <a:lnTo>
                    <a:pt x="144" y="278"/>
                  </a:lnTo>
                  <a:lnTo>
                    <a:pt x="132" y="265"/>
                  </a:lnTo>
                  <a:lnTo>
                    <a:pt x="157" y="240"/>
                  </a:lnTo>
                  <a:lnTo>
                    <a:pt x="210" y="185"/>
                  </a:lnTo>
                  <a:lnTo>
                    <a:pt x="246" y="185"/>
                  </a:lnTo>
                  <a:lnTo>
                    <a:pt x="292" y="141"/>
                  </a:lnTo>
                  <a:lnTo>
                    <a:pt x="292" y="18"/>
                  </a:lnTo>
                  <a:lnTo>
                    <a:pt x="274"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89" name="Freeform 406">
              <a:extLst>
                <a:ext uri="{FF2B5EF4-FFF2-40B4-BE49-F238E27FC236}">
                  <a16:creationId xmlns:a16="http://schemas.microsoft.com/office/drawing/2014/main" id="{A1248A9D-8142-4746-BB8F-3D11186FB4C0}"/>
                </a:ext>
              </a:extLst>
            </p:cNvPr>
            <p:cNvSpPr>
              <a:spLocks/>
            </p:cNvSpPr>
            <p:nvPr/>
          </p:nvSpPr>
          <p:spPr bwMode="auto">
            <a:xfrm>
              <a:off x="5035551" y="3967163"/>
              <a:ext cx="47625" cy="165100"/>
            </a:xfrm>
            <a:custGeom>
              <a:avLst/>
              <a:gdLst>
                <a:gd name="T0" fmla="*/ 34 w 59"/>
                <a:gd name="T1" fmla="*/ 117 h 206"/>
                <a:gd name="T2" fmla="*/ 34 w 59"/>
                <a:gd name="T3" fmla="*/ 73 h 206"/>
                <a:gd name="T4" fmla="*/ 34 w 59"/>
                <a:gd name="T5" fmla="*/ 16 h 206"/>
                <a:gd name="T6" fmla="*/ 18 w 59"/>
                <a:gd name="T7" fmla="*/ 0 h 206"/>
                <a:gd name="T8" fmla="*/ 18 w 59"/>
                <a:gd name="T9" fmla="*/ 30 h 206"/>
                <a:gd name="T10" fmla="*/ 2 w 59"/>
                <a:gd name="T11" fmla="*/ 48 h 206"/>
                <a:gd name="T12" fmla="*/ 2 w 59"/>
                <a:gd name="T13" fmla="*/ 82 h 206"/>
                <a:gd name="T14" fmla="*/ 2 w 59"/>
                <a:gd name="T15" fmla="*/ 137 h 206"/>
                <a:gd name="T16" fmla="*/ 0 w 59"/>
                <a:gd name="T17" fmla="*/ 137 h 206"/>
                <a:gd name="T18" fmla="*/ 16 w 59"/>
                <a:gd name="T19" fmla="*/ 153 h 206"/>
                <a:gd name="T20" fmla="*/ 16 w 59"/>
                <a:gd name="T21" fmla="*/ 181 h 206"/>
                <a:gd name="T22" fmla="*/ 39 w 59"/>
                <a:gd name="T23" fmla="*/ 206 h 206"/>
                <a:gd name="T24" fmla="*/ 59 w 59"/>
                <a:gd name="T25" fmla="*/ 187 h 206"/>
                <a:gd name="T26" fmla="*/ 59 w 59"/>
                <a:gd name="T27" fmla="*/ 142 h 206"/>
                <a:gd name="T28" fmla="*/ 34 w 59"/>
                <a:gd name="T29" fmla="*/ 11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06">
                  <a:moveTo>
                    <a:pt x="34" y="117"/>
                  </a:moveTo>
                  <a:lnTo>
                    <a:pt x="34" y="73"/>
                  </a:lnTo>
                  <a:lnTo>
                    <a:pt x="34" y="16"/>
                  </a:lnTo>
                  <a:lnTo>
                    <a:pt x="18" y="0"/>
                  </a:lnTo>
                  <a:lnTo>
                    <a:pt x="18" y="30"/>
                  </a:lnTo>
                  <a:lnTo>
                    <a:pt x="2" y="48"/>
                  </a:lnTo>
                  <a:lnTo>
                    <a:pt x="2" y="82"/>
                  </a:lnTo>
                  <a:lnTo>
                    <a:pt x="2" y="137"/>
                  </a:lnTo>
                  <a:lnTo>
                    <a:pt x="0" y="137"/>
                  </a:lnTo>
                  <a:lnTo>
                    <a:pt x="16" y="153"/>
                  </a:lnTo>
                  <a:lnTo>
                    <a:pt x="16" y="181"/>
                  </a:lnTo>
                  <a:lnTo>
                    <a:pt x="39" y="206"/>
                  </a:lnTo>
                  <a:lnTo>
                    <a:pt x="59" y="187"/>
                  </a:lnTo>
                  <a:lnTo>
                    <a:pt x="59" y="142"/>
                  </a:lnTo>
                  <a:lnTo>
                    <a:pt x="34" y="117"/>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0" name="Freeform 407">
              <a:extLst>
                <a:ext uri="{FF2B5EF4-FFF2-40B4-BE49-F238E27FC236}">
                  <a16:creationId xmlns:a16="http://schemas.microsoft.com/office/drawing/2014/main" id="{B65AD910-BE31-47F5-ABB4-00DA7A85E002}"/>
                </a:ext>
              </a:extLst>
            </p:cNvPr>
            <p:cNvSpPr>
              <a:spLocks noEditPoints="1"/>
            </p:cNvSpPr>
            <p:nvPr/>
          </p:nvSpPr>
          <p:spPr bwMode="auto">
            <a:xfrm>
              <a:off x="4686301" y="4251325"/>
              <a:ext cx="339725" cy="295275"/>
            </a:xfrm>
            <a:custGeom>
              <a:avLst/>
              <a:gdLst>
                <a:gd name="T0" fmla="*/ 394 w 428"/>
                <a:gd name="T1" fmla="*/ 129 h 373"/>
                <a:gd name="T2" fmla="*/ 394 w 428"/>
                <a:gd name="T3" fmla="*/ 80 h 373"/>
                <a:gd name="T4" fmla="*/ 416 w 428"/>
                <a:gd name="T5" fmla="*/ 61 h 373"/>
                <a:gd name="T6" fmla="*/ 416 w 428"/>
                <a:gd name="T7" fmla="*/ 27 h 373"/>
                <a:gd name="T8" fmla="*/ 389 w 428"/>
                <a:gd name="T9" fmla="*/ 0 h 373"/>
                <a:gd name="T10" fmla="*/ 332 w 428"/>
                <a:gd name="T11" fmla="*/ 0 h 373"/>
                <a:gd name="T12" fmla="*/ 314 w 428"/>
                <a:gd name="T13" fmla="*/ 18 h 373"/>
                <a:gd name="T14" fmla="*/ 291 w 428"/>
                <a:gd name="T15" fmla="*/ 43 h 373"/>
                <a:gd name="T16" fmla="*/ 270 w 428"/>
                <a:gd name="T17" fmla="*/ 43 h 373"/>
                <a:gd name="T18" fmla="*/ 227 w 428"/>
                <a:gd name="T19" fmla="*/ 84 h 373"/>
                <a:gd name="T20" fmla="*/ 196 w 428"/>
                <a:gd name="T21" fmla="*/ 84 h 373"/>
                <a:gd name="T22" fmla="*/ 152 w 428"/>
                <a:gd name="T23" fmla="*/ 129 h 373"/>
                <a:gd name="T24" fmla="*/ 125 w 428"/>
                <a:gd name="T25" fmla="*/ 129 h 373"/>
                <a:gd name="T26" fmla="*/ 125 w 428"/>
                <a:gd name="T27" fmla="*/ 93 h 373"/>
                <a:gd name="T28" fmla="*/ 104 w 428"/>
                <a:gd name="T29" fmla="*/ 73 h 373"/>
                <a:gd name="T30" fmla="*/ 104 w 428"/>
                <a:gd name="T31" fmla="*/ 180 h 373"/>
                <a:gd name="T32" fmla="*/ 88 w 428"/>
                <a:gd name="T33" fmla="*/ 180 h 373"/>
                <a:gd name="T34" fmla="*/ 77 w 428"/>
                <a:gd name="T35" fmla="*/ 191 h 373"/>
                <a:gd name="T36" fmla="*/ 43 w 428"/>
                <a:gd name="T37" fmla="*/ 191 h 373"/>
                <a:gd name="T38" fmla="*/ 0 w 428"/>
                <a:gd name="T39" fmla="*/ 191 h 373"/>
                <a:gd name="T40" fmla="*/ 72 w 428"/>
                <a:gd name="T41" fmla="*/ 262 h 373"/>
                <a:gd name="T42" fmla="*/ 45 w 428"/>
                <a:gd name="T43" fmla="*/ 289 h 373"/>
                <a:gd name="T44" fmla="*/ 45 w 428"/>
                <a:gd name="T45" fmla="*/ 319 h 373"/>
                <a:gd name="T46" fmla="*/ 97 w 428"/>
                <a:gd name="T47" fmla="*/ 373 h 373"/>
                <a:gd name="T48" fmla="*/ 111 w 428"/>
                <a:gd name="T49" fmla="*/ 360 h 373"/>
                <a:gd name="T50" fmla="*/ 221 w 428"/>
                <a:gd name="T51" fmla="*/ 360 h 373"/>
                <a:gd name="T52" fmla="*/ 237 w 428"/>
                <a:gd name="T53" fmla="*/ 344 h 373"/>
                <a:gd name="T54" fmla="*/ 278 w 428"/>
                <a:gd name="T55" fmla="*/ 344 h 373"/>
                <a:gd name="T56" fmla="*/ 366 w 428"/>
                <a:gd name="T57" fmla="*/ 257 h 373"/>
                <a:gd name="T58" fmla="*/ 366 w 428"/>
                <a:gd name="T59" fmla="*/ 237 h 373"/>
                <a:gd name="T60" fmla="*/ 428 w 428"/>
                <a:gd name="T61" fmla="*/ 175 h 373"/>
                <a:gd name="T62" fmla="*/ 428 w 428"/>
                <a:gd name="T63" fmla="*/ 129 h 373"/>
                <a:gd name="T64" fmla="*/ 394 w 428"/>
                <a:gd name="T65" fmla="*/ 129 h 373"/>
                <a:gd name="T66" fmla="*/ 361 w 428"/>
                <a:gd name="T67" fmla="*/ 177 h 373"/>
                <a:gd name="T68" fmla="*/ 346 w 428"/>
                <a:gd name="T69" fmla="*/ 191 h 373"/>
                <a:gd name="T70" fmla="*/ 346 w 428"/>
                <a:gd name="T71" fmla="*/ 200 h 373"/>
                <a:gd name="T72" fmla="*/ 319 w 428"/>
                <a:gd name="T73" fmla="*/ 227 h 373"/>
                <a:gd name="T74" fmla="*/ 298 w 428"/>
                <a:gd name="T75" fmla="*/ 227 h 373"/>
                <a:gd name="T76" fmla="*/ 277 w 428"/>
                <a:gd name="T77" fmla="*/ 205 h 373"/>
                <a:gd name="T78" fmla="*/ 289 w 428"/>
                <a:gd name="T79" fmla="*/ 186 h 373"/>
                <a:gd name="T80" fmla="*/ 318 w 428"/>
                <a:gd name="T81" fmla="*/ 186 h 373"/>
                <a:gd name="T82" fmla="*/ 330 w 428"/>
                <a:gd name="T83" fmla="*/ 173 h 373"/>
                <a:gd name="T84" fmla="*/ 330 w 428"/>
                <a:gd name="T85" fmla="*/ 153 h 373"/>
                <a:gd name="T86" fmla="*/ 361 w 428"/>
                <a:gd name="T87" fmla="*/ 153 h 373"/>
                <a:gd name="T88" fmla="*/ 361 w 428"/>
                <a:gd name="T89" fmla="*/ 177 h 373"/>
                <a:gd name="T90" fmla="*/ 394 w 428"/>
                <a:gd name="T91" fmla="*/ 141 h 373"/>
                <a:gd name="T92" fmla="*/ 384 w 428"/>
                <a:gd name="T93" fmla="*/ 141 h 373"/>
                <a:gd name="T94" fmla="*/ 368 w 428"/>
                <a:gd name="T95" fmla="*/ 125 h 373"/>
                <a:gd name="T96" fmla="*/ 384 w 428"/>
                <a:gd name="T97" fmla="*/ 111 h 373"/>
                <a:gd name="T98" fmla="*/ 394 w 428"/>
                <a:gd name="T99" fmla="*/ 111 h 373"/>
                <a:gd name="T100" fmla="*/ 394 w 428"/>
                <a:gd name="T101" fmla="*/ 141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8" h="373">
                  <a:moveTo>
                    <a:pt x="394" y="129"/>
                  </a:moveTo>
                  <a:lnTo>
                    <a:pt x="394" y="80"/>
                  </a:lnTo>
                  <a:lnTo>
                    <a:pt x="416" y="61"/>
                  </a:lnTo>
                  <a:lnTo>
                    <a:pt x="416" y="27"/>
                  </a:lnTo>
                  <a:lnTo>
                    <a:pt x="389" y="0"/>
                  </a:lnTo>
                  <a:lnTo>
                    <a:pt x="332" y="0"/>
                  </a:lnTo>
                  <a:lnTo>
                    <a:pt x="314" y="18"/>
                  </a:lnTo>
                  <a:lnTo>
                    <a:pt x="291" y="43"/>
                  </a:lnTo>
                  <a:lnTo>
                    <a:pt x="270" y="43"/>
                  </a:lnTo>
                  <a:lnTo>
                    <a:pt x="227" y="84"/>
                  </a:lnTo>
                  <a:lnTo>
                    <a:pt x="196" y="84"/>
                  </a:lnTo>
                  <a:lnTo>
                    <a:pt x="152" y="129"/>
                  </a:lnTo>
                  <a:lnTo>
                    <a:pt x="125" y="129"/>
                  </a:lnTo>
                  <a:lnTo>
                    <a:pt x="125" y="93"/>
                  </a:lnTo>
                  <a:lnTo>
                    <a:pt x="104" y="73"/>
                  </a:lnTo>
                  <a:lnTo>
                    <a:pt x="104" y="180"/>
                  </a:lnTo>
                  <a:lnTo>
                    <a:pt x="88" y="180"/>
                  </a:lnTo>
                  <a:lnTo>
                    <a:pt x="77" y="191"/>
                  </a:lnTo>
                  <a:lnTo>
                    <a:pt x="43" y="191"/>
                  </a:lnTo>
                  <a:lnTo>
                    <a:pt x="0" y="191"/>
                  </a:lnTo>
                  <a:lnTo>
                    <a:pt x="72" y="262"/>
                  </a:lnTo>
                  <a:lnTo>
                    <a:pt x="45" y="289"/>
                  </a:lnTo>
                  <a:lnTo>
                    <a:pt x="45" y="319"/>
                  </a:lnTo>
                  <a:lnTo>
                    <a:pt x="97" y="373"/>
                  </a:lnTo>
                  <a:lnTo>
                    <a:pt x="111" y="360"/>
                  </a:lnTo>
                  <a:lnTo>
                    <a:pt x="221" y="360"/>
                  </a:lnTo>
                  <a:lnTo>
                    <a:pt x="237" y="344"/>
                  </a:lnTo>
                  <a:lnTo>
                    <a:pt x="278" y="344"/>
                  </a:lnTo>
                  <a:lnTo>
                    <a:pt x="366" y="257"/>
                  </a:lnTo>
                  <a:lnTo>
                    <a:pt x="366" y="237"/>
                  </a:lnTo>
                  <a:lnTo>
                    <a:pt x="428" y="175"/>
                  </a:lnTo>
                  <a:lnTo>
                    <a:pt x="428" y="129"/>
                  </a:lnTo>
                  <a:lnTo>
                    <a:pt x="394" y="129"/>
                  </a:lnTo>
                  <a:close/>
                  <a:moveTo>
                    <a:pt x="361" y="177"/>
                  </a:moveTo>
                  <a:lnTo>
                    <a:pt x="346" y="191"/>
                  </a:lnTo>
                  <a:lnTo>
                    <a:pt x="346" y="200"/>
                  </a:lnTo>
                  <a:lnTo>
                    <a:pt x="319" y="227"/>
                  </a:lnTo>
                  <a:lnTo>
                    <a:pt x="298" y="227"/>
                  </a:lnTo>
                  <a:lnTo>
                    <a:pt x="277" y="205"/>
                  </a:lnTo>
                  <a:lnTo>
                    <a:pt x="289" y="186"/>
                  </a:lnTo>
                  <a:lnTo>
                    <a:pt x="318" y="186"/>
                  </a:lnTo>
                  <a:lnTo>
                    <a:pt x="330" y="173"/>
                  </a:lnTo>
                  <a:lnTo>
                    <a:pt x="330" y="153"/>
                  </a:lnTo>
                  <a:lnTo>
                    <a:pt x="361" y="153"/>
                  </a:lnTo>
                  <a:lnTo>
                    <a:pt x="361" y="177"/>
                  </a:lnTo>
                  <a:close/>
                  <a:moveTo>
                    <a:pt x="394" y="141"/>
                  </a:moveTo>
                  <a:lnTo>
                    <a:pt x="384" y="141"/>
                  </a:lnTo>
                  <a:lnTo>
                    <a:pt x="368" y="125"/>
                  </a:lnTo>
                  <a:lnTo>
                    <a:pt x="384" y="111"/>
                  </a:lnTo>
                  <a:lnTo>
                    <a:pt x="394" y="111"/>
                  </a:lnTo>
                  <a:lnTo>
                    <a:pt x="394" y="14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Freeform 408">
              <a:extLst>
                <a:ext uri="{FF2B5EF4-FFF2-40B4-BE49-F238E27FC236}">
                  <a16:creationId xmlns:a16="http://schemas.microsoft.com/office/drawing/2014/main" id="{30B19993-1E19-4995-BCA4-0312FCF8FEA9}"/>
                </a:ext>
              </a:extLst>
            </p:cNvPr>
            <p:cNvSpPr>
              <a:spLocks/>
            </p:cNvSpPr>
            <p:nvPr/>
          </p:nvSpPr>
          <p:spPr bwMode="auto">
            <a:xfrm>
              <a:off x="4978401" y="4338638"/>
              <a:ext cx="20638" cy="23813"/>
            </a:xfrm>
            <a:custGeom>
              <a:avLst/>
              <a:gdLst>
                <a:gd name="T0" fmla="*/ 0 w 26"/>
                <a:gd name="T1" fmla="*/ 14 h 30"/>
                <a:gd name="T2" fmla="*/ 16 w 26"/>
                <a:gd name="T3" fmla="*/ 30 h 30"/>
                <a:gd name="T4" fmla="*/ 26 w 26"/>
                <a:gd name="T5" fmla="*/ 30 h 30"/>
                <a:gd name="T6" fmla="*/ 26 w 26"/>
                <a:gd name="T7" fmla="*/ 0 h 30"/>
                <a:gd name="T8" fmla="*/ 16 w 26"/>
                <a:gd name="T9" fmla="*/ 0 h 30"/>
                <a:gd name="T10" fmla="*/ 0 w 26"/>
                <a:gd name="T11" fmla="*/ 14 h 30"/>
              </a:gdLst>
              <a:ahLst/>
              <a:cxnLst>
                <a:cxn ang="0">
                  <a:pos x="T0" y="T1"/>
                </a:cxn>
                <a:cxn ang="0">
                  <a:pos x="T2" y="T3"/>
                </a:cxn>
                <a:cxn ang="0">
                  <a:pos x="T4" y="T5"/>
                </a:cxn>
                <a:cxn ang="0">
                  <a:pos x="T6" y="T7"/>
                </a:cxn>
                <a:cxn ang="0">
                  <a:pos x="T8" y="T9"/>
                </a:cxn>
                <a:cxn ang="0">
                  <a:pos x="T10" y="T11"/>
                </a:cxn>
              </a:cxnLst>
              <a:rect l="0" t="0" r="r" b="b"/>
              <a:pathLst>
                <a:path w="26" h="30">
                  <a:moveTo>
                    <a:pt x="0" y="14"/>
                  </a:moveTo>
                  <a:lnTo>
                    <a:pt x="16" y="30"/>
                  </a:lnTo>
                  <a:lnTo>
                    <a:pt x="26" y="30"/>
                  </a:lnTo>
                  <a:lnTo>
                    <a:pt x="26" y="0"/>
                  </a:lnTo>
                  <a:lnTo>
                    <a:pt x="16" y="0"/>
                  </a:lnTo>
                  <a:lnTo>
                    <a:pt x="0" y="1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2" name="Rectangle 409">
              <a:extLst>
                <a:ext uri="{FF2B5EF4-FFF2-40B4-BE49-F238E27FC236}">
                  <a16:creationId xmlns:a16="http://schemas.microsoft.com/office/drawing/2014/main" id="{7DFDF246-F26E-481F-8B8A-1D1FEAE30111}"/>
                </a:ext>
              </a:extLst>
            </p:cNvPr>
            <p:cNvSpPr>
              <a:spLocks noChangeArrowheads="1"/>
            </p:cNvSpPr>
            <p:nvPr/>
          </p:nvSpPr>
          <p:spPr bwMode="auto">
            <a:xfrm>
              <a:off x="5051426" y="3692525"/>
              <a:ext cx="1588" cy="1588"/>
            </a:xfrm>
            <a:prstGeom prst="rect">
              <a:avLst/>
            </a:prstGeom>
            <a:solidFill>
              <a:schemeClr val="bg1"/>
            </a:solidFill>
            <a:ln w="1588">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3" name="Freeform 410">
              <a:extLst>
                <a:ext uri="{FF2B5EF4-FFF2-40B4-BE49-F238E27FC236}">
                  <a16:creationId xmlns:a16="http://schemas.microsoft.com/office/drawing/2014/main" id="{100C8945-A940-46C6-BFCF-08E71783C5B1}"/>
                </a:ext>
              </a:extLst>
            </p:cNvPr>
            <p:cNvSpPr>
              <a:spLocks/>
            </p:cNvSpPr>
            <p:nvPr/>
          </p:nvSpPr>
          <p:spPr bwMode="auto">
            <a:xfrm>
              <a:off x="4960938" y="3692525"/>
              <a:ext cx="112713" cy="111125"/>
            </a:xfrm>
            <a:custGeom>
              <a:avLst/>
              <a:gdLst>
                <a:gd name="T0" fmla="*/ 125 w 141"/>
                <a:gd name="T1" fmla="*/ 25 h 141"/>
                <a:gd name="T2" fmla="*/ 125 w 141"/>
                <a:gd name="T3" fmla="*/ 11 h 141"/>
                <a:gd name="T4" fmla="*/ 114 w 141"/>
                <a:gd name="T5" fmla="*/ 0 h 141"/>
                <a:gd name="T6" fmla="*/ 102 w 141"/>
                <a:gd name="T7" fmla="*/ 13 h 141"/>
                <a:gd name="T8" fmla="*/ 32 w 141"/>
                <a:gd name="T9" fmla="*/ 13 h 141"/>
                <a:gd name="T10" fmla="*/ 32 w 141"/>
                <a:gd name="T11" fmla="*/ 13 h 141"/>
                <a:gd name="T12" fmla="*/ 32 w 141"/>
                <a:gd name="T13" fmla="*/ 41 h 141"/>
                <a:gd name="T14" fmla="*/ 45 w 141"/>
                <a:gd name="T15" fmla="*/ 52 h 141"/>
                <a:gd name="T16" fmla="*/ 0 w 141"/>
                <a:gd name="T17" fmla="*/ 96 h 141"/>
                <a:gd name="T18" fmla="*/ 0 w 141"/>
                <a:gd name="T19" fmla="*/ 141 h 141"/>
                <a:gd name="T20" fmla="*/ 15 w 141"/>
                <a:gd name="T21" fmla="*/ 141 h 141"/>
                <a:gd name="T22" fmla="*/ 23 w 141"/>
                <a:gd name="T23" fmla="*/ 132 h 141"/>
                <a:gd name="T24" fmla="*/ 38 w 141"/>
                <a:gd name="T25" fmla="*/ 132 h 141"/>
                <a:gd name="T26" fmla="*/ 114 w 141"/>
                <a:gd name="T27" fmla="*/ 132 h 141"/>
                <a:gd name="T28" fmla="*/ 114 w 141"/>
                <a:gd name="T29" fmla="*/ 100 h 141"/>
                <a:gd name="T30" fmla="*/ 141 w 141"/>
                <a:gd name="T31" fmla="*/ 71 h 141"/>
                <a:gd name="T32" fmla="*/ 141 w 141"/>
                <a:gd name="T33" fmla="*/ 71 h 141"/>
                <a:gd name="T34" fmla="*/ 141 w 141"/>
                <a:gd name="T35" fmla="*/ 41 h 141"/>
                <a:gd name="T36" fmla="*/ 125 w 141"/>
                <a:gd name="T37" fmla="*/ 2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1" h="141">
                  <a:moveTo>
                    <a:pt x="125" y="25"/>
                  </a:moveTo>
                  <a:lnTo>
                    <a:pt x="125" y="11"/>
                  </a:lnTo>
                  <a:lnTo>
                    <a:pt x="114" y="0"/>
                  </a:lnTo>
                  <a:lnTo>
                    <a:pt x="102" y="13"/>
                  </a:lnTo>
                  <a:lnTo>
                    <a:pt x="32" y="13"/>
                  </a:lnTo>
                  <a:lnTo>
                    <a:pt x="32" y="13"/>
                  </a:lnTo>
                  <a:lnTo>
                    <a:pt x="32" y="41"/>
                  </a:lnTo>
                  <a:lnTo>
                    <a:pt x="45" y="52"/>
                  </a:lnTo>
                  <a:lnTo>
                    <a:pt x="0" y="96"/>
                  </a:lnTo>
                  <a:lnTo>
                    <a:pt x="0" y="141"/>
                  </a:lnTo>
                  <a:lnTo>
                    <a:pt x="15" y="141"/>
                  </a:lnTo>
                  <a:lnTo>
                    <a:pt x="23" y="132"/>
                  </a:lnTo>
                  <a:lnTo>
                    <a:pt x="38" y="132"/>
                  </a:lnTo>
                  <a:lnTo>
                    <a:pt x="114" y="132"/>
                  </a:lnTo>
                  <a:lnTo>
                    <a:pt x="114" y="100"/>
                  </a:lnTo>
                  <a:lnTo>
                    <a:pt x="141" y="71"/>
                  </a:lnTo>
                  <a:lnTo>
                    <a:pt x="141" y="71"/>
                  </a:lnTo>
                  <a:lnTo>
                    <a:pt x="141" y="41"/>
                  </a:lnTo>
                  <a:lnTo>
                    <a:pt x="125" y="2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4" name="Freeform 411">
              <a:extLst>
                <a:ext uri="{FF2B5EF4-FFF2-40B4-BE49-F238E27FC236}">
                  <a16:creationId xmlns:a16="http://schemas.microsoft.com/office/drawing/2014/main" id="{B81EB580-78D7-4358-991E-0F60A63575FB}"/>
                </a:ext>
              </a:extLst>
            </p:cNvPr>
            <p:cNvSpPr>
              <a:spLocks/>
            </p:cNvSpPr>
            <p:nvPr/>
          </p:nvSpPr>
          <p:spPr bwMode="auto">
            <a:xfrm>
              <a:off x="5041901" y="3692525"/>
              <a:ext cx="9525" cy="9525"/>
            </a:xfrm>
            <a:custGeom>
              <a:avLst/>
              <a:gdLst>
                <a:gd name="T0" fmla="*/ 0 w 12"/>
                <a:gd name="T1" fmla="*/ 13 h 13"/>
                <a:gd name="T2" fmla="*/ 12 w 12"/>
                <a:gd name="T3" fmla="*/ 0 h 13"/>
                <a:gd name="T4" fmla="*/ 12 w 12"/>
                <a:gd name="T5" fmla="*/ 0 h 13"/>
                <a:gd name="T6" fmla="*/ 0 w 12"/>
                <a:gd name="T7" fmla="*/ 13 h 13"/>
              </a:gdLst>
              <a:ahLst/>
              <a:cxnLst>
                <a:cxn ang="0">
                  <a:pos x="T0" y="T1"/>
                </a:cxn>
                <a:cxn ang="0">
                  <a:pos x="T2" y="T3"/>
                </a:cxn>
                <a:cxn ang="0">
                  <a:pos x="T4" y="T5"/>
                </a:cxn>
                <a:cxn ang="0">
                  <a:pos x="T6" y="T7"/>
                </a:cxn>
              </a:cxnLst>
              <a:rect l="0" t="0" r="r" b="b"/>
              <a:pathLst>
                <a:path w="12" h="13">
                  <a:moveTo>
                    <a:pt x="0" y="13"/>
                  </a:moveTo>
                  <a:lnTo>
                    <a:pt x="12" y="0"/>
                  </a:lnTo>
                  <a:lnTo>
                    <a:pt x="12" y="0"/>
                  </a:lnTo>
                  <a:lnTo>
                    <a:pt x="0" y="1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5" name="Freeform 412">
              <a:extLst>
                <a:ext uri="{FF2B5EF4-FFF2-40B4-BE49-F238E27FC236}">
                  <a16:creationId xmlns:a16="http://schemas.microsoft.com/office/drawing/2014/main" id="{9182A8DB-DF04-46E4-A054-C0F284711D13}"/>
                </a:ext>
              </a:extLst>
            </p:cNvPr>
            <p:cNvSpPr>
              <a:spLocks/>
            </p:cNvSpPr>
            <p:nvPr/>
          </p:nvSpPr>
          <p:spPr bwMode="auto">
            <a:xfrm>
              <a:off x="5051426" y="3684588"/>
              <a:ext cx="165100" cy="200025"/>
            </a:xfrm>
            <a:custGeom>
              <a:avLst/>
              <a:gdLst>
                <a:gd name="T0" fmla="*/ 179 w 207"/>
                <a:gd name="T1" fmla="*/ 54 h 252"/>
                <a:gd name="T2" fmla="*/ 207 w 207"/>
                <a:gd name="T3" fmla="*/ 27 h 252"/>
                <a:gd name="T4" fmla="*/ 182 w 207"/>
                <a:gd name="T5" fmla="*/ 2 h 252"/>
                <a:gd name="T6" fmla="*/ 161 w 207"/>
                <a:gd name="T7" fmla="*/ 25 h 252"/>
                <a:gd name="T8" fmla="*/ 111 w 207"/>
                <a:gd name="T9" fmla="*/ 25 h 252"/>
                <a:gd name="T10" fmla="*/ 86 w 207"/>
                <a:gd name="T11" fmla="*/ 0 h 252"/>
                <a:gd name="T12" fmla="*/ 65 w 207"/>
                <a:gd name="T13" fmla="*/ 0 h 252"/>
                <a:gd name="T14" fmla="*/ 11 w 207"/>
                <a:gd name="T15" fmla="*/ 0 h 252"/>
                <a:gd name="T16" fmla="*/ 0 w 207"/>
                <a:gd name="T17" fmla="*/ 9 h 252"/>
                <a:gd name="T18" fmla="*/ 0 w 207"/>
                <a:gd name="T19" fmla="*/ 9 h 252"/>
                <a:gd name="T20" fmla="*/ 0 w 207"/>
                <a:gd name="T21" fmla="*/ 9 h 252"/>
                <a:gd name="T22" fmla="*/ 11 w 207"/>
                <a:gd name="T23" fmla="*/ 20 h 252"/>
                <a:gd name="T24" fmla="*/ 11 w 207"/>
                <a:gd name="T25" fmla="*/ 34 h 252"/>
                <a:gd name="T26" fmla="*/ 27 w 207"/>
                <a:gd name="T27" fmla="*/ 50 h 252"/>
                <a:gd name="T28" fmla="*/ 27 w 207"/>
                <a:gd name="T29" fmla="*/ 80 h 252"/>
                <a:gd name="T30" fmla="*/ 27 w 207"/>
                <a:gd name="T31" fmla="*/ 80 h 252"/>
                <a:gd name="T32" fmla="*/ 0 w 207"/>
                <a:gd name="T33" fmla="*/ 109 h 252"/>
                <a:gd name="T34" fmla="*/ 0 w 207"/>
                <a:gd name="T35" fmla="*/ 141 h 252"/>
                <a:gd name="T36" fmla="*/ 0 w 207"/>
                <a:gd name="T37" fmla="*/ 141 h 252"/>
                <a:gd name="T38" fmla="*/ 32 w 207"/>
                <a:gd name="T39" fmla="*/ 173 h 252"/>
                <a:gd name="T40" fmla="*/ 59 w 207"/>
                <a:gd name="T41" fmla="*/ 173 h 252"/>
                <a:gd name="T42" fmla="*/ 93 w 207"/>
                <a:gd name="T43" fmla="*/ 207 h 252"/>
                <a:gd name="T44" fmla="*/ 136 w 207"/>
                <a:gd name="T45" fmla="*/ 252 h 252"/>
                <a:gd name="T46" fmla="*/ 161 w 207"/>
                <a:gd name="T47" fmla="*/ 225 h 252"/>
                <a:gd name="T48" fmla="*/ 161 w 207"/>
                <a:gd name="T49" fmla="*/ 191 h 252"/>
                <a:gd name="T50" fmla="*/ 202 w 207"/>
                <a:gd name="T51" fmla="*/ 152 h 252"/>
                <a:gd name="T52" fmla="*/ 179 w 207"/>
                <a:gd name="T53" fmla="*/ 129 h 252"/>
                <a:gd name="T54" fmla="*/ 179 w 207"/>
                <a:gd name="T55" fmla="*/ 5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252">
                  <a:moveTo>
                    <a:pt x="179" y="54"/>
                  </a:moveTo>
                  <a:lnTo>
                    <a:pt x="207" y="27"/>
                  </a:lnTo>
                  <a:lnTo>
                    <a:pt x="182" y="2"/>
                  </a:lnTo>
                  <a:lnTo>
                    <a:pt x="161" y="25"/>
                  </a:lnTo>
                  <a:lnTo>
                    <a:pt x="111" y="25"/>
                  </a:lnTo>
                  <a:lnTo>
                    <a:pt x="86" y="0"/>
                  </a:lnTo>
                  <a:lnTo>
                    <a:pt x="65" y="0"/>
                  </a:lnTo>
                  <a:lnTo>
                    <a:pt x="11" y="0"/>
                  </a:lnTo>
                  <a:lnTo>
                    <a:pt x="0" y="9"/>
                  </a:lnTo>
                  <a:lnTo>
                    <a:pt x="0" y="9"/>
                  </a:lnTo>
                  <a:lnTo>
                    <a:pt x="0" y="9"/>
                  </a:lnTo>
                  <a:lnTo>
                    <a:pt x="11" y="20"/>
                  </a:lnTo>
                  <a:lnTo>
                    <a:pt x="11" y="34"/>
                  </a:lnTo>
                  <a:lnTo>
                    <a:pt x="27" y="50"/>
                  </a:lnTo>
                  <a:lnTo>
                    <a:pt x="27" y="80"/>
                  </a:lnTo>
                  <a:lnTo>
                    <a:pt x="27" y="80"/>
                  </a:lnTo>
                  <a:lnTo>
                    <a:pt x="0" y="109"/>
                  </a:lnTo>
                  <a:lnTo>
                    <a:pt x="0" y="141"/>
                  </a:lnTo>
                  <a:lnTo>
                    <a:pt x="0" y="141"/>
                  </a:lnTo>
                  <a:lnTo>
                    <a:pt x="32" y="173"/>
                  </a:lnTo>
                  <a:lnTo>
                    <a:pt x="59" y="173"/>
                  </a:lnTo>
                  <a:lnTo>
                    <a:pt x="93" y="207"/>
                  </a:lnTo>
                  <a:lnTo>
                    <a:pt x="136" y="252"/>
                  </a:lnTo>
                  <a:lnTo>
                    <a:pt x="161" y="225"/>
                  </a:lnTo>
                  <a:lnTo>
                    <a:pt x="161" y="191"/>
                  </a:lnTo>
                  <a:lnTo>
                    <a:pt x="202" y="152"/>
                  </a:lnTo>
                  <a:lnTo>
                    <a:pt x="179" y="129"/>
                  </a:lnTo>
                  <a:lnTo>
                    <a:pt x="179" y="5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6" name="Freeform 413">
              <a:extLst>
                <a:ext uri="{FF2B5EF4-FFF2-40B4-BE49-F238E27FC236}">
                  <a16:creationId xmlns:a16="http://schemas.microsoft.com/office/drawing/2014/main" id="{18CBD3CA-D006-40B5-9B07-CA359C3C21F7}"/>
                </a:ext>
              </a:extLst>
            </p:cNvPr>
            <p:cNvSpPr>
              <a:spLocks/>
            </p:cNvSpPr>
            <p:nvPr/>
          </p:nvSpPr>
          <p:spPr bwMode="auto">
            <a:xfrm>
              <a:off x="4594226" y="3676650"/>
              <a:ext cx="401638" cy="363538"/>
            </a:xfrm>
            <a:custGeom>
              <a:avLst/>
              <a:gdLst>
                <a:gd name="T0" fmla="*/ 448 w 507"/>
                <a:gd name="T1" fmla="*/ 241 h 459"/>
                <a:gd name="T2" fmla="*/ 448 w 507"/>
                <a:gd name="T3" fmla="*/ 238 h 459"/>
                <a:gd name="T4" fmla="*/ 448 w 507"/>
                <a:gd name="T5" fmla="*/ 204 h 459"/>
                <a:gd name="T6" fmla="*/ 441 w 507"/>
                <a:gd name="T7" fmla="*/ 197 h 459"/>
                <a:gd name="T8" fmla="*/ 441 w 507"/>
                <a:gd name="T9" fmla="*/ 182 h 459"/>
                <a:gd name="T10" fmla="*/ 462 w 507"/>
                <a:gd name="T11" fmla="*/ 161 h 459"/>
                <a:gd name="T12" fmla="*/ 477 w 507"/>
                <a:gd name="T13" fmla="*/ 161 h 459"/>
                <a:gd name="T14" fmla="*/ 462 w 507"/>
                <a:gd name="T15" fmla="*/ 161 h 459"/>
                <a:gd name="T16" fmla="*/ 462 w 507"/>
                <a:gd name="T17" fmla="*/ 116 h 459"/>
                <a:gd name="T18" fmla="*/ 507 w 507"/>
                <a:gd name="T19" fmla="*/ 72 h 459"/>
                <a:gd name="T20" fmla="*/ 494 w 507"/>
                <a:gd name="T21" fmla="*/ 61 h 459"/>
                <a:gd name="T22" fmla="*/ 494 w 507"/>
                <a:gd name="T23" fmla="*/ 33 h 459"/>
                <a:gd name="T24" fmla="*/ 494 w 507"/>
                <a:gd name="T25" fmla="*/ 33 h 459"/>
                <a:gd name="T26" fmla="*/ 494 w 507"/>
                <a:gd name="T27" fmla="*/ 33 h 459"/>
                <a:gd name="T28" fmla="*/ 462 w 507"/>
                <a:gd name="T29" fmla="*/ 0 h 459"/>
                <a:gd name="T30" fmla="*/ 409 w 507"/>
                <a:gd name="T31" fmla="*/ 0 h 459"/>
                <a:gd name="T32" fmla="*/ 377 w 507"/>
                <a:gd name="T33" fmla="*/ 6 h 459"/>
                <a:gd name="T34" fmla="*/ 311 w 507"/>
                <a:gd name="T35" fmla="*/ 6 h 459"/>
                <a:gd name="T36" fmla="*/ 293 w 507"/>
                <a:gd name="T37" fmla="*/ 22 h 459"/>
                <a:gd name="T38" fmla="*/ 268 w 507"/>
                <a:gd name="T39" fmla="*/ 22 h 459"/>
                <a:gd name="T40" fmla="*/ 252 w 507"/>
                <a:gd name="T41" fmla="*/ 38 h 459"/>
                <a:gd name="T42" fmla="*/ 234 w 507"/>
                <a:gd name="T43" fmla="*/ 20 h 459"/>
                <a:gd name="T44" fmla="*/ 200 w 507"/>
                <a:gd name="T45" fmla="*/ 54 h 459"/>
                <a:gd name="T46" fmla="*/ 191 w 507"/>
                <a:gd name="T47" fmla="*/ 63 h 459"/>
                <a:gd name="T48" fmla="*/ 152 w 507"/>
                <a:gd name="T49" fmla="*/ 102 h 459"/>
                <a:gd name="T50" fmla="*/ 152 w 507"/>
                <a:gd name="T51" fmla="*/ 147 h 459"/>
                <a:gd name="T52" fmla="*/ 134 w 507"/>
                <a:gd name="T53" fmla="*/ 164 h 459"/>
                <a:gd name="T54" fmla="*/ 134 w 507"/>
                <a:gd name="T55" fmla="*/ 204 h 459"/>
                <a:gd name="T56" fmla="*/ 100 w 507"/>
                <a:gd name="T57" fmla="*/ 236 h 459"/>
                <a:gd name="T58" fmla="*/ 31 w 507"/>
                <a:gd name="T59" fmla="*/ 236 h 459"/>
                <a:gd name="T60" fmla="*/ 0 w 507"/>
                <a:gd name="T61" fmla="*/ 266 h 459"/>
                <a:gd name="T62" fmla="*/ 0 w 507"/>
                <a:gd name="T63" fmla="*/ 282 h 459"/>
                <a:gd name="T64" fmla="*/ 22 w 507"/>
                <a:gd name="T65" fmla="*/ 282 h 459"/>
                <a:gd name="T66" fmla="*/ 22 w 507"/>
                <a:gd name="T67" fmla="*/ 309 h 459"/>
                <a:gd name="T68" fmla="*/ 25 w 507"/>
                <a:gd name="T69" fmla="*/ 311 h 459"/>
                <a:gd name="T70" fmla="*/ 54 w 507"/>
                <a:gd name="T71" fmla="*/ 282 h 459"/>
                <a:gd name="T72" fmla="*/ 68 w 507"/>
                <a:gd name="T73" fmla="*/ 282 h 459"/>
                <a:gd name="T74" fmla="*/ 131 w 507"/>
                <a:gd name="T75" fmla="*/ 282 h 459"/>
                <a:gd name="T76" fmla="*/ 131 w 507"/>
                <a:gd name="T77" fmla="*/ 309 h 459"/>
                <a:gd name="T78" fmla="*/ 154 w 507"/>
                <a:gd name="T79" fmla="*/ 332 h 459"/>
                <a:gd name="T80" fmla="*/ 184 w 507"/>
                <a:gd name="T81" fmla="*/ 332 h 459"/>
                <a:gd name="T82" fmla="*/ 218 w 507"/>
                <a:gd name="T83" fmla="*/ 298 h 459"/>
                <a:gd name="T84" fmla="*/ 239 w 507"/>
                <a:gd name="T85" fmla="*/ 320 h 459"/>
                <a:gd name="T86" fmla="*/ 259 w 507"/>
                <a:gd name="T87" fmla="*/ 339 h 459"/>
                <a:gd name="T88" fmla="*/ 259 w 507"/>
                <a:gd name="T89" fmla="*/ 384 h 459"/>
                <a:gd name="T90" fmla="*/ 277 w 507"/>
                <a:gd name="T91" fmla="*/ 402 h 459"/>
                <a:gd name="T92" fmla="*/ 296 w 507"/>
                <a:gd name="T93" fmla="*/ 421 h 459"/>
                <a:gd name="T94" fmla="*/ 316 w 507"/>
                <a:gd name="T95" fmla="*/ 421 h 459"/>
                <a:gd name="T96" fmla="*/ 346 w 507"/>
                <a:gd name="T97" fmla="*/ 421 h 459"/>
                <a:gd name="T98" fmla="*/ 370 w 507"/>
                <a:gd name="T99" fmla="*/ 444 h 459"/>
                <a:gd name="T100" fmla="*/ 398 w 507"/>
                <a:gd name="T101" fmla="*/ 444 h 459"/>
                <a:gd name="T102" fmla="*/ 444 w 507"/>
                <a:gd name="T103" fmla="*/ 444 h 459"/>
                <a:gd name="T104" fmla="*/ 459 w 507"/>
                <a:gd name="T105" fmla="*/ 459 h 459"/>
                <a:gd name="T106" fmla="*/ 469 w 507"/>
                <a:gd name="T107" fmla="*/ 448 h 459"/>
                <a:gd name="T108" fmla="*/ 469 w 507"/>
                <a:gd name="T109" fmla="*/ 435 h 459"/>
                <a:gd name="T110" fmla="*/ 446 w 507"/>
                <a:gd name="T111" fmla="*/ 435 h 459"/>
                <a:gd name="T112" fmla="*/ 446 w 507"/>
                <a:gd name="T113" fmla="*/ 405 h 459"/>
                <a:gd name="T114" fmla="*/ 427 w 507"/>
                <a:gd name="T115" fmla="*/ 386 h 459"/>
                <a:gd name="T116" fmla="*/ 427 w 507"/>
                <a:gd name="T117" fmla="*/ 361 h 459"/>
                <a:gd name="T118" fmla="*/ 462 w 507"/>
                <a:gd name="T119" fmla="*/ 314 h 459"/>
                <a:gd name="T120" fmla="*/ 448 w 507"/>
                <a:gd name="T121" fmla="*/ 300 h 459"/>
                <a:gd name="T122" fmla="*/ 448 w 507"/>
                <a:gd name="T123" fmla="*/ 241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7" h="459">
                  <a:moveTo>
                    <a:pt x="448" y="241"/>
                  </a:moveTo>
                  <a:lnTo>
                    <a:pt x="448" y="238"/>
                  </a:lnTo>
                  <a:lnTo>
                    <a:pt x="448" y="204"/>
                  </a:lnTo>
                  <a:lnTo>
                    <a:pt x="441" y="197"/>
                  </a:lnTo>
                  <a:lnTo>
                    <a:pt x="441" y="182"/>
                  </a:lnTo>
                  <a:lnTo>
                    <a:pt x="462" y="161"/>
                  </a:lnTo>
                  <a:lnTo>
                    <a:pt x="477" y="161"/>
                  </a:lnTo>
                  <a:lnTo>
                    <a:pt x="462" y="161"/>
                  </a:lnTo>
                  <a:lnTo>
                    <a:pt x="462" y="116"/>
                  </a:lnTo>
                  <a:lnTo>
                    <a:pt x="507" y="72"/>
                  </a:lnTo>
                  <a:lnTo>
                    <a:pt x="494" y="61"/>
                  </a:lnTo>
                  <a:lnTo>
                    <a:pt x="494" y="33"/>
                  </a:lnTo>
                  <a:lnTo>
                    <a:pt x="494" y="33"/>
                  </a:lnTo>
                  <a:lnTo>
                    <a:pt x="494" y="33"/>
                  </a:lnTo>
                  <a:lnTo>
                    <a:pt x="462" y="0"/>
                  </a:lnTo>
                  <a:lnTo>
                    <a:pt x="409" y="0"/>
                  </a:lnTo>
                  <a:lnTo>
                    <a:pt x="377" y="6"/>
                  </a:lnTo>
                  <a:lnTo>
                    <a:pt x="311" y="6"/>
                  </a:lnTo>
                  <a:lnTo>
                    <a:pt x="293" y="22"/>
                  </a:lnTo>
                  <a:lnTo>
                    <a:pt x="268" y="22"/>
                  </a:lnTo>
                  <a:lnTo>
                    <a:pt x="252" y="38"/>
                  </a:lnTo>
                  <a:lnTo>
                    <a:pt x="234" y="20"/>
                  </a:lnTo>
                  <a:lnTo>
                    <a:pt x="200" y="54"/>
                  </a:lnTo>
                  <a:lnTo>
                    <a:pt x="191" y="63"/>
                  </a:lnTo>
                  <a:lnTo>
                    <a:pt x="152" y="102"/>
                  </a:lnTo>
                  <a:lnTo>
                    <a:pt x="152" y="147"/>
                  </a:lnTo>
                  <a:lnTo>
                    <a:pt x="134" y="164"/>
                  </a:lnTo>
                  <a:lnTo>
                    <a:pt x="134" y="204"/>
                  </a:lnTo>
                  <a:lnTo>
                    <a:pt x="100" y="236"/>
                  </a:lnTo>
                  <a:lnTo>
                    <a:pt x="31" y="236"/>
                  </a:lnTo>
                  <a:lnTo>
                    <a:pt x="0" y="266"/>
                  </a:lnTo>
                  <a:lnTo>
                    <a:pt x="0" y="282"/>
                  </a:lnTo>
                  <a:lnTo>
                    <a:pt x="22" y="282"/>
                  </a:lnTo>
                  <a:lnTo>
                    <a:pt x="22" y="309"/>
                  </a:lnTo>
                  <a:lnTo>
                    <a:pt x="25" y="311"/>
                  </a:lnTo>
                  <a:lnTo>
                    <a:pt x="54" y="282"/>
                  </a:lnTo>
                  <a:lnTo>
                    <a:pt x="68" y="282"/>
                  </a:lnTo>
                  <a:lnTo>
                    <a:pt x="131" y="282"/>
                  </a:lnTo>
                  <a:lnTo>
                    <a:pt x="131" y="309"/>
                  </a:lnTo>
                  <a:lnTo>
                    <a:pt x="154" y="332"/>
                  </a:lnTo>
                  <a:lnTo>
                    <a:pt x="184" y="332"/>
                  </a:lnTo>
                  <a:lnTo>
                    <a:pt x="218" y="298"/>
                  </a:lnTo>
                  <a:lnTo>
                    <a:pt x="239" y="320"/>
                  </a:lnTo>
                  <a:lnTo>
                    <a:pt x="259" y="339"/>
                  </a:lnTo>
                  <a:lnTo>
                    <a:pt x="259" y="384"/>
                  </a:lnTo>
                  <a:lnTo>
                    <a:pt x="277" y="402"/>
                  </a:lnTo>
                  <a:lnTo>
                    <a:pt x="296" y="421"/>
                  </a:lnTo>
                  <a:lnTo>
                    <a:pt x="316" y="421"/>
                  </a:lnTo>
                  <a:lnTo>
                    <a:pt x="346" y="421"/>
                  </a:lnTo>
                  <a:lnTo>
                    <a:pt x="370" y="444"/>
                  </a:lnTo>
                  <a:lnTo>
                    <a:pt x="398" y="444"/>
                  </a:lnTo>
                  <a:lnTo>
                    <a:pt x="444" y="444"/>
                  </a:lnTo>
                  <a:lnTo>
                    <a:pt x="459" y="459"/>
                  </a:lnTo>
                  <a:lnTo>
                    <a:pt x="469" y="448"/>
                  </a:lnTo>
                  <a:lnTo>
                    <a:pt x="469" y="435"/>
                  </a:lnTo>
                  <a:lnTo>
                    <a:pt x="446" y="435"/>
                  </a:lnTo>
                  <a:lnTo>
                    <a:pt x="446" y="405"/>
                  </a:lnTo>
                  <a:lnTo>
                    <a:pt x="427" y="386"/>
                  </a:lnTo>
                  <a:lnTo>
                    <a:pt x="427" y="361"/>
                  </a:lnTo>
                  <a:lnTo>
                    <a:pt x="462" y="314"/>
                  </a:lnTo>
                  <a:lnTo>
                    <a:pt x="448" y="300"/>
                  </a:lnTo>
                  <a:lnTo>
                    <a:pt x="448" y="24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7" name="Freeform 414">
              <a:extLst>
                <a:ext uri="{FF2B5EF4-FFF2-40B4-BE49-F238E27FC236}">
                  <a16:creationId xmlns:a16="http://schemas.microsoft.com/office/drawing/2014/main" id="{6CF7AA19-F844-4925-9853-3EBCCBA87D89}"/>
                </a:ext>
              </a:extLst>
            </p:cNvPr>
            <p:cNvSpPr>
              <a:spLocks/>
            </p:cNvSpPr>
            <p:nvPr/>
          </p:nvSpPr>
          <p:spPr bwMode="auto">
            <a:xfrm>
              <a:off x="4949826" y="3795713"/>
              <a:ext cx="233363" cy="230188"/>
            </a:xfrm>
            <a:custGeom>
              <a:avLst/>
              <a:gdLst>
                <a:gd name="T0" fmla="*/ 289 w 294"/>
                <a:gd name="T1" fmla="*/ 235 h 289"/>
                <a:gd name="T2" fmla="*/ 289 w 294"/>
                <a:gd name="T3" fmla="*/ 169 h 289"/>
                <a:gd name="T4" fmla="*/ 262 w 294"/>
                <a:gd name="T5" fmla="*/ 143 h 289"/>
                <a:gd name="T6" fmla="*/ 262 w 294"/>
                <a:gd name="T7" fmla="*/ 112 h 289"/>
                <a:gd name="T8" fmla="*/ 264 w 294"/>
                <a:gd name="T9" fmla="*/ 111 h 289"/>
                <a:gd name="T10" fmla="*/ 221 w 294"/>
                <a:gd name="T11" fmla="*/ 66 h 289"/>
                <a:gd name="T12" fmla="*/ 187 w 294"/>
                <a:gd name="T13" fmla="*/ 32 h 289"/>
                <a:gd name="T14" fmla="*/ 160 w 294"/>
                <a:gd name="T15" fmla="*/ 32 h 289"/>
                <a:gd name="T16" fmla="*/ 128 w 294"/>
                <a:gd name="T17" fmla="*/ 0 h 289"/>
                <a:gd name="T18" fmla="*/ 52 w 294"/>
                <a:gd name="T19" fmla="*/ 0 h 289"/>
                <a:gd name="T20" fmla="*/ 37 w 294"/>
                <a:gd name="T21" fmla="*/ 0 h 289"/>
                <a:gd name="T22" fmla="*/ 46 w 294"/>
                <a:gd name="T23" fmla="*/ 9 h 289"/>
                <a:gd name="T24" fmla="*/ 46 w 294"/>
                <a:gd name="T25" fmla="*/ 36 h 289"/>
                <a:gd name="T26" fmla="*/ 39 w 294"/>
                <a:gd name="T27" fmla="*/ 36 h 289"/>
                <a:gd name="T28" fmla="*/ 39 w 294"/>
                <a:gd name="T29" fmla="*/ 48 h 289"/>
                <a:gd name="T30" fmla="*/ 50 w 294"/>
                <a:gd name="T31" fmla="*/ 48 h 289"/>
                <a:gd name="T32" fmla="*/ 50 w 294"/>
                <a:gd name="T33" fmla="*/ 62 h 289"/>
                <a:gd name="T34" fmla="*/ 23 w 294"/>
                <a:gd name="T35" fmla="*/ 89 h 289"/>
                <a:gd name="T36" fmla="*/ 0 w 294"/>
                <a:gd name="T37" fmla="*/ 89 h 289"/>
                <a:gd name="T38" fmla="*/ 0 w 294"/>
                <a:gd name="T39" fmla="*/ 148 h 289"/>
                <a:gd name="T40" fmla="*/ 14 w 294"/>
                <a:gd name="T41" fmla="*/ 162 h 289"/>
                <a:gd name="T42" fmla="*/ 41 w 294"/>
                <a:gd name="T43" fmla="*/ 187 h 289"/>
                <a:gd name="T44" fmla="*/ 41 w 294"/>
                <a:gd name="T45" fmla="*/ 216 h 289"/>
                <a:gd name="T46" fmla="*/ 127 w 294"/>
                <a:gd name="T47" fmla="*/ 216 h 289"/>
                <a:gd name="T48" fmla="*/ 143 w 294"/>
                <a:gd name="T49" fmla="*/ 232 h 289"/>
                <a:gd name="T50" fmla="*/ 143 w 294"/>
                <a:gd name="T51" fmla="*/ 289 h 289"/>
                <a:gd name="T52" fmla="*/ 157 w 294"/>
                <a:gd name="T53" fmla="*/ 276 h 289"/>
                <a:gd name="T54" fmla="*/ 214 w 294"/>
                <a:gd name="T55" fmla="*/ 276 h 289"/>
                <a:gd name="T56" fmla="*/ 232 w 294"/>
                <a:gd name="T57" fmla="*/ 258 h 289"/>
                <a:gd name="T58" fmla="*/ 275 w 294"/>
                <a:gd name="T59" fmla="*/ 258 h 289"/>
                <a:gd name="T60" fmla="*/ 294 w 294"/>
                <a:gd name="T61" fmla="*/ 239 h 289"/>
                <a:gd name="T62" fmla="*/ 289 w 294"/>
                <a:gd name="T63" fmla="*/ 23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4" h="289">
                  <a:moveTo>
                    <a:pt x="289" y="235"/>
                  </a:moveTo>
                  <a:lnTo>
                    <a:pt x="289" y="169"/>
                  </a:lnTo>
                  <a:lnTo>
                    <a:pt x="262" y="143"/>
                  </a:lnTo>
                  <a:lnTo>
                    <a:pt x="262" y="112"/>
                  </a:lnTo>
                  <a:lnTo>
                    <a:pt x="264" y="111"/>
                  </a:lnTo>
                  <a:lnTo>
                    <a:pt x="221" y="66"/>
                  </a:lnTo>
                  <a:lnTo>
                    <a:pt x="187" y="32"/>
                  </a:lnTo>
                  <a:lnTo>
                    <a:pt x="160" y="32"/>
                  </a:lnTo>
                  <a:lnTo>
                    <a:pt x="128" y="0"/>
                  </a:lnTo>
                  <a:lnTo>
                    <a:pt x="52" y="0"/>
                  </a:lnTo>
                  <a:lnTo>
                    <a:pt x="37" y="0"/>
                  </a:lnTo>
                  <a:lnTo>
                    <a:pt x="46" y="9"/>
                  </a:lnTo>
                  <a:lnTo>
                    <a:pt x="46" y="36"/>
                  </a:lnTo>
                  <a:lnTo>
                    <a:pt x="39" y="36"/>
                  </a:lnTo>
                  <a:lnTo>
                    <a:pt x="39" y="48"/>
                  </a:lnTo>
                  <a:lnTo>
                    <a:pt x="50" y="48"/>
                  </a:lnTo>
                  <a:lnTo>
                    <a:pt x="50" y="62"/>
                  </a:lnTo>
                  <a:lnTo>
                    <a:pt x="23" y="89"/>
                  </a:lnTo>
                  <a:lnTo>
                    <a:pt x="0" y="89"/>
                  </a:lnTo>
                  <a:lnTo>
                    <a:pt x="0" y="148"/>
                  </a:lnTo>
                  <a:lnTo>
                    <a:pt x="14" y="162"/>
                  </a:lnTo>
                  <a:lnTo>
                    <a:pt x="41" y="187"/>
                  </a:lnTo>
                  <a:lnTo>
                    <a:pt x="41" y="216"/>
                  </a:lnTo>
                  <a:lnTo>
                    <a:pt x="127" y="216"/>
                  </a:lnTo>
                  <a:lnTo>
                    <a:pt x="143" y="232"/>
                  </a:lnTo>
                  <a:lnTo>
                    <a:pt x="143" y="289"/>
                  </a:lnTo>
                  <a:lnTo>
                    <a:pt x="157" y="276"/>
                  </a:lnTo>
                  <a:lnTo>
                    <a:pt x="214" y="276"/>
                  </a:lnTo>
                  <a:lnTo>
                    <a:pt x="232" y="258"/>
                  </a:lnTo>
                  <a:lnTo>
                    <a:pt x="275" y="258"/>
                  </a:lnTo>
                  <a:lnTo>
                    <a:pt x="294" y="239"/>
                  </a:lnTo>
                  <a:lnTo>
                    <a:pt x="289" y="235"/>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8" name="Freeform 415">
              <a:extLst>
                <a:ext uri="{FF2B5EF4-FFF2-40B4-BE49-F238E27FC236}">
                  <a16:creationId xmlns:a16="http://schemas.microsoft.com/office/drawing/2014/main" id="{B08B04AE-EC88-45D0-807A-09B6B7726CE3}"/>
                </a:ext>
              </a:extLst>
            </p:cNvPr>
            <p:cNvSpPr>
              <a:spLocks/>
            </p:cNvSpPr>
            <p:nvPr/>
          </p:nvSpPr>
          <p:spPr bwMode="auto">
            <a:xfrm>
              <a:off x="4949826" y="3840163"/>
              <a:ext cx="23813" cy="23813"/>
            </a:xfrm>
            <a:custGeom>
              <a:avLst/>
              <a:gdLst>
                <a:gd name="T0" fmla="*/ 30 w 30"/>
                <a:gd name="T1" fmla="*/ 0 h 31"/>
                <a:gd name="T2" fmla="*/ 0 w 30"/>
                <a:gd name="T3" fmla="*/ 31 h 31"/>
                <a:gd name="T4" fmla="*/ 30 w 30"/>
                <a:gd name="T5" fmla="*/ 0 h 31"/>
                <a:gd name="T6" fmla="*/ 30 w 30"/>
                <a:gd name="T7" fmla="*/ 0 h 31"/>
              </a:gdLst>
              <a:ahLst/>
              <a:cxnLst>
                <a:cxn ang="0">
                  <a:pos x="T0" y="T1"/>
                </a:cxn>
                <a:cxn ang="0">
                  <a:pos x="T2" y="T3"/>
                </a:cxn>
                <a:cxn ang="0">
                  <a:pos x="T4" y="T5"/>
                </a:cxn>
                <a:cxn ang="0">
                  <a:pos x="T6" y="T7"/>
                </a:cxn>
              </a:cxnLst>
              <a:rect l="0" t="0" r="r" b="b"/>
              <a:pathLst>
                <a:path w="30" h="31">
                  <a:moveTo>
                    <a:pt x="30" y="0"/>
                  </a:moveTo>
                  <a:lnTo>
                    <a:pt x="0" y="31"/>
                  </a:lnTo>
                  <a:lnTo>
                    <a:pt x="30" y="0"/>
                  </a:lnTo>
                  <a:lnTo>
                    <a:pt x="30"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Freeform 416">
              <a:extLst>
                <a:ext uri="{FF2B5EF4-FFF2-40B4-BE49-F238E27FC236}">
                  <a16:creationId xmlns:a16="http://schemas.microsoft.com/office/drawing/2014/main" id="{395D8A98-38F0-43CB-A402-A2C524ED7609}"/>
                </a:ext>
              </a:extLst>
            </p:cNvPr>
            <p:cNvSpPr>
              <a:spLocks/>
            </p:cNvSpPr>
            <p:nvPr/>
          </p:nvSpPr>
          <p:spPr bwMode="auto">
            <a:xfrm>
              <a:off x="4943476" y="3795713"/>
              <a:ext cx="42863" cy="38100"/>
            </a:xfrm>
            <a:custGeom>
              <a:avLst/>
              <a:gdLst>
                <a:gd name="T0" fmla="*/ 18 w 53"/>
                <a:gd name="T1" fmla="*/ 46 h 46"/>
                <a:gd name="T2" fmla="*/ 30 w 53"/>
                <a:gd name="T3" fmla="*/ 46 h 46"/>
                <a:gd name="T4" fmla="*/ 30 w 53"/>
                <a:gd name="T5" fmla="*/ 36 h 46"/>
                <a:gd name="T6" fmla="*/ 46 w 53"/>
                <a:gd name="T7" fmla="*/ 36 h 46"/>
                <a:gd name="T8" fmla="*/ 53 w 53"/>
                <a:gd name="T9" fmla="*/ 36 h 46"/>
                <a:gd name="T10" fmla="*/ 53 w 53"/>
                <a:gd name="T11" fmla="*/ 9 h 46"/>
                <a:gd name="T12" fmla="*/ 44 w 53"/>
                <a:gd name="T13" fmla="*/ 0 h 46"/>
                <a:gd name="T14" fmla="*/ 36 w 53"/>
                <a:gd name="T15" fmla="*/ 9 h 46"/>
                <a:gd name="T16" fmla="*/ 21 w 53"/>
                <a:gd name="T17" fmla="*/ 9 h 46"/>
                <a:gd name="T18" fmla="*/ 0 w 53"/>
                <a:gd name="T19" fmla="*/ 30 h 46"/>
                <a:gd name="T20" fmla="*/ 0 w 53"/>
                <a:gd name="T21" fmla="*/ 45 h 46"/>
                <a:gd name="T22" fmla="*/ 9 w 53"/>
                <a:gd name="T23" fmla="*/ 36 h 46"/>
                <a:gd name="T24" fmla="*/ 18 w 53"/>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46">
                  <a:moveTo>
                    <a:pt x="18" y="46"/>
                  </a:moveTo>
                  <a:lnTo>
                    <a:pt x="30" y="46"/>
                  </a:lnTo>
                  <a:lnTo>
                    <a:pt x="30" y="36"/>
                  </a:lnTo>
                  <a:lnTo>
                    <a:pt x="46" y="36"/>
                  </a:lnTo>
                  <a:lnTo>
                    <a:pt x="53" y="36"/>
                  </a:lnTo>
                  <a:lnTo>
                    <a:pt x="53" y="9"/>
                  </a:lnTo>
                  <a:lnTo>
                    <a:pt x="44" y="0"/>
                  </a:lnTo>
                  <a:lnTo>
                    <a:pt x="36" y="9"/>
                  </a:lnTo>
                  <a:lnTo>
                    <a:pt x="21" y="9"/>
                  </a:lnTo>
                  <a:lnTo>
                    <a:pt x="0" y="30"/>
                  </a:lnTo>
                  <a:lnTo>
                    <a:pt x="0" y="45"/>
                  </a:lnTo>
                  <a:lnTo>
                    <a:pt x="9" y="36"/>
                  </a:lnTo>
                  <a:lnTo>
                    <a:pt x="18" y="4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0" name="Freeform 417">
              <a:extLst>
                <a:ext uri="{FF2B5EF4-FFF2-40B4-BE49-F238E27FC236}">
                  <a16:creationId xmlns:a16="http://schemas.microsoft.com/office/drawing/2014/main" id="{5C0EBCA2-2FB1-42B7-B374-6035A3E8FDDE}"/>
                </a:ext>
              </a:extLst>
            </p:cNvPr>
            <p:cNvSpPr>
              <a:spLocks/>
            </p:cNvSpPr>
            <p:nvPr/>
          </p:nvSpPr>
          <p:spPr bwMode="auto">
            <a:xfrm>
              <a:off x="4943476" y="3824288"/>
              <a:ext cx="46038" cy="42863"/>
            </a:xfrm>
            <a:custGeom>
              <a:avLst/>
              <a:gdLst>
                <a:gd name="T0" fmla="*/ 7 w 57"/>
                <a:gd name="T1" fmla="*/ 16 h 53"/>
                <a:gd name="T2" fmla="*/ 7 w 57"/>
                <a:gd name="T3" fmla="*/ 50 h 53"/>
                <a:gd name="T4" fmla="*/ 7 w 57"/>
                <a:gd name="T5" fmla="*/ 53 h 53"/>
                <a:gd name="T6" fmla="*/ 30 w 57"/>
                <a:gd name="T7" fmla="*/ 53 h 53"/>
                <a:gd name="T8" fmla="*/ 57 w 57"/>
                <a:gd name="T9" fmla="*/ 26 h 53"/>
                <a:gd name="T10" fmla="*/ 57 w 57"/>
                <a:gd name="T11" fmla="*/ 12 h 53"/>
                <a:gd name="T12" fmla="*/ 46 w 57"/>
                <a:gd name="T13" fmla="*/ 12 h 53"/>
                <a:gd name="T14" fmla="*/ 46 w 57"/>
                <a:gd name="T15" fmla="*/ 0 h 53"/>
                <a:gd name="T16" fmla="*/ 30 w 57"/>
                <a:gd name="T17" fmla="*/ 0 h 53"/>
                <a:gd name="T18" fmla="*/ 30 w 57"/>
                <a:gd name="T19" fmla="*/ 10 h 53"/>
                <a:gd name="T20" fmla="*/ 18 w 57"/>
                <a:gd name="T21" fmla="*/ 10 h 53"/>
                <a:gd name="T22" fmla="*/ 9 w 57"/>
                <a:gd name="T23" fmla="*/ 0 h 53"/>
                <a:gd name="T24" fmla="*/ 0 w 57"/>
                <a:gd name="T25" fmla="*/ 9 h 53"/>
                <a:gd name="T26" fmla="*/ 0 w 57"/>
                <a:gd name="T27" fmla="*/ 9 h 53"/>
                <a:gd name="T28" fmla="*/ 7 w 57"/>
                <a:gd name="T2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53">
                  <a:moveTo>
                    <a:pt x="7" y="16"/>
                  </a:moveTo>
                  <a:lnTo>
                    <a:pt x="7" y="50"/>
                  </a:lnTo>
                  <a:lnTo>
                    <a:pt x="7" y="53"/>
                  </a:lnTo>
                  <a:lnTo>
                    <a:pt x="30" y="53"/>
                  </a:lnTo>
                  <a:lnTo>
                    <a:pt x="57" y="26"/>
                  </a:lnTo>
                  <a:lnTo>
                    <a:pt x="57" y="12"/>
                  </a:lnTo>
                  <a:lnTo>
                    <a:pt x="46" y="12"/>
                  </a:lnTo>
                  <a:lnTo>
                    <a:pt x="46" y="0"/>
                  </a:lnTo>
                  <a:lnTo>
                    <a:pt x="30" y="0"/>
                  </a:lnTo>
                  <a:lnTo>
                    <a:pt x="30" y="10"/>
                  </a:lnTo>
                  <a:lnTo>
                    <a:pt x="18" y="10"/>
                  </a:lnTo>
                  <a:lnTo>
                    <a:pt x="9" y="0"/>
                  </a:lnTo>
                  <a:lnTo>
                    <a:pt x="0" y="9"/>
                  </a:lnTo>
                  <a:lnTo>
                    <a:pt x="0" y="9"/>
                  </a:lnTo>
                  <a:lnTo>
                    <a:pt x="7" y="16"/>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1" name="Freeform 418">
              <a:extLst>
                <a:ext uri="{FF2B5EF4-FFF2-40B4-BE49-F238E27FC236}">
                  <a16:creationId xmlns:a16="http://schemas.microsoft.com/office/drawing/2014/main" id="{F145C90B-60B1-4449-9A44-945CED984496}"/>
                </a:ext>
              </a:extLst>
            </p:cNvPr>
            <p:cNvSpPr>
              <a:spLocks/>
            </p:cNvSpPr>
            <p:nvPr/>
          </p:nvSpPr>
          <p:spPr bwMode="auto">
            <a:xfrm>
              <a:off x="5108576" y="3414713"/>
              <a:ext cx="144463" cy="115888"/>
            </a:xfrm>
            <a:custGeom>
              <a:avLst/>
              <a:gdLst>
                <a:gd name="T0" fmla="*/ 182 w 182"/>
                <a:gd name="T1" fmla="*/ 144 h 146"/>
                <a:gd name="T2" fmla="*/ 112 w 182"/>
                <a:gd name="T3" fmla="*/ 75 h 146"/>
                <a:gd name="T4" fmla="*/ 85 w 182"/>
                <a:gd name="T5" fmla="*/ 75 h 146"/>
                <a:gd name="T6" fmla="*/ 85 w 182"/>
                <a:gd name="T7" fmla="*/ 46 h 146"/>
                <a:gd name="T8" fmla="*/ 44 w 182"/>
                <a:gd name="T9" fmla="*/ 5 h 146"/>
                <a:gd name="T10" fmla="*/ 44 w 182"/>
                <a:gd name="T11" fmla="*/ 0 h 146"/>
                <a:gd name="T12" fmla="*/ 19 w 182"/>
                <a:gd name="T13" fmla="*/ 0 h 146"/>
                <a:gd name="T14" fmla="*/ 0 w 182"/>
                <a:gd name="T15" fmla="*/ 19 h 146"/>
                <a:gd name="T16" fmla="*/ 0 w 182"/>
                <a:gd name="T17" fmla="*/ 82 h 146"/>
                <a:gd name="T18" fmla="*/ 51 w 182"/>
                <a:gd name="T19" fmla="*/ 82 h 146"/>
                <a:gd name="T20" fmla="*/ 82 w 182"/>
                <a:gd name="T21" fmla="*/ 82 h 146"/>
                <a:gd name="T22" fmla="*/ 148 w 182"/>
                <a:gd name="T23" fmla="*/ 146 h 146"/>
                <a:gd name="T24" fmla="*/ 182 w 182"/>
                <a:gd name="T25" fmla="*/ 146 h 146"/>
                <a:gd name="T26" fmla="*/ 182 w 182"/>
                <a:gd name="T27" fmla="*/ 14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46">
                  <a:moveTo>
                    <a:pt x="182" y="144"/>
                  </a:moveTo>
                  <a:lnTo>
                    <a:pt x="112" y="75"/>
                  </a:lnTo>
                  <a:lnTo>
                    <a:pt x="85" y="75"/>
                  </a:lnTo>
                  <a:lnTo>
                    <a:pt x="85" y="46"/>
                  </a:lnTo>
                  <a:lnTo>
                    <a:pt x="44" y="5"/>
                  </a:lnTo>
                  <a:lnTo>
                    <a:pt x="44" y="0"/>
                  </a:lnTo>
                  <a:lnTo>
                    <a:pt x="19" y="0"/>
                  </a:lnTo>
                  <a:lnTo>
                    <a:pt x="0" y="19"/>
                  </a:lnTo>
                  <a:lnTo>
                    <a:pt x="0" y="82"/>
                  </a:lnTo>
                  <a:lnTo>
                    <a:pt x="51" y="82"/>
                  </a:lnTo>
                  <a:lnTo>
                    <a:pt x="82" y="82"/>
                  </a:lnTo>
                  <a:lnTo>
                    <a:pt x="148" y="146"/>
                  </a:lnTo>
                  <a:lnTo>
                    <a:pt x="182" y="146"/>
                  </a:lnTo>
                  <a:lnTo>
                    <a:pt x="182" y="144"/>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2" name="Freeform 420">
              <a:extLst>
                <a:ext uri="{FF2B5EF4-FFF2-40B4-BE49-F238E27FC236}">
                  <a16:creationId xmlns:a16="http://schemas.microsoft.com/office/drawing/2014/main" id="{C3213510-2BCE-4F57-AC6C-967A4FF3C6AC}"/>
                </a:ext>
              </a:extLst>
            </p:cNvPr>
            <p:cNvSpPr>
              <a:spLocks/>
            </p:cNvSpPr>
            <p:nvPr/>
          </p:nvSpPr>
          <p:spPr bwMode="auto">
            <a:xfrm>
              <a:off x="5192713" y="3536950"/>
              <a:ext cx="217488" cy="268288"/>
            </a:xfrm>
            <a:custGeom>
              <a:avLst/>
              <a:gdLst>
                <a:gd name="T0" fmla="*/ 235 w 273"/>
                <a:gd name="T1" fmla="*/ 0 h 339"/>
                <a:gd name="T2" fmla="*/ 224 w 273"/>
                <a:gd name="T3" fmla="*/ 12 h 339"/>
                <a:gd name="T4" fmla="*/ 132 w 273"/>
                <a:gd name="T5" fmla="*/ 12 h 339"/>
                <a:gd name="T6" fmla="*/ 116 w 273"/>
                <a:gd name="T7" fmla="*/ 27 h 339"/>
                <a:gd name="T8" fmla="*/ 75 w 273"/>
                <a:gd name="T9" fmla="*/ 27 h 339"/>
                <a:gd name="T10" fmla="*/ 75 w 273"/>
                <a:gd name="T11" fmla="*/ 14 h 339"/>
                <a:gd name="T12" fmla="*/ 55 w 273"/>
                <a:gd name="T13" fmla="*/ 34 h 339"/>
                <a:gd name="T14" fmla="*/ 62 w 273"/>
                <a:gd name="T15" fmla="*/ 41 h 339"/>
                <a:gd name="T16" fmla="*/ 128 w 273"/>
                <a:gd name="T17" fmla="*/ 109 h 339"/>
                <a:gd name="T18" fmla="*/ 146 w 273"/>
                <a:gd name="T19" fmla="*/ 109 h 339"/>
                <a:gd name="T20" fmla="*/ 180 w 273"/>
                <a:gd name="T21" fmla="*/ 109 h 339"/>
                <a:gd name="T22" fmla="*/ 119 w 273"/>
                <a:gd name="T23" fmla="*/ 169 h 339"/>
                <a:gd name="T24" fmla="*/ 71 w 273"/>
                <a:gd name="T25" fmla="*/ 169 h 339"/>
                <a:gd name="T26" fmla="*/ 28 w 273"/>
                <a:gd name="T27" fmla="*/ 214 h 339"/>
                <a:gd name="T28" fmla="*/ 0 w 273"/>
                <a:gd name="T29" fmla="*/ 241 h 339"/>
                <a:gd name="T30" fmla="*/ 0 w 273"/>
                <a:gd name="T31" fmla="*/ 316 h 339"/>
                <a:gd name="T32" fmla="*/ 23 w 273"/>
                <a:gd name="T33" fmla="*/ 339 h 339"/>
                <a:gd name="T34" fmla="*/ 210 w 273"/>
                <a:gd name="T35" fmla="*/ 152 h 339"/>
                <a:gd name="T36" fmla="*/ 210 w 273"/>
                <a:gd name="T37" fmla="*/ 127 h 339"/>
                <a:gd name="T38" fmla="*/ 273 w 273"/>
                <a:gd name="T39" fmla="*/ 66 h 339"/>
                <a:gd name="T40" fmla="*/ 273 w 273"/>
                <a:gd name="T41" fmla="*/ 0 h 339"/>
                <a:gd name="T42" fmla="*/ 235 w 273"/>
                <a:gd name="T43"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3" h="339">
                  <a:moveTo>
                    <a:pt x="235" y="0"/>
                  </a:moveTo>
                  <a:lnTo>
                    <a:pt x="224" y="12"/>
                  </a:lnTo>
                  <a:lnTo>
                    <a:pt x="132" y="12"/>
                  </a:lnTo>
                  <a:lnTo>
                    <a:pt x="116" y="27"/>
                  </a:lnTo>
                  <a:lnTo>
                    <a:pt x="75" y="27"/>
                  </a:lnTo>
                  <a:lnTo>
                    <a:pt x="75" y="14"/>
                  </a:lnTo>
                  <a:lnTo>
                    <a:pt x="55" y="34"/>
                  </a:lnTo>
                  <a:lnTo>
                    <a:pt x="62" y="41"/>
                  </a:lnTo>
                  <a:lnTo>
                    <a:pt x="128" y="109"/>
                  </a:lnTo>
                  <a:lnTo>
                    <a:pt x="146" y="109"/>
                  </a:lnTo>
                  <a:lnTo>
                    <a:pt x="180" y="109"/>
                  </a:lnTo>
                  <a:lnTo>
                    <a:pt x="119" y="169"/>
                  </a:lnTo>
                  <a:lnTo>
                    <a:pt x="71" y="169"/>
                  </a:lnTo>
                  <a:lnTo>
                    <a:pt x="28" y="214"/>
                  </a:lnTo>
                  <a:lnTo>
                    <a:pt x="0" y="241"/>
                  </a:lnTo>
                  <a:lnTo>
                    <a:pt x="0" y="316"/>
                  </a:lnTo>
                  <a:lnTo>
                    <a:pt x="23" y="339"/>
                  </a:lnTo>
                  <a:lnTo>
                    <a:pt x="210" y="152"/>
                  </a:lnTo>
                  <a:lnTo>
                    <a:pt x="210" y="127"/>
                  </a:lnTo>
                  <a:lnTo>
                    <a:pt x="273" y="66"/>
                  </a:lnTo>
                  <a:lnTo>
                    <a:pt x="273" y="0"/>
                  </a:lnTo>
                  <a:lnTo>
                    <a:pt x="235"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3" name="Freeform 421">
              <a:extLst>
                <a:ext uri="{FF2B5EF4-FFF2-40B4-BE49-F238E27FC236}">
                  <a16:creationId xmlns:a16="http://schemas.microsoft.com/office/drawing/2014/main" id="{8E829D49-1A6A-481A-B351-4DC788BE4032}"/>
                </a:ext>
              </a:extLst>
            </p:cNvPr>
            <p:cNvSpPr>
              <a:spLocks/>
            </p:cNvSpPr>
            <p:nvPr/>
          </p:nvSpPr>
          <p:spPr bwMode="auto">
            <a:xfrm>
              <a:off x="5032375" y="3479800"/>
              <a:ext cx="303213" cy="225425"/>
            </a:xfrm>
            <a:custGeom>
              <a:avLst/>
              <a:gdLst>
                <a:gd name="T0" fmla="*/ 350 w 384"/>
                <a:gd name="T1" fmla="*/ 180 h 285"/>
                <a:gd name="T2" fmla="*/ 332 w 384"/>
                <a:gd name="T3" fmla="*/ 180 h 285"/>
                <a:gd name="T4" fmla="*/ 266 w 384"/>
                <a:gd name="T5" fmla="*/ 112 h 285"/>
                <a:gd name="T6" fmla="*/ 259 w 384"/>
                <a:gd name="T7" fmla="*/ 105 h 285"/>
                <a:gd name="T8" fmla="*/ 259 w 384"/>
                <a:gd name="T9" fmla="*/ 105 h 285"/>
                <a:gd name="T10" fmla="*/ 230 w 384"/>
                <a:gd name="T11" fmla="*/ 105 h 285"/>
                <a:gd name="T12" fmla="*/ 230 w 384"/>
                <a:gd name="T13" fmla="*/ 76 h 285"/>
                <a:gd name="T14" fmla="*/ 245 w 384"/>
                <a:gd name="T15" fmla="*/ 64 h 285"/>
                <a:gd name="T16" fmla="*/ 245 w 384"/>
                <a:gd name="T17" fmla="*/ 64 h 285"/>
                <a:gd name="T18" fmla="*/ 179 w 384"/>
                <a:gd name="T19" fmla="*/ 0 h 285"/>
                <a:gd name="T20" fmla="*/ 148 w 384"/>
                <a:gd name="T21" fmla="*/ 0 h 285"/>
                <a:gd name="T22" fmla="*/ 97 w 384"/>
                <a:gd name="T23" fmla="*/ 0 h 285"/>
                <a:gd name="T24" fmla="*/ 98 w 384"/>
                <a:gd name="T25" fmla="*/ 39 h 285"/>
                <a:gd name="T26" fmla="*/ 88 w 384"/>
                <a:gd name="T27" fmla="*/ 50 h 285"/>
                <a:gd name="T28" fmla="*/ 34 w 384"/>
                <a:gd name="T29" fmla="*/ 103 h 285"/>
                <a:gd name="T30" fmla="*/ 34 w 384"/>
                <a:gd name="T31" fmla="*/ 155 h 285"/>
                <a:gd name="T32" fmla="*/ 0 w 384"/>
                <a:gd name="T33" fmla="*/ 155 h 285"/>
                <a:gd name="T34" fmla="*/ 0 w 384"/>
                <a:gd name="T35" fmla="*/ 176 h 285"/>
                <a:gd name="T36" fmla="*/ 82 w 384"/>
                <a:gd name="T37" fmla="*/ 258 h 285"/>
                <a:gd name="T38" fmla="*/ 90 w 384"/>
                <a:gd name="T39" fmla="*/ 258 h 285"/>
                <a:gd name="T40" fmla="*/ 111 w 384"/>
                <a:gd name="T41" fmla="*/ 258 h 285"/>
                <a:gd name="T42" fmla="*/ 136 w 384"/>
                <a:gd name="T43" fmla="*/ 283 h 285"/>
                <a:gd name="T44" fmla="*/ 186 w 384"/>
                <a:gd name="T45" fmla="*/ 283 h 285"/>
                <a:gd name="T46" fmla="*/ 207 w 384"/>
                <a:gd name="T47" fmla="*/ 260 h 285"/>
                <a:gd name="T48" fmla="*/ 232 w 384"/>
                <a:gd name="T49" fmla="*/ 285 h 285"/>
                <a:gd name="T50" fmla="*/ 275 w 384"/>
                <a:gd name="T51" fmla="*/ 240 h 285"/>
                <a:gd name="T52" fmla="*/ 323 w 384"/>
                <a:gd name="T53" fmla="*/ 240 h 285"/>
                <a:gd name="T54" fmla="*/ 384 w 384"/>
                <a:gd name="T55" fmla="*/ 180 h 285"/>
                <a:gd name="T56" fmla="*/ 350 w 384"/>
                <a:gd name="T57" fmla="*/ 18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4" h="285">
                  <a:moveTo>
                    <a:pt x="350" y="180"/>
                  </a:moveTo>
                  <a:lnTo>
                    <a:pt x="332" y="180"/>
                  </a:lnTo>
                  <a:lnTo>
                    <a:pt x="266" y="112"/>
                  </a:lnTo>
                  <a:lnTo>
                    <a:pt x="259" y="105"/>
                  </a:lnTo>
                  <a:lnTo>
                    <a:pt x="259" y="105"/>
                  </a:lnTo>
                  <a:lnTo>
                    <a:pt x="230" y="105"/>
                  </a:lnTo>
                  <a:lnTo>
                    <a:pt x="230" y="76"/>
                  </a:lnTo>
                  <a:lnTo>
                    <a:pt x="245" y="64"/>
                  </a:lnTo>
                  <a:lnTo>
                    <a:pt x="245" y="64"/>
                  </a:lnTo>
                  <a:lnTo>
                    <a:pt x="179" y="0"/>
                  </a:lnTo>
                  <a:lnTo>
                    <a:pt x="148" y="0"/>
                  </a:lnTo>
                  <a:lnTo>
                    <a:pt x="97" y="0"/>
                  </a:lnTo>
                  <a:lnTo>
                    <a:pt x="98" y="39"/>
                  </a:lnTo>
                  <a:lnTo>
                    <a:pt x="88" y="50"/>
                  </a:lnTo>
                  <a:lnTo>
                    <a:pt x="34" y="103"/>
                  </a:lnTo>
                  <a:lnTo>
                    <a:pt x="34" y="155"/>
                  </a:lnTo>
                  <a:lnTo>
                    <a:pt x="0" y="155"/>
                  </a:lnTo>
                  <a:lnTo>
                    <a:pt x="0" y="176"/>
                  </a:lnTo>
                  <a:lnTo>
                    <a:pt x="82" y="258"/>
                  </a:lnTo>
                  <a:lnTo>
                    <a:pt x="90" y="258"/>
                  </a:lnTo>
                  <a:lnTo>
                    <a:pt x="111" y="258"/>
                  </a:lnTo>
                  <a:lnTo>
                    <a:pt x="136" y="283"/>
                  </a:lnTo>
                  <a:lnTo>
                    <a:pt x="186" y="283"/>
                  </a:lnTo>
                  <a:lnTo>
                    <a:pt x="207" y="260"/>
                  </a:lnTo>
                  <a:lnTo>
                    <a:pt x="232" y="285"/>
                  </a:lnTo>
                  <a:lnTo>
                    <a:pt x="275" y="240"/>
                  </a:lnTo>
                  <a:lnTo>
                    <a:pt x="323" y="240"/>
                  </a:lnTo>
                  <a:lnTo>
                    <a:pt x="384" y="180"/>
                  </a:lnTo>
                  <a:lnTo>
                    <a:pt x="350" y="18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4" name="Freeform 422">
              <a:extLst>
                <a:ext uri="{FF2B5EF4-FFF2-40B4-BE49-F238E27FC236}">
                  <a16:creationId xmlns:a16="http://schemas.microsoft.com/office/drawing/2014/main" id="{5740A8CA-E402-45EA-9261-D135C7E1F75D}"/>
                </a:ext>
              </a:extLst>
            </p:cNvPr>
            <p:cNvSpPr>
              <a:spLocks/>
            </p:cNvSpPr>
            <p:nvPr/>
          </p:nvSpPr>
          <p:spPr bwMode="auto">
            <a:xfrm>
              <a:off x="4843463" y="3522663"/>
              <a:ext cx="254000" cy="179388"/>
            </a:xfrm>
            <a:custGeom>
              <a:avLst/>
              <a:gdLst>
                <a:gd name="T0" fmla="*/ 237 w 319"/>
                <a:gd name="T1" fmla="*/ 121 h 225"/>
                <a:gd name="T2" fmla="*/ 237 w 319"/>
                <a:gd name="T3" fmla="*/ 100 h 225"/>
                <a:gd name="T4" fmla="*/ 271 w 319"/>
                <a:gd name="T5" fmla="*/ 100 h 225"/>
                <a:gd name="T6" fmla="*/ 271 w 319"/>
                <a:gd name="T7" fmla="*/ 50 h 225"/>
                <a:gd name="T8" fmla="*/ 246 w 319"/>
                <a:gd name="T9" fmla="*/ 23 h 225"/>
                <a:gd name="T10" fmla="*/ 246 w 319"/>
                <a:gd name="T11" fmla="*/ 0 h 225"/>
                <a:gd name="T12" fmla="*/ 225 w 319"/>
                <a:gd name="T13" fmla="*/ 0 h 225"/>
                <a:gd name="T14" fmla="*/ 225 w 319"/>
                <a:gd name="T15" fmla="*/ 34 h 225"/>
                <a:gd name="T16" fmla="*/ 200 w 319"/>
                <a:gd name="T17" fmla="*/ 59 h 225"/>
                <a:gd name="T18" fmla="*/ 143 w 319"/>
                <a:gd name="T19" fmla="*/ 59 h 225"/>
                <a:gd name="T20" fmla="*/ 143 w 319"/>
                <a:gd name="T21" fmla="*/ 59 h 225"/>
                <a:gd name="T22" fmla="*/ 129 w 319"/>
                <a:gd name="T23" fmla="*/ 73 h 225"/>
                <a:gd name="T24" fmla="*/ 107 w 319"/>
                <a:gd name="T25" fmla="*/ 73 h 225"/>
                <a:gd name="T26" fmla="*/ 107 w 319"/>
                <a:gd name="T27" fmla="*/ 59 h 225"/>
                <a:gd name="T28" fmla="*/ 73 w 319"/>
                <a:gd name="T29" fmla="*/ 59 h 225"/>
                <a:gd name="T30" fmla="*/ 59 w 319"/>
                <a:gd name="T31" fmla="*/ 43 h 225"/>
                <a:gd name="T32" fmla="*/ 29 w 319"/>
                <a:gd name="T33" fmla="*/ 43 h 225"/>
                <a:gd name="T34" fmla="*/ 9 w 319"/>
                <a:gd name="T35" fmla="*/ 62 h 225"/>
                <a:gd name="T36" fmla="*/ 0 w 319"/>
                <a:gd name="T37" fmla="*/ 62 h 225"/>
                <a:gd name="T38" fmla="*/ 0 w 319"/>
                <a:gd name="T39" fmla="*/ 100 h 225"/>
                <a:gd name="T40" fmla="*/ 95 w 319"/>
                <a:gd name="T41" fmla="*/ 192 h 225"/>
                <a:gd name="T42" fmla="*/ 148 w 319"/>
                <a:gd name="T43" fmla="*/ 192 h 225"/>
                <a:gd name="T44" fmla="*/ 180 w 319"/>
                <a:gd name="T45" fmla="*/ 225 h 225"/>
                <a:gd name="T46" fmla="*/ 180 w 319"/>
                <a:gd name="T47" fmla="*/ 225 h 225"/>
                <a:gd name="T48" fmla="*/ 250 w 319"/>
                <a:gd name="T49" fmla="*/ 225 h 225"/>
                <a:gd name="T50" fmla="*/ 262 w 319"/>
                <a:gd name="T51" fmla="*/ 212 h 225"/>
                <a:gd name="T52" fmla="*/ 262 w 319"/>
                <a:gd name="T53" fmla="*/ 212 h 225"/>
                <a:gd name="T54" fmla="*/ 262 w 319"/>
                <a:gd name="T55" fmla="*/ 212 h 225"/>
                <a:gd name="T56" fmla="*/ 273 w 319"/>
                <a:gd name="T57" fmla="*/ 203 h 225"/>
                <a:gd name="T58" fmla="*/ 319 w 319"/>
                <a:gd name="T59" fmla="*/ 203 h 225"/>
                <a:gd name="T60" fmla="*/ 237 w 319"/>
                <a:gd name="T61" fmla="*/ 12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9" h="225">
                  <a:moveTo>
                    <a:pt x="237" y="121"/>
                  </a:moveTo>
                  <a:lnTo>
                    <a:pt x="237" y="100"/>
                  </a:lnTo>
                  <a:lnTo>
                    <a:pt x="271" y="100"/>
                  </a:lnTo>
                  <a:lnTo>
                    <a:pt x="271" y="50"/>
                  </a:lnTo>
                  <a:lnTo>
                    <a:pt x="246" y="23"/>
                  </a:lnTo>
                  <a:lnTo>
                    <a:pt x="246" y="0"/>
                  </a:lnTo>
                  <a:lnTo>
                    <a:pt x="225" y="0"/>
                  </a:lnTo>
                  <a:lnTo>
                    <a:pt x="225" y="34"/>
                  </a:lnTo>
                  <a:lnTo>
                    <a:pt x="200" y="59"/>
                  </a:lnTo>
                  <a:lnTo>
                    <a:pt x="143" y="59"/>
                  </a:lnTo>
                  <a:lnTo>
                    <a:pt x="143" y="59"/>
                  </a:lnTo>
                  <a:lnTo>
                    <a:pt x="129" y="73"/>
                  </a:lnTo>
                  <a:lnTo>
                    <a:pt x="107" y="73"/>
                  </a:lnTo>
                  <a:lnTo>
                    <a:pt x="107" y="59"/>
                  </a:lnTo>
                  <a:lnTo>
                    <a:pt x="73" y="59"/>
                  </a:lnTo>
                  <a:lnTo>
                    <a:pt x="59" y="43"/>
                  </a:lnTo>
                  <a:lnTo>
                    <a:pt x="29" y="43"/>
                  </a:lnTo>
                  <a:lnTo>
                    <a:pt x="9" y="62"/>
                  </a:lnTo>
                  <a:lnTo>
                    <a:pt x="0" y="62"/>
                  </a:lnTo>
                  <a:lnTo>
                    <a:pt x="0" y="100"/>
                  </a:lnTo>
                  <a:lnTo>
                    <a:pt x="95" y="192"/>
                  </a:lnTo>
                  <a:lnTo>
                    <a:pt x="148" y="192"/>
                  </a:lnTo>
                  <a:lnTo>
                    <a:pt x="180" y="225"/>
                  </a:lnTo>
                  <a:lnTo>
                    <a:pt x="180" y="225"/>
                  </a:lnTo>
                  <a:lnTo>
                    <a:pt x="250" y="225"/>
                  </a:lnTo>
                  <a:lnTo>
                    <a:pt x="262" y="212"/>
                  </a:lnTo>
                  <a:lnTo>
                    <a:pt x="262" y="212"/>
                  </a:lnTo>
                  <a:lnTo>
                    <a:pt x="262" y="212"/>
                  </a:lnTo>
                  <a:lnTo>
                    <a:pt x="273" y="203"/>
                  </a:lnTo>
                  <a:lnTo>
                    <a:pt x="319" y="203"/>
                  </a:lnTo>
                  <a:lnTo>
                    <a:pt x="237" y="121"/>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5" name="Freeform 423">
              <a:extLst>
                <a:ext uri="{FF2B5EF4-FFF2-40B4-BE49-F238E27FC236}">
                  <a16:creationId xmlns:a16="http://schemas.microsoft.com/office/drawing/2014/main" id="{BA9D64F5-9390-4C4A-B6E8-602C604A6281}"/>
                </a:ext>
              </a:extLst>
            </p:cNvPr>
            <p:cNvSpPr>
              <a:spLocks/>
            </p:cNvSpPr>
            <p:nvPr/>
          </p:nvSpPr>
          <p:spPr bwMode="auto">
            <a:xfrm>
              <a:off x="5214938" y="3530600"/>
              <a:ext cx="38100" cy="31750"/>
            </a:xfrm>
            <a:custGeom>
              <a:avLst/>
              <a:gdLst>
                <a:gd name="T0" fmla="*/ 49 w 49"/>
                <a:gd name="T1" fmla="*/ 0 h 41"/>
                <a:gd name="T2" fmla="*/ 15 w 49"/>
                <a:gd name="T3" fmla="*/ 0 h 41"/>
                <a:gd name="T4" fmla="*/ 15 w 49"/>
                <a:gd name="T5" fmla="*/ 0 h 41"/>
                <a:gd name="T6" fmla="*/ 0 w 49"/>
                <a:gd name="T7" fmla="*/ 12 h 41"/>
                <a:gd name="T8" fmla="*/ 0 w 49"/>
                <a:gd name="T9" fmla="*/ 41 h 41"/>
                <a:gd name="T10" fmla="*/ 29 w 49"/>
                <a:gd name="T11" fmla="*/ 41 h 41"/>
                <a:gd name="T12" fmla="*/ 49 w 49"/>
                <a:gd name="T13" fmla="*/ 21 h 41"/>
                <a:gd name="T14" fmla="*/ 49 w 49"/>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41">
                  <a:moveTo>
                    <a:pt x="49" y="0"/>
                  </a:moveTo>
                  <a:lnTo>
                    <a:pt x="15" y="0"/>
                  </a:lnTo>
                  <a:lnTo>
                    <a:pt x="15" y="0"/>
                  </a:lnTo>
                  <a:lnTo>
                    <a:pt x="0" y="12"/>
                  </a:lnTo>
                  <a:lnTo>
                    <a:pt x="0" y="41"/>
                  </a:lnTo>
                  <a:lnTo>
                    <a:pt x="29" y="41"/>
                  </a:lnTo>
                  <a:lnTo>
                    <a:pt x="49" y="21"/>
                  </a:lnTo>
                  <a:lnTo>
                    <a:pt x="49"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6" name="Freeform 424">
              <a:extLst>
                <a:ext uri="{FF2B5EF4-FFF2-40B4-BE49-F238E27FC236}">
                  <a16:creationId xmlns:a16="http://schemas.microsoft.com/office/drawing/2014/main" id="{7E7238F5-5805-41D8-B4CB-B2C1B9BBBF4B}"/>
                </a:ext>
              </a:extLst>
            </p:cNvPr>
            <p:cNvSpPr>
              <a:spLocks/>
            </p:cNvSpPr>
            <p:nvPr/>
          </p:nvSpPr>
          <p:spPr bwMode="auto">
            <a:xfrm>
              <a:off x="4348163" y="3263900"/>
              <a:ext cx="327025" cy="276225"/>
            </a:xfrm>
            <a:custGeom>
              <a:avLst/>
              <a:gdLst>
                <a:gd name="T0" fmla="*/ 400 w 412"/>
                <a:gd name="T1" fmla="*/ 98 h 347"/>
                <a:gd name="T2" fmla="*/ 400 w 412"/>
                <a:gd name="T3" fmla="*/ 44 h 347"/>
                <a:gd name="T4" fmla="*/ 378 w 412"/>
                <a:gd name="T5" fmla="*/ 23 h 347"/>
                <a:gd name="T6" fmla="*/ 316 w 412"/>
                <a:gd name="T7" fmla="*/ 23 h 347"/>
                <a:gd name="T8" fmla="*/ 293 w 412"/>
                <a:gd name="T9" fmla="*/ 0 h 347"/>
                <a:gd name="T10" fmla="*/ 184 w 412"/>
                <a:gd name="T11" fmla="*/ 123 h 347"/>
                <a:gd name="T12" fmla="*/ 162 w 412"/>
                <a:gd name="T13" fmla="*/ 123 h 347"/>
                <a:gd name="T14" fmla="*/ 143 w 412"/>
                <a:gd name="T15" fmla="*/ 142 h 347"/>
                <a:gd name="T16" fmla="*/ 128 w 412"/>
                <a:gd name="T17" fmla="*/ 142 h 347"/>
                <a:gd name="T18" fmla="*/ 128 w 412"/>
                <a:gd name="T19" fmla="*/ 233 h 347"/>
                <a:gd name="T20" fmla="*/ 107 w 412"/>
                <a:gd name="T21" fmla="*/ 253 h 347"/>
                <a:gd name="T22" fmla="*/ 66 w 412"/>
                <a:gd name="T23" fmla="*/ 253 h 347"/>
                <a:gd name="T24" fmla="*/ 38 w 412"/>
                <a:gd name="T25" fmla="*/ 253 h 347"/>
                <a:gd name="T26" fmla="*/ 23 w 412"/>
                <a:gd name="T27" fmla="*/ 240 h 347"/>
                <a:gd name="T28" fmla="*/ 0 w 412"/>
                <a:gd name="T29" fmla="*/ 264 h 347"/>
                <a:gd name="T30" fmla="*/ 52 w 412"/>
                <a:gd name="T31" fmla="*/ 301 h 347"/>
                <a:gd name="T32" fmla="*/ 52 w 412"/>
                <a:gd name="T33" fmla="*/ 326 h 347"/>
                <a:gd name="T34" fmla="*/ 73 w 412"/>
                <a:gd name="T35" fmla="*/ 347 h 347"/>
                <a:gd name="T36" fmla="*/ 73 w 412"/>
                <a:gd name="T37" fmla="*/ 347 h 347"/>
                <a:gd name="T38" fmla="*/ 73 w 412"/>
                <a:gd name="T39" fmla="*/ 330 h 347"/>
                <a:gd name="T40" fmla="*/ 91 w 412"/>
                <a:gd name="T41" fmla="*/ 330 h 347"/>
                <a:gd name="T42" fmla="*/ 107 w 412"/>
                <a:gd name="T43" fmla="*/ 344 h 347"/>
                <a:gd name="T44" fmla="*/ 132 w 412"/>
                <a:gd name="T45" fmla="*/ 319 h 347"/>
                <a:gd name="T46" fmla="*/ 132 w 412"/>
                <a:gd name="T47" fmla="*/ 289 h 347"/>
                <a:gd name="T48" fmla="*/ 153 w 412"/>
                <a:gd name="T49" fmla="*/ 289 h 347"/>
                <a:gd name="T50" fmla="*/ 193 w 412"/>
                <a:gd name="T51" fmla="*/ 326 h 347"/>
                <a:gd name="T52" fmla="*/ 211 w 412"/>
                <a:gd name="T53" fmla="*/ 308 h 347"/>
                <a:gd name="T54" fmla="*/ 228 w 412"/>
                <a:gd name="T55" fmla="*/ 308 h 347"/>
                <a:gd name="T56" fmla="*/ 253 w 412"/>
                <a:gd name="T57" fmla="*/ 308 h 347"/>
                <a:gd name="T58" fmla="*/ 273 w 412"/>
                <a:gd name="T59" fmla="*/ 289 h 347"/>
                <a:gd name="T60" fmla="*/ 284 w 412"/>
                <a:gd name="T61" fmla="*/ 301 h 347"/>
                <a:gd name="T62" fmla="*/ 310 w 412"/>
                <a:gd name="T63" fmla="*/ 301 h 347"/>
                <a:gd name="T64" fmla="*/ 323 w 412"/>
                <a:gd name="T65" fmla="*/ 312 h 347"/>
                <a:gd name="T66" fmla="*/ 337 w 412"/>
                <a:gd name="T67" fmla="*/ 297 h 347"/>
                <a:gd name="T68" fmla="*/ 337 w 412"/>
                <a:gd name="T69" fmla="*/ 297 h 347"/>
                <a:gd name="T70" fmla="*/ 373 w 412"/>
                <a:gd name="T71" fmla="*/ 262 h 347"/>
                <a:gd name="T72" fmla="*/ 373 w 412"/>
                <a:gd name="T73" fmla="*/ 233 h 347"/>
                <a:gd name="T74" fmla="*/ 412 w 412"/>
                <a:gd name="T75" fmla="*/ 233 h 347"/>
                <a:gd name="T76" fmla="*/ 412 w 412"/>
                <a:gd name="T77" fmla="*/ 142 h 347"/>
                <a:gd name="T78" fmla="*/ 412 w 412"/>
                <a:gd name="T79" fmla="*/ 110 h 347"/>
                <a:gd name="T80" fmla="*/ 400 w 412"/>
                <a:gd name="T81" fmla="*/ 9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347">
                  <a:moveTo>
                    <a:pt x="400" y="98"/>
                  </a:moveTo>
                  <a:lnTo>
                    <a:pt x="400" y="44"/>
                  </a:lnTo>
                  <a:lnTo>
                    <a:pt x="378" y="23"/>
                  </a:lnTo>
                  <a:lnTo>
                    <a:pt x="316" y="23"/>
                  </a:lnTo>
                  <a:lnTo>
                    <a:pt x="293" y="0"/>
                  </a:lnTo>
                  <a:lnTo>
                    <a:pt x="184" y="123"/>
                  </a:lnTo>
                  <a:lnTo>
                    <a:pt x="162" y="123"/>
                  </a:lnTo>
                  <a:lnTo>
                    <a:pt x="143" y="142"/>
                  </a:lnTo>
                  <a:lnTo>
                    <a:pt x="128" y="142"/>
                  </a:lnTo>
                  <a:lnTo>
                    <a:pt x="128" y="233"/>
                  </a:lnTo>
                  <a:lnTo>
                    <a:pt x="107" y="253"/>
                  </a:lnTo>
                  <a:lnTo>
                    <a:pt x="66" y="253"/>
                  </a:lnTo>
                  <a:lnTo>
                    <a:pt x="38" y="253"/>
                  </a:lnTo>
                  <a:lnTo>
                    <a:pt x="23" y="240"/>
                  </a:lnTo>
                  <a:lnTo>
                    <a:pt x="0" y="264"/>
                  </a:lnTo>
                  <a:lnTo>
                    <a:pt x="52" y="301"/>
                  </a:lnTo>
                  <a:lnTo>
                    <a:pt x="52" y="326"/>
                  </a:lnTo>
                  <a:lnTo>
                    <a:pt x="73" y="347"/>
                  </a:lnTo>
                  <a:lnTo>
                    <a:pt x="73" y="347"/>
                  </a:lnTo>
                  <a:lnTo>
                    <a:pt x="73" y="330"/>
                  </a:lnTo>
                  <a:lnTo>
                    <a:pt x="91" y="330"/>
                  </a:lnTo>
                  <a:lnTo>
                    <a:pt x="107" y="344"/>
                  </a:lnTo>
                  <a:lnTo>
                    <a:pt x="132" y="319"/>
                  </a:lnTo>
                  <a:lnTo>
                    <a:pt x="132" y="289"/>
                  </a:lnTo>
                  <a:lnTo>
                    <a:pt x="153" y="289"/>
                  </a:lnTo>
                  <a:lnTo>
                    <a:pt x="193" y="326"/>
                  </a:lnTo>
                  <a:lnTo>
                    <a:pt x="211" y="308"/>
                  </a:lnTo>
                  <a:lnTo>
                    <a:pt x="228" y="308"/>
                  </a:lnTo>
                  <a:lnTo>
                    <a:pt x="253" y="308"/>
                  </a:lnTo>
                  <a:lnTo>
                    <a:pt x="273" y="289"/>
                  </a:lnTo>
                  <a:lnTo>
                    <a:pt x="284" y="301"/>
                  </a:lnTo>
                  <a:lnTo>
                    <a:pt x="310" y="301"/>
                  </a:lnTo>
                  <a:lnTo>
                    <a:pt x="323" y="312"/>
                  </a:lnTo>
                  <a:lnTo>
                    <a:pt x="337" y="297"/>
                  </a:lnTo>
                  <a:lnTo>
                    <a:pt x="337" y="297"/>
                  </a:lnTo>
                  <a:lnTo>
                    <a:pt x="373" y="262"/>
                  </a:lnTo>
                  <a:lnTo>
                    <a:pt x="373" y="233"/>
                  </a:lnTo>
                  <a:lnTo>
                    <a:pt x="412" y="233"/>
                  </a:lnTo>
                  <a:lnTo>
                    <a:pt x="412" y="142"/>
                  </a:lnTo>
                  <a:lnTo>
                    <a:pt x="412" y="110"/>
                  </a:lnTo>
                  <a:lnTo>
                    <a:pt x="400" y="98"/>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7" name="Freeform 425">
              <a:extLst>
                <a:ext uri="{FF2B5EF4-FFF2-40B4-BE49-F238E27FC236}">
                  <a16:creationId xmlns:a16="http://schemas.microsoft.com/office/drawing/2014/main" id="{E4E3583D-9D03-4486-9678-01B572B943F9}"/>
                </a:ext>
              </a:extLst>
            </p:cNvPr>
            <p:cNvSpPr>
              <a:spLocks/>
            </p:cNvSpPr>
            <p:nvPr/>
          </p:nvSpPr>
          <p:spPr bwMode="auto">
            <a:xfrm>
              <a:off x="4375150" y="3525838"/>
              <a:ext cx="58738" cy="130175"/>
            </a:xfrm>
            <a:custGeom>
              <a:avLst/>
              <a:gdLst>
                <a:gd name="T0" fmla="*/ 57 w 73"/>
                <a:gd name="T1" fmla="*/ 0 h 164"/>
                <a:gd name="T2" fmla="*/ 39 w 73"/>
                <a:gd name="T3" fmla="*/ 0 h 164"/>
                <a:gd name="T4" fmla="*/ 39 w 73"/>
                <a:gd name="T5" fmla="*/ 17 h 164"/>
                <a:gd name="T6" fmla="*/ 25 w 73"/>
                <a:gd name="T7" fmla="*/ 32 h 164"/>
                <a:gd name="T8" fmla="*/ 0 w 73"/>
                <a:gd name="T9" fmla="*/ 32 h 164"/>
                <a:gd name="T10" fmla="*/ 0 w 73"/>
                <a:gd name="T11" fmla="*/ 57 h 164"/>
                <a:gd name="T12" fmla="*/ 11 w 73"/>
                <a:gd name="T13" fmla="*/ 65 h 164"/>
                <a:gd name="T14" fmla="*/ 11 w 73"/>
                <a:gd name="T15" fmla="*/ 78 h 164"/>
                <a:gd name="T16" fmla="*/ 18 w 73"/>
                <a:gd name="T17" fmla="*/ 85 h 164"/>
                <a:gd name="T18" fmla="*/ 18 w 73"/>
                <a:gd name="T19" fmla="*/ 156 h 164"/>
                <a:gd name="T20" fmla="*/ 25 w 73"/>
                <a:gd name="T21" fmla="*/ 164 h 164"/>
                <a:gd name="T22" fmla="*/ 45 w 73"/>
                <a:gd name="T23" fmla="*/ 164 h 164"/>
                <a:gd name="T24" fmla="*/ 45 w 73"/>
                <a:gd name="T25" fmla="*/ 87 h 164"/>
                <a:gd name="T26" fmla="*/ 73 w 73"/>
                <a:gd name="T27" fmla="*/ 58 h 164"/>
                <a:gd name="T28" fmla="*/ 73 w 73"/>
                <a:gd name="T29" fmla="*/ 14 h 164"/>
                <a:gd name="T30" fmla="*/ 57 w 73"/>
                <a:gd name="T3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164">
                  <a:moveTo>
                    <a:pt x="57" y="0"/>
                  </a:moveTo>
                  <a:lnTo>
                    <a:pt x="39" y="0"/>
                  </a:lnTo>
                  <a:lnTo>
                    <a:pt x="39" y="17"/>
                  </a:lnTo>
                  <a:lnTo>
                    <a:pt x="25" y="32"/>
                  </a:lnTo>
                  <a:lnTo>
                    <a:pt x="0" y="32"/>
                  </a:lnTo>
                  <a:lnTo>
                    <a:pt x="0" y="57"/>
                  </a:lnTo>
                  <a:lnTo>
                    <a:pt x="11" y="65"/>
                  </a:lnTo>
                  <a:lnTo>
                    <a:pt x="11" y="78"/>
                  </a:lnTo>
                  <a:lnTo>
                    <a:pt x="18" y="85"/>
                  </a:lnTo>
                  <a:lnTo>
                    <a:pt x="18" y="156"/>
                  </a:lnTo>
                  <a:lnTo>
                    <a:pt x="25" y="164"/>
                  </a:lnTo>
                  <a:lnTo>
                    <a:pt x="45" y="164"/>
                  </a:lnTo>
                  <a:lnTo>
                    <a:pt x="45" y="87"/>
                  </a:lnTo>
                  <a:lnTo>
                    <a:pt x="73" y="58"/>
                  </a:lnTo>
                  <a:lnTo>
                    <a:pt x="73" y="14"/>
                  </a:lnTo>
                  <a:lnTo>
                    <a:pt x="57" y="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8" name="Freeform 426">
              <a:extLst>
                <a:ext uri="{FF2B5EF4-FFF2-40B4-BE49-F238E27FC236}">
                  <a16:creationId xmlns:a16="http://schemas.microsoft.com/office/drawing/2014/main" id="{44E75DD7-1D7C-4579-8E09-3C9744E7790F}"/>
                </a:ext>
              </a:extLst>
            </p:cNvPr>
            <p:cNvSpPr>
              <a:spLocks/>
            </p:cNvSpPr>
            <p:nvPr/>
          </p:nvSpPr>
          <p:spPr bwMode="auto">
            <a:xfrm>
              <a:off x="4294188" y="3551238"/>
              <a:ext cx="90488" cy="146050"/>
            </a:xfrm>
            <a:custGeom>
              <a:avLst/>
              <a:gdLst>
                <a:gd name="T0" fmla="*/ 98 w 114"/>
                <a:gd name="T1" fmla="*/ 50 h 183"/>
                <a:gd name="T2" fmla="*/ 91 w 114"/>
                <a:gd name="T3" fmla="*/ 50 h 183"/>
                <a:gd name="T4" fmla="*/ 91 w 114"/>
                <a:gd name="T5" fmla="*/ 50 h 183"/>
                <a:gd name="T6" fmla="*/ 91 w 114"/>
                <a:gd name="T7" fmla="*/ 23 h 183"/>
                <a:gd name="T8" fmla="*/ 91 w 114"/>
                <a:gd name="T9" fmla="*/ 23 h 183"/>
                <a:gd name="T10" fmla="*/ 82 w 114"/>
                <a:gd name="T11" fmla="*/ 14 h 183"/>
                <a:gd name="T12" fmla="*/ 82 w 114"/>
                <a:gd name="T13" fmla="*/ 0 h 183"/>
                <a:gd name="T14" fmla="*/ 25 w 114"/>
                <a:gd name="T15" fmla="*/ 0 h 183"/>
                <a:gd name="T16" fmla="*/ 0 w 114"/>
                <a:gd name="T17" fmla="*/ 25 h 183"/>
                <a:gd name="T18" fmla="*/ 2 w 114"/>
                <a:gd name="T19" fmla="*/ 25 h 183"/>
                <a:gd name="T20" fmla="*/ 6 w 114"/>
                <a:gd name="T21" fmla="*/ 25 h 183"/>
                <a:gd name="T22" fmla="*/ 7 w 114"/>
                <a:gd name="T23" fmla="*/ 25 h 183"/>
                <a:gd name="T24" fmla="*/ 7 w 114"/>
                <a:gd name="T25" fmla="*/ 53 h 183"/>
                <a:gd name="T26" fmla="*/ 27 w 114"/>
                <a:gd name="T27" fmla="*/ 73 h 183"/>
                <a:gd name="T28" fmla="*/ 27 w 114"/>
                <a:gd name="T29" fmla="*/ 98 h 183"/>
                <a:gd name="T30" fmla="*/ 6 w 114"/>
                <a:gd name="T31" fmla="*/ 119 h 183"/>
                <a:gd name="T32" fmla="*/ 6 w 114"/>
                <a:gd name="T33" fmla="*/ 171 h 183"/>
                <a:gd name="T34" fmla="*/ 18 w 114"/>
                <a:gd name="T35" fmla="*/ 183 h 183"/>
                <a:gd name="T36" fmla="*/ 54 w 114"/>
                <a:gd name="T37" fmla="*/ 146 h 183"/>
                <a:gd name="T38" fmla="*/ 100 w 114"/>
                <a:gd name="T39" fmla="*/ 146 h 183"/>
                <a:gd name="T40" fmla="*/ 114 w 114"/>
                <a:gd name="T41" fmla="*/ 132 h 183"/>
                <a:gd name="T42" fmla="*/ 98 w 114"/>
                <a:gd name="T43" fmla="*/ 115 h 183"/>
                <a:gd name="T44" fmla="*/ 98 w 114"/>
                <a:gd name="T45" fmla="*/ 5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4" h="183">
                  <a:moveTo>
                    <a:pt x="98" y="50"/>
                  </a:moveTo>
                  <a:lnTo>
                    <a:pt x="91" y="50"/>
                  </a:lnTo>
                  <a:lnTo>
                    <a:pt x="91" y="50"/>
                  </a:lnTo>
                  <a:lnTo>
                    <a:pt x="91" y="23"/>
                  </a:lnTo>
                  <a:lnTo>
                    <a:pt x="91" y="23"/>
                  </a:lnTo>
                  <a:lnTo>
                    <a:pt x="82" y="14"/>
                  </a:lnTo>
                  <a:lnTo>
                    <a:pt x="82" y="0"/>
                  </a:lnTo>
                  <a:lnTo>
                    <a:pt x="25" y="0"/>
                  </a:lnTo>
                  <a:lnTo>
                    <a:pt x="0" y="25"/>
                  </a:lnTo>
                  <a:lnTo>
                    <a:pt x="2" y="25"/>
                  </a:lnTo>
                  <a:lnTo>
                    <a:pt x="6" y="25"/>
                  </a:lnTo>
                  <a:lnTo>
                    <a:pt x="7" y="25"/>
                  </a:lnTo>
                  <a:lnTo>
                    <a:pt x="7" y="53"/>
                  </a:lnTo>
                  <a:lnTo>
                    <a:pt x="27" y="73"/>
                  </a:lnTo>
                  <a:lnTo>
                    <a:pt x="27" y="98"/>
                  </a:lnTo>
                  <a:lnTo>
                    <a:pt x="6" y="119"/>
                  </a:lnTo>
                  <a:lnTo>
                    <a:pt x="6" y="171"/>
                  </a:lnTo>
                  <a:lnTo>
                    <a:pt x="18" y="183"/>
                  </a:lnTo>
                  <a:lnTo>
                    <a:pt x="54" y="146"/>
                  </a:lnTo>
                  <a:lnTo>
                    <a:pt x="100" y="146"/>
                  </a:lnTo>
                  <a:lnTo>
                    <a:pt x="114" y="132"/>
                  </a:lnTo>
                  <a:lnTo>
                    <a:pt x="98" y="115"/>
                  </a:lnTo>
                  <a:lnTo>
                    <a:pt x="98" y="50"/>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09" name="Freeform 427">
              <a:extLst>
                <a:ext uri="{FF2B5EF4-FFF2-40B4-BE49-F238E27FC236}">
                  <a16:creationId xmlns:a16="http://schemas.microsoft.com/office/drawing/2014/main" id="{6DCDEC89-F609-48F1-93CD-DD5E356EF431}"/>
                </a:ext>
              </a:extLst>
            </p:cNvPr>
            <p:cNvSpPr>
              <a:spLocks/>
            </p:cNvSpPr>
            <p:nvPr/>
          </p:nvSpPr>
          <p:spPr bwMode="auto">
            <a:xfrm>
              <a:off x="4359275" y="3551238"/>
              <a:ext cx="34925" cy="104775"/>
            </a:xfrm>
            <a:custGeom>
              <a:avLst/>
              <a:gdLst>
                <a:gd name="T0" fmla="*/ 38 w 45"/>
                <a:gd name="T1" fmla="*/ 53 h 132"/>
                <a:gd name="T2" fmla="*/ 31 w 45"/>
                <a:gd name="T3" fmla="*/ 46 h 132"/>
                <a:gd name="T4" fmla="*/ 31 w 45"/>
                <a:gd name="T5" fmla="*/ 33 h 132"/>
                <a:gd name="T6" fmla="*/ 20 w 45"/>
                <a:gd name="T7" fmla="*/ 25 h 132"/>
                <a:gd name="T8" fmla="*/ 20 w 45"/>
                <a:gd name="T9" fmla="*/ 0 h 132"/>
                <a:gd name="T10" fmla="*/ 0 w 45"/>
                <a:gd name="T11" fmla="*/ 0 h 132"/>
                <a:gd name="T12" fmla="*/ 0 w 45"/>
                <a:gd name="T13" fmla="*/ 14 h 132"/>
                <a:gd name="T14" fmla="*/ 0 w 45"/>
                <a:gd name="T15" fmla="*/ 14 h 132"/>
                <a:gd name="T16" fmla="*/ 9 w 45"/>
                <a:gd name="T17" fmla="*/ 23 h 132"/>
                <a:gd name="T18" fmla="*/ 9 w 45"/>
                <a:gd name="T19" fmla="*/ 23 h 132"/>
                <a:gd name="T20" fmla="*/ 9 w 45"/>
                <a:gd name="T21" fmla="*/ 50 h 132"/>
                <a:gd name="T22" fmla="*/ 16 w 45"/>
                <a:gd name="T23" fmla="*/ 50 h 132"/>
                <a:gd name="T24" fmla="*/ 16 w 45"/>
                <a:gd name="T25" fmla="*/ 115 h 132"/>
                <a:gd name="T26" fmla="*/ 32 w 45"/>
                <a:gd name="T27" fmla="*/ 132 h 132"/>
                <a:gd name="T28" fmla="*/ 32 w 45"/>
                <a:gd name="T29" fmla="*/ 132 h 132"/>
                <a:gd name="T30" fmla="*/ 45 w 45"/>
                <a:gd name="T31" fmla="*/ 132 h 132"/>
                <a:gd name="T32" fmla="*/ 38 w 45"/>
                <a:gd name="T33" fmla="*/ 124 h 132"/>
                <a:gd name="T34" fmla="*/ 38 w 45"/>
                <a:gd name="T35" fmla="*/ 5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132">
                  <a:moveTo>
                    <a:pt x="38" y="53"/>
                  </a:moveTo>
                  <a:lnTo>
                    <a:pt x="31" y="46"/>
                  </a:lnTo>
                  <a:lnTo>
                    <a:pt x="31" y="33"/>
                  </a:lnTo>
                  <a:lnTo>
                    <a:pt x="20" y="25"/>
                  </a:lnTo>
                  <a:lnTo>
                    <a:pt x="20" y="0"/>
                  </a:lnTo>
                  <a:lnTo>
                    <a:pt x="0" y="0"/>
                  </a:lnTo>
                  <a:lnTo>
                    <a:pt x="0" y="14"/>
                  </a:lnTo>
                  <a:lnTo>
                    <a:pt x="0" y="14"/>
                  </a:lnTo>
                  <a:lnTo>
                    <a:pt x="9" y="23"/>
                  </a:lnTo>
                  <a:lnTo>
                    <a:pt x="9" y="23"/>
                  </a:lnTo>
                  <a:lnTo>
                    <a:pt x="9" y="50"/>
                  </a:lnTo>
                  <a:lnTo>
                    <a:pt x="16" y="50"/>
                  </a:lnTo>
                  <a:lnTo>
                    <a:pt x="16" y="115"/>
                  </a:lnTo>
                  <a:lnTo>
                    <a:pt x="32" y="132"/>
                  </a:lnTo>
                  <a:lnTo>
                    <a:pt x="32" y="132"/>
                  </a:lnTo>
                  <a:lnTo>
                    <a:pt x="45" y="132"/>
                  </a:lnTo>
                  <a:lnTo>
                    <a:pt x="38" y="124"/>
                  </a:lnTo>
                  <a:lnTo>
                    <a:pt x="38" y="53"/>
                  </a:lnTo>
                  <a:close/>
                </a:path>
              </a:pathLst>
            </a:custGeom>
            <a:solidFill>
              <a:schemeClr val="bg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0" name="Freeform 428">
              <a:extLst>
                <a:ext uri="{FF2B5EF4-FFF2-40B4-BE49-F238E27FC236}">
                  <a16:creationId xmlns:a16="http://schemas.microsoft.com/office/drawing/2014/main" id="{113C1C9F-FFD5-458C-A4AA-649D07D49F62}"/>
                </a:ext>
              </a:extLst>
            </p:cNvPr>
            <p:cNvSpPr>
              <a:spLocks/>
            </p:cNvSpPr>
            <p:nvPr/>
          </p:nvSpPr>
          <p:spPr bwMode="auto">
            <a:xfrm>
              <a:off x="1809750" y="2609850"/>
              <a:ext cx="1182688" cy="627063"/>
            </a:xfrm>
            <a:custGeom>
              <a:avLst/>
              <a:gdLst>
                <a:gd name="T0" fmla="*/ 1410 w 1489"/>
                <a:gd name="T1" fmla="*/ 131 h 792"/>
                <a:gd name="T2" fmla="*/ 1307 w 1489"/>
                <a:gd name="T3" fmla="*/ 131 h 792"/>
                <a:gd name="T4" fmla="*/ 1223 w 1489"/>
                <a:gd name="T5" fmla="*/ 173 h 792"/>
                <a:gd name="T6" fmla="*/ 1121 w 1489"/>
                <a:gd name="T7" fmla="*/ 234 h 792"/>
                <a:gd name="T8" fmla="*/ 1068 w 1489"/>
                <a:gd name="T9" fmla="*/ 246 h 792"/>
                <a:gd name="T10" fmla="*/ 1161 w 1489"/>
                <a:gd name="T11" fmla="*/ 152 h 792"/>
                <a:gd name="T12" fmla="*/ 1048 w 1489"/>
                <a:gd name="T13" fmla="*/ 115 h 792"/>
                <a:gd name="T14" fmla="*/ 980 w 1489"/>
                <a:gd name="T15" fmla="*/ 4 h 792"/>
                <a:gd name="T16" fmla="*/ 893 w 1489"/>
                <a:gd name="T17" fmla="*/ 38 h 792"/>
                <a:gd name="T18" fmla="*/ 772 w 1489"/>
                <a:gd name="T19" fmla="*/ 0 h 792"/>
                <a:gd name="T20" fmla="*/ 35 w 1489"/>
                <a:gd name="T21" fmla="*/ 17 h 792"/>
                <a:gd name="T22" fmla="*/ 0 w 1489"/>
                <a:gd name="T23" fmla="*/ 49 h 792"/>
                <a:gd name="T24" fmla="*/ 19 w 1489"/>
                <a:gd name="T25" fmla="*/ 164 h 792"/>
                <a:gd name="T26" fmla="*/ 123 w 1489"/>
                <a:gd name="T27" fmla="*/ 271 h 792"/>
                <a:gd name="T28" fmla="*/ 255 w 1489"/>
                <a:gd name="T29" fmla="*/ 516 h 792"/>
                <a:gd name="T30" fmla="*/ 255 w 1489"/>
                <a:gd name="T31" fmla="*/ 558 h 792"/>
                <a:gd name="T32" fmla="*/ 351 w 1489"/>
                <a:gd name="T33" fmla="*/ 583 h 792"/>
                <a:gd name="T34" fmla="*/ 417 w 1489"/>
                <a:gd name="T35" fmla="*/ 599 h 792"/>
                <a:gd name="T36" fmla="*/ 472 w 1489"/>
                <a:gd name="T37" fmla="*/ 587 h 792"/>
                <a:gd name="T38" fmla="*/ 522 w 1489"/>
                <a:gd name="T39" fmla="*/ 662 h 792"/>
                <a:gd name="T40" fmla="*/ 561 w 1489"/>
                <a:gd name="T41" fmla="*/ 664 h 792"/>
                <a:gd name="T42" fmla="*/ 642 w 1489"/>
                <a:gd name="T43" fmla="*/ 710 h 792"/>
                <a:gd name="T44" fmla="*/ 717 w 1489"/>
                <a:gd name="T45" fmla="*/ 751 h 792"/>
                <a:gd name="T46" fmla="*/ 777 w 1489"/>
                <a:gd name="T47" fmla="*/ 674 h 792"/>
                <a:gd name="T48" fmla="*/ 907 w 1489"/>
                <a:gd name="T49" fmla="*/ 655 h 792"/>
                <a:gd name="T50" fmla="*/ 995 w 1489"/>
                <a:gd name="T51" fmla="*/ 642 h 792"/>
                <a:gd name="T52" fmla="*/ 1059 w 1489"/>
                <a:gd name="T53" fmla="*/ 664 h 792"/>
                <a:gd name="T54" fmla="*/ 1087 w 1489"/>
                <a:gd name="T55" fmla="*/ 756 h 792"/>
                <a:gd name="T56" fmla="*/ 1145 w 1489"/>
                <a:gd name="T57" fmla="*/ 792 h 792"/>
                <a:gd name="T58" fmla="*/ 1120 w 1489"/>
                <a:gd name="T59" fmla="*/ 674 h 792"/>
                <a:gd name="T60" fmla="*/ 1153 w 1489"/>
                <a:gd name="T61" fmla="*/ 596 h 792"/>
                <a:gd name="T62" fmla="*/ 1228 w 1489"/>
                <a:gd name="T63" fmla="*/ 492 h 792"/>
                <a:gd name="T64" fmla="*/ 1268 w 1489"/>
                <a:gd name="T65" fmla="*/ 476 h 792"/>
                <a:gd name="T66" fmla="*/ 1230 w 1489"/>
                <a:gd name="T67" fmla="*/ 405 h 792"/>
                <a:gd name="T68" fmla="*/ 1262 w 1489"/>
                <a:gd name="T69" fmla="*/ 416 h 792"/>
                <a:gd name="T70" fmla="*/ 1293 w 1489"/>
                <a:gd name="T71" fmla="*/ 403 h 792"/>
                <a:gd name="T72" fmla="*/ 1321 w 1489"/>
                <a:gd name="T73" fmla="*/ 344 h 792"/>
                <a:gd name="T74" fmla="*/ 1330 w 1489"/>
                <a:gd name="T75" fmla="*/ 293 h 792"/>
                <a:gd name="T76" fmla="*/ 1419 w 1489"/>
                <a:gd name="T77" fmla="*/ 275 h 792"/>
                <a:gd name="T78" fmla="*/ 1401 w 1489"/>
                <a:gd name="T79" fmla="*/ 232 h 792"/>
                <a:gd name="T80" fmla="*/ 1489 w 1489"/>
                <a:gd name="T81" fmla="*/ 177 h 792"/>
                <a:gd name="T82" fmla="*/ 1442 w 1489"/>
                <a:gd name="T83" fmla="*/ 10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89" h="792">
                  <a:moveTo>
                    <a:pt x="1442" y="100"/>
                  </a:moveTo>
                  <a:lnTo>
                    <a:pt x="1410" y="131"/>
                  </a:lnTo>
                  <a:lnTo>
                    <a:pt x="1403" y="131"/>
                  </a:lnTo>
                  <a:lnTo>
                    <a:pt x="1307" y="131"/>
                  </a:lnTo>
                  <a:lnTo>
                    <a:pt x="1264" y="173"/>
                  </a:lnTo>
                  <a:lnTo>
                    <a:pt x="1223" y="173"/>
                  </a:lnTo>
                  <a:lnTo>
                    <a:pt x="1162" y="234"/>
                  </a:lnTo>
                  <a:lnTo>
                    <a:pt x="1121" y="234"/>
                  </a:lnTo>
                  <a:lnTo>
                    <a:pt x="1089" y="268"/>
                  </a:lnTo>
                  <a:lnTo>
                    <a:pt x="1068" y="246"/>
                  </a:lnTo>
                  <a:lnTo>
                    <a:pt x="1145" y="170"/>
                  </a:lnTo>
                  <a:lnTo>
                    <a:pt x="1161" y="152"/>
                  </a:lnTo>
                  <a:lnTo>
                    <a:pt x="1123" y="115"/>
                  </a:lnTo>
                  <a:lnTo>
                    <a:pt x="1048" y="115"/>
                  </a:lnTo>
                  <a:lnTo>
                    <a:pt x="1048" y="70"/>
                  </a:lnTo>
                  <a:lnTo>
                    <a:pt x="980" y="4"/>
                  </a:lnTo>
                  <a:lnTo>
                    <a:pt x="927" y="4"/>
                  </a:lnTo>
                  <a:lnTo>
                    <a:pt x="893" y="38"/>
                  </a:lnTo>
                  <a:lnTo>
                    <a:pt x="808" y="38"/>
                  </a:lnTo>
                  <a:lnTo>
                    <a:pt x="772" y="0"/>
                  </a:lnTo>
                  <a:lnTo>
                    <a:pt x="19" y="0"/>
                  </a:lnTo>
                  <a:lnTo>
                    <a:pt x="35" y="17"/>
                  </a:lnTo>
                  <a:lnTo>
                    <a:pt x="35" y="49"/>
                  </a:lnTo>
                  <a:lnTo>
                    <a:pt x="0" y="49"/>
                  </a:lnTo>
                  <a:lnTo>
                    <a:pt x="0" y="143"/>
                  </a:lnTo>
                  <a:lnTo>
                    <a:pt x="19" y="164"/>
                  </a:lnTo>
                  <a:lnTo>
                    <a:pt x="19" y="271"/>
                  </a:lnTo>
                  <a:lnTo>
                    <a:pt x="123" y="271"/>
                  </a:lnTo>
                  <a:lnTo>
                    <a:pt x="123" y="384"/>
                  </a:lnTo>
                  <a:lnTo>
                    <a:pt x="255" y="516"/>
                  </a:lnTo>
                  <a:lnTo>
                    <a:pt x="255" y="558"/>
                  </a:lnTo>
                  <a:lnTo>
                    <a:pt x="255" y="558"/>
                  </a:lnTo>
                  <a:lnTo>
                    <a:pt x="280" y="583"/>
                  </a:lnTo>
                  <a:lnTo>
                    <a:pt x="351" y="583"/>
                  </a:lnTo>
                  <a:lnTo>
                    <a:pt x="365" y="599"/>
                  </a:lnTo>
                  <a:lnTo>
                    <a:pt x="417" y="599"/>
                  </a:lnTo>
                  <a:lnTo>
                    <a:pt x="417" y="587"/>
                  </a:lnTo>
                  <a:lnTo>
                    <a:pt x="472" y="587"/>
                  </a:lnTo>
                  <a:lnTo>
                    <a:pt x="522" y="637"/>
                  </a:lnTo>
                  <a:lnTo>
                    <a:pt x="522" y="662"/>
                  </a:lnTo>
                  <a:lnTo>
                    <a:pt x="542" y="681"/>
                  </a:lnTo>
                  <a:lnTo>
                    <a:pt x="561" y="664"/>
                  </a:lnTo>
                  <a:lnTo>
                    <a:pt x="595" y="664"/>
                  </a:lnTo>
                  <a:lnTo>
                    <a:pt x="642" y="710"/>
                  </a:lnTo>
                  <a:lnTo>
                    <a:pt x="642" y="751"/>
                  </a:lnTo>
                  <a:lnTo>
                    <a:pt x="717" y="751"/>
                  </a:lnTo>
                  <a:lnTo>
                    <a:pt x="717" y="735"/>
                  </a:lnTo>
                  <a:lnTo>
                    <a:pt x="777" y="674"/>
                  </a:lnTo>
                  <a:lnTo>
                    <a:pt x="888" y="674"/>
                  </a:lnTo>
                  <a:lnTo>
                    <a:pt x="907" y="655"/>
                  </a:lnTo>
                  <a:lnTo>
                    <a:pt x="895" y="642"/>
                  </a:lnTo>
                  <a:lnTo>
                    <a:pt x="995" y="642"/>
                  </a:lnTo>
                  <a:lnTo>
                    <a:pt x="1016" y="664"/>
                  </a:lnTo>
                  <a:lnTo>
                    <a:pt x="1059" y="664"/>
                  </a:lnTo>
                  <a:lnTo>
                    <a:pt x="1087" y="694"/>
                  </a:lnTo>
                  <a:lnTo>
                    <a:pt x="1087" y="756"/>
                  </a:lnTo>
                  <a:lnTo>
                    <a:pt x="1125" y="792"/>
                  </a:lnTo>
                  <a:lnTo>
                    <a:pt x="1145" y="792"/>
                  </a:lnTo>
                  <a:lnTo>
                    <a:pt x="1145" y="699"/>
                  </a:lnTo>
                  <a:lnTo>
                    <a:pt x="1120" y="674"/>
                  </a:lnTo>
                  <a:lnTo>
                    <a:pt x="1120" y="630"/>
                  </a:lnTo>
                  <a:lnTo>
                    <a:pt x="1153" y="596"/>
                  </a:lnTo>
                  <a:lnTo>
                    <a:pt x="1153" y="567"/>
                  </a:lnTo>
                  <a:lnTo>
                    <a:pt x="1228" y="492"/>
                  </a:lnTo>
                  <a:lnTo>
                    <a:pt x="1239" y="503"/>
                  </a:lnTo>
                  <a:lnTo>
                    <a:pt x="1268" y="476"/>
                  </a:lnTo>
                  <a:lnTo>
                    <a:pt x="1268" y="443"/>
                  </a:lnTo>
                  <a:lnTo>
                    <a:pt x="1230" y="405"/>
                  </a:lnTo>
                  <a:lnTo>
                    <a:pt x="1262" y="373"/>
                  </a:lnTo>
                  <a:lnTo>
                    <a:pt x="1262" y="416"/>
                  </a:lnTo>
                  <a:lnTo>
                    <a:pt x="1280" y="416"/>
                  </a:lnTo>
                  <a:lnTo>
                    <a:pt x="1293" y="403"/>
                  </a:lnTo>
                  <a:lnTo>
                    <a:pt x="1293" y="373"/>
                  </a:lnTo>
                  <a:lnTo>
                    <a:pt x="1321" y="344"/>
                  </a:lnTo>
                  <a:lnTo>
                    <a:pt x="1300" y="323"/>
                  </a:lnTo>
                  <a:lnTo>
                    <a:pt x="1330" y="293"/>
                  </a:lnTo>
                  <a:lnTo>
                    <a:pt x="1419" y="293"/>
                  </a:lnTo>
                  <a:lnTo>
                    <a:pt x="1419" y="275"/>
                  </a:lnTo>
                  <a:lnTo>
                    <a:pt x="1401" y="257"/>
                  </a:lnTo>
                  <a:lnTo>
                    <a:pt x="1401" y="232"/>
                  </a:lnTo>
                  <a:lnTo>
                    <a:pt x="1455" y="177"/>
                  </a:lnTo>
                  <a:lnTo>
                    <a:pt x="1489" y="177"/>
                  </a:lnTo>
                  <a:lnTo>
                    <a:pt x="1489" y="100"/>
                  </a:lnTo>
                  <a:lnTo>
                    <a:pt x="1442" y="100"/>
                  </a:lnTo>
                  <a:close/>
                </a:path>
              </a:pathLst>
            </a:custGeom>
            <a:solidFill>
              <a:schemeClr val="accent1"/>
            </a:solidFill>
            <a:ln w="1588">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11" name="Freeform 429">
              <a:extLst>
                <a:ext uri="{FF2B5EF4-FFF2-40B4-BE49-F238E27FC236}">
                  <a16:creationId xmlns:a16="http://schemas.microsoft.com/office/drawing/2014/main" id="{EE5E3CDB-7F49-44A1-A33F-8D3E755D66BC}"/>
                </a:ext>
              </a:extLst>
            </p:cNvPr>
            <p:cNvSpPr>
              <a:spLocks/>
            </p:cNvSpPr>
            <p:nvPr/>
          </p:nvSpPr>
          <p:spPr bwMode="auto">
            <a:xfrm>
              <a:off x="1834357" y="2820170"/>
              <a:ext cx="187325" cy="228600"/>
            </a:xfrm>
            <a:custGeom>
              <a:avLst/>
              <a:gdLst>
                <a:gd name="T0" fmla="*/ 104 w 236"/>
                <a:gd name="T1" fmla="*/ 113 h 287"/>
                <a:gd name="T2" fmla="*/ 104 w 236"/>
                <a:gd name="T3" fmla="*/ 0 h 287"/>
                <a:gd name="T4" fmla="*/ 0 w 236"/>
                <a:gd name="T5" fmla="*/ 0 h 287"/>
                <a:gd name="T6" fmla="*/ 0 w 236"/>
                <a:gd name="T7" fmla="*/ 102 h 287"/>
                <a:gd name="T8" fmla="*/ 41 w 236"/>
                <a:gd name="T9" fmla="*/ 143 h 287"/>
                <a:gd name="T10" fmla="*/ 41 w 236"/>
                <a:gd name="T11" fmla="*/ 189 h 287"/>
                <a:gd name="T12" fmla="*/ 129 w 236"/>
                <a:gd name="T13" fmla="*/ 277 h 287"/>
                <a:gd name="T14" fmla="*/ 164 w 236"/>
                <a:gd name="T15" fmla="*/ 277 h 287"/>
                <a:gd name="T16" fmla="*/ 164 w 236"/>
                <a:gd name="T17" fmla="*/ 287 h 287"/>
                <a:gd name="T18" fmla="*/ 236 w 236"/>
                <a:gd name="T19" fmla="*/ 287 h 287"/>
                <a:gd name="T20" fmla="*/ 236 w 236"/>
                <a:gd name="T21" fmla="*/ 245 h 287"/>
                <a:gd name="T22" fmla="*/ 104 w 236"/>
                <a:gd name="T23" fmla="*/ 11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 h="287">
                  <a:moveTo>
                    <a:pt x="104" y="113"/>
                  </a:moveTo>
                  <a:lnTo>
                    <a:pt x="104" y="0"/>
                  </a:lnTo>
                  <a:lnTo>
                    <a:pt x="0" y="0"/>
                  </a:lnTo>
                  <a:lnTo>
                    <a:pt x="0" y="102"/>
                  </a:lnTo>
                  <a:lnTo>
                    <a:pt x="41" y="143"/>
                  </a:lnTo>
                  <a:lnTo>
                    <a:pt x="41" y="189"/>
                  </a:lnTo>
                  <a:lnTo>
                    <a:pt x="129" y="277"/>
                  </a:lnTo>
                  <a:lnTo>
                    <a:pt x="164" y="277"/>
                  </a:lnTo>
                  <a:lnTo>
                    <a:pt x="164" y="287"/>
                  </a:lnTo>
                  <a:lnTo>
                    <a:pt x="236" y="287"/>
                  </a:lnTo>
                  <a:lnTo>
                    <a:pt x="236" y="245"/>
                  </a:lnTo>
                  <a:lnTo>
                    <a:pt x="104" y="113"/>
                  </a:lnTo>
                  <a:close/>
                </a:path>
              </a:pathLst>
            </a:custGeom>
            <a:solidFill>
              <a:schemeClr val="accent1"/>
            </a:solidFill>
            <a:ln w="1588">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17" name="Group 216">
            <a:extLst>
              <a:ext uri="{FF2B5EF4-FFF2-40B4-BE49-F238E27FC236}">
                <a16:creationId xmlns:a16="http://schemas.microsoft.com/office/drawing/2014/main" id="{A106095C-D60A-4226-9545-1888C1042721}"/>
              </a:ext>
            </a:extLst>
          </p:cNvPr>
          <p:cNvGrpSpPr/>
          <p:nvPr/>
        </p:nvGrpSpPr>
        <p:grpSpPr>
          <a:xfrm>
            <a:off x="830379" y="1483970"/>
            <a:ext cx="2622938" cy="4533661"/>
            <a:chOff x="-2770180" y="2059460"/>
            <a:chExt cx="2114258" cy="3654425"/>
          </a:xfrm>
          <a:noFill/>
        </p:grpSpPr>
        <p:sp>
          <p:nvSpPr>
            <p:cNvPr id="218" name="Rectangle 217">
              <a:extLst>
                <a:ext uri="{FF2B5EF4-FFF2-40B4-BE49-F238E27FC236}">
                  <a16:creationId xmlns:a16="http://schemas.microsoft.com/office/drawing/2014/main" id="{8147450D-596C-415F-80C1-D61C2CDDAED7}"/>
                </a:ext>
              </a:extLst>
            </p:cNvPr>
            <p:cNvSpPr/>
            <p:nvPr/>
          </p:nvSpPr>
          <p:spPr>
            <a:xfrm>
              <a:off x="-2770179" y="2059460"/>
              <a:ext cx="2106327" cy="3654425"/>
            </a:xfrm>
            <a:prstGeom prst="rect">
              <a:avLst/>
            </a:prstGeom>
            <a:solidFill>
              <a:schemeClr val="accent2">
                <a:lumMod val="20000"/>
                <a:lumOff val="8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B0DC"/>
                </a:solidFill>
                <a:effectLst/>
                <a:uLnTx/>
                <a:uFillTx/>
                <a:latin typeface="Arial"/>
                <a:ea typeface="+mn-ea"/>
                <a:cs typeface="Arial"/>
              </a:endParaRPr>
            </a:p>
          </p:txBody>
        </p:sp>
        <p:sp>
          <p:nvSpPr>
            <p:cNvPr id="219" name="TextBox 218">
              <a:extLst>
                <a:ext uri="{FF2B5EF4-FFF2-40B4-BE49-F238E27FC236}">
                  <a16:creationId xmlns:a16="http://schemas.microsoft.com/office/drawing/2014/main" id="{A5CD5DA2-EF99-4D27-828C-CF39841A5C9C}"/>
                </a:ext>
              </a:extLst>
            </p:cNvPr>
            <p:cNvSpPr txBox="1"/>
            <p:nvPr/>
          </p:nvSpPr>
          <p:spPr>
            <a:xfrm>
              <a:off x="-2770180" y="4990157"/>
              <a:ext cx="2102394" cy="628490"/>
            </a:xfrm>
            <a:prstGeom prst="rect">
              <a:avLst/>
            </a:prstGeom>
            <a:grpFill/>
          </p:spPr>
          <p:txBody>
            <a:bodyPr wrap="square" rtlCol="0">
              <a:spAutoFit/>
            </a:bodyPr>
            <a:lstStyle/>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1400" b="0" i="0" u="none" strike="noStrike" kern="1200" cap="none" spc="0" normalizeH="0" baseline="0" noProof="0" dirty="0">
                  <a:ln>
                    <a:noFill/>
                  </a:ln>
                  <a:solidFill>
                    <a:srgbClr val="7A6F69">
                      <a:lumMod val="75000"/>
                    </a:srgbClr>
                  </a:solidFill>
                  <a:effectLst/>
                  <a:uLnTx/>
                  <a:uFillTx/>
                  <a:latin typeface="Arial"/>
                  <a:ea typeface="+mn-ea"/>
                  <a:cs typeface="Raavi" panose="020B0502040204020203" pitchFamily="34" charset="0"/>
                </a:rPr>
                <a:t>Mitarbeiter</a:t>
              </a:r>
            </a:p>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2400" b="1" i="0" u="none" strike="noStrike" kern="1200" cap="none" spc="0" normalizeH="0" baseline="0" noProof="0">
                  <a:ln>
                    <a:noFill/>
                  </a:ln>
                  <a:solidFill>
                    <a:srgbClr val="00B0DC"/>
                  </a:solidFill>
                  <a:effectLst/>
                  <a:uLnTx/>
                  <a:uFillTx/>
                  <a:latin typeface="Raavi" panose="020B0502040204020203" pitchFamily="34" charset="0"/>
                  <a:ea typeface="+mn-ea"/>
                  <a:cs typeface="Raavi" panose="020B0502040204020203" pitchFamily="34" charset="0"/>
                </a:rPr>
                <a:t>5.000</a:t>
              </a:r>
              <a:endParaRPr kumimoji="0" lang="en-GB" sz="2400" b="1" i="0" u="none" strike="noStrike" kern="1200" cap="none" spc="0" normalizeH="0" baseline="0" noProof="0" dirty="0">
                <a:ln>
                  <a:noFill/>
                </a:ln>
                <a:solidFill>
                  <a:srgbClr val="00B0DC"/>
                </a:solidFill>
                <a:effectLst/>
                <a:uLnTx/>
                <a:uFillTx/>
                <a:latin typeface="Raavi" panose="020B0502040204020203" pitchFamily="34" charset="0"/>
                <a:ea typeface="+mn-ea"/>
                <a:cs typeface="Raavi" panose="020B0502040204020203" pitchFamily="34" charset="0"/>
              </a:endParaRPr>
            </a:p>
          </p:txBody>
        </p:sp>
        <p:sp>
          <p:nvSpPr>
            <p:cNvPr id="220" name="TextBox 219">
              <a:extLst>
                <a:ext uri="{FF2B5EF4-FFF2-40B4-BE49-F238E27FC236}">
                  <a16:creationId xmlns:a16="http://schemas.microsoft.com/office/drawing/2014/main" id="{9DD5B1DB-8C83-4A4B-ADAB-4D8669AC9A7E}"/>
                </a:ext>
              </a:extLst>
            </p:cNvPr>
            <p:cNvSpPr txBox="1"/>
            <p:nvPr/>
          </p:nvSpPr>
          <p:spPr>
            <a:xfrm>
              <a:off x="-2758314" y="3750146"/>
              <a:ext cx="2102392" cy="884846"/>
            </a:xfrm>
            <a:prstGeom prst="rect">
              <a:avLst/>
            </a:prstGeom>
            <a:grpFill/>
          </p:spPr>
          <p:txBody>
            <a:bodyPr wrap="square" rtlCol="0">
              <a:spAutoFit/>
            </a:bodyPr>
            <a:lstStyle/>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1400" b="0" i="0" u="none" strike="noStrike" kern="1200" cap="none" spc="0" normalizeH="0" baseline="0" noProof="0" dirty="0">
                  <a:ln>
                    <a:noFill/>
                  </a:ln>
                  <a:solidFill>
                    <a:srgbClr val="7A6F69">
                      <a:lumMod val="75000"/>
                    </a:srgbClr>
                  </a:solidFill>
                  <a:effectLst/>
                  <a:uLnTx/>
                  <a:uFillTx/>
                  <a:latin typeface="Arial"/>
                  <a:ea typeface="+mn-ea"/>
                  <a:cs typeface="Arial" pitchFamily="34" charset="0"/>
                </a:rPr>
                <a:t>Third party Erzeugung</a:t>
              </a:r>
            </a:p>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2400" b="1" i="0" u="none" strike="noStrike" kern="1200" cap="none" spc="0" normalizeH="0" baseline="0" noProof="0" dirty="0">
                  <a:ln>
                    <a:noFill/>
                  </a:ln>
                  <a:solidFill>
                    <a:srgbClr val="00B0DC"/>
                  </a:solidFill>
                  <a:effectLst/>
                  <a:uLnTx/>
                  <a:uFillTx/>
                  <a:latin typeface="Arial"/>
                  <a:ea typeface="+mn-ea"/>
                  <a:cs typeface="Arial" pitchFamily="34" charset="0"/>
                </a:rPr>
                <a:t>20.200 MW</a:t>
              </a:r>
            </a:p>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1400" b="1" i="0" u="none" strike="noStrike" kern="1200" cap="none" spc="0" normalizeH="0" baseline="0" noProof="0" dirty="0">
                  <a:ln>
                    <a:noFill/>
                  </a:ln>
                  <a:solidFill>
                    <a:srgbClr val="7A6F69">
                      <a:lumMod val="75000"/>
                    </a:srgbClr>
                  </a:solidFill>
                  <a:effectLst/>
                  <a:uLnTx/>
                  <a:uFillTx/>
                  <a:latin typeface="Arial"/>
                  <a:ea typeface="+mn-ea"/>
                  <a:cs typeface="Arial" pitchFamily="34" charset="0"/>
                </a:rPr>
                <a:t>100 %</a:t>
              </a:r>
              <a:r>
                <a:rPr kumimoji="0" lang="en-GB" sz="1400" b="0" i="0" u="none" strike="noStrike" kern="1200" cap="none" spc="0" normalizeH="0" baseline="0" noProof="0" dirty="0">
                  <a:ln>
                    <a:noFill/>
                  </a:ln>
                  <a:solidFill>
                    <a:srgbClr val="7A6F69">
                      <a:lumMod val="75000"/>
                    </a:srgbClr>
                  </a:solidFill>
                  <a:effectLst/>
                  <a:uLnTx/>
                  <a:uFillTx/>
                  <a:latin typeface="Arial"/>
                  <a:ea typeface="+mn-ea"/>
                  <a:cs typeface="Arial" pitchFamily="34" charset="0"/>
                </a:rPr>
                <a:t> Erneuerbar</a:t>
              </a:r>
            </a:p>
          </p:txBody>
        </p:sp>
        <p:sp>
          <p:nvSpPr>
            <p:cNvPr id="221" name="TextBox 220">
              <a:extLst>
                <a:ext uri="{FF2B5EF4-FFF2-40B4-BE49-F238E27FC236}">
                  <a16:creationId xmlns:a16="http://schemas.microsoft.com/office/drawing/2014/main" id="{20D60C99-EFE5-4C45-85DE-B954D7A23AB9}"/>
                </a:ext>
              </a:extLst>
            </p:cNvPr>
            <p:cNvSpPr txBox="1"/>
            <p:nvPr/>
          </p:nvSpPr>
          <p:spPr>
            <a:xfrm>
              <a:off x="-2665029" y="2287809"/>
              <a:ext cx="1874303" cy="1232170"/>
            </a:xfrm>
            <a:prstGeom prst="rect">
              <a:avLst/>
            </a:prstGeom>
            <a:grpFill/>
          </p:spPr>
          <p:txBody>
            <a:bodyPr wrap="square" rtlCol="0">
              <a:spAutoFit/>
            </a:bodyPr>
            <a:lstStyle/>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1400" b="0" i="0" u="none" strike="noStrike" kern="1200" cap="none" spc="0" normalizeH="0" baseline="0" noProof="0" dirty="0">
                  <a:ln>
                    <a:noFill/>
                  </a:ln>
                  <a:solidFill>
                    <a:srgbClr val="7A6F69">
                      <a:lumMod val="75000"/>
                    </a:srgbClr>
                  </a:solidFill>
                  <a:effectLst/>
                  <a:uLnTx/>
                  <a:uFillTx/>
                  <a:latin typeface="Arial"/>
                  <a:ea typeface="+mn-ea"/>
                  <a:cs typeface="Arial" pitchFamily="34" charset="0"/>
                </a:rPr>
                <a:t>Eigene Erzeugung</a:t>
              </a:r>
              <a:endParaRPr kumimoji="0" lang="en-GB" sz="1400" b="1" i="0" u="none" strike="noStrike" kern="1200" cap="none" spc="0" normalizeH="0" baseline="0" noProof="0" dirty="0">
                <a:ln>
                  <a:noFill/>
                </a:ln>
                <a:solidFill>
                  <a:srgbClr val="7A6F69">
                    <a:lumMod val="75000"/>
                  </a:srgbClr>
                </a:solidFill>
                <a:effectLst/>
                <a:uLnTx/>
                <a:uFillTx/>
                <a:latin typeface="Arial"/>
                <a:ea typeface="+mn-ea"/>
                <a:cs typeface="Arial" pitchFamily="34" charset="0"/>
              </a:endParaRPr>
            </a:p>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kumimoji="0" lang="en-GB" sz="2400" b="1" i="0" u="none" strike="noStrike" kern="1200" cap="none" spc="0" normalizeH="0" baseline="0" noProof="0" dirty="0">
                  <a:ln>
                    <a:noFill/>
                  </a:ln>
                  <a:solidFill>
                    <a:srgbClr val="00B0DC"/>
                  </a:solidFill>
                  <a:effectLst/>
                  <a:uLnTx/>
                  <a:uFillTx/>
                  <a:latin typeface="Arial"/>
                  <a:ea typeface="+mn-ea"/>
                  <a:cs typeface="Arial" pitchFamily="34" charset="0"/>
                </a:rPr>
                <a:t>20.000 MW</a:t>
              </a:r>
            </a:p>
            <a:p>
              <a:pPr marL="0" marR="0" lvl="0" indent="0" algn="ctr" defTabSz="548621" rtl="0" eaLnBrk="1" fontAlgn="auto" latinLnBrk="0" hangingPunct="1">
                <a:lnSpc>
                  <a:spcPct val="100000"/>
                </a:lnSpc>
                <a:spcBef>
                  <a:spcPts val="800"/>
                </a:spcBef>
                <a:spcAft>
                  <a:spcPts val="0"/>
                </a:spcAft>
                <a:buClr>
                  <a:srgbClr val="F0D100"/>
                </a:buClr>
                <a:buSzPct val="80000"/>
                <a:buFontTx/>
                <a:buNone/>
                <a:tabLst/>
                <a:defRPr/>
              </a:pPr>
              <a:r>
                <a:rPr lang="en-GB" sz="1400" dirty="0">
                  <a:solidFill>
                    <a:srgbClr val="7A6F69">
                      <a:lumMod val="75000"/>
                    </a:srgbClr>
                  </a:solidFill>
                  <a:latin typeface="Arial"/>
                  <a:cs typeface="Arial" pitchFamily="34" charset="0"/>
                </a:rPr>
                <a:t>m</a:t>
              </a:r>
              <a:r>
                <a:rPr kumimoji="0" lang="en-GB" sz="1400" b="0" i="0" u="none" strike="noStrike" kern="1200" cap="none" spc="0" normalizeH="0" baseline="0" noProof="0" dirty="0">
                  <a:ln>
                    <a:noFill/>
                  </a:ln>
                  <a:solidFill>
                    <a:srgbClr val="7A6F69">
                      <a:lumMod val="75000"/>
                    </a:srgbClr>
                  </a:solidFill>
                  <a:effectLst/>
                  <a:uLnTx/>
                  <a:uFillTx/>
                  <a:latin typeface="Arial"/>
                  <a:ea typeface="+mn-ea"/>
                  <a:cs typeface="Arial" pitchFamily="34" charset="0"/>
                </a:rPr>
                <a:t>it 72 TWh </a:t>
              </a:r>
              <a:r>
                <a:rPr kumimoji="0" lang="en-GB" sz="1400" b="1" i="0" u="none" strike="noStrike" kern="1200" cap="none" spc="0" normalizeH="0" baseline="0" noProof="0" dirty="0">
                  <a:ln>
                    <a:noFill/>
                  </a:ln>
                  <a:solidFill>
                    <a:srgbClr val="7A6F69">
                      <a:lumMod val="75000"/>
                    </a:srgbClr>
                  </a:solidFill>
                  <a:effectLst/>
                  <a:uLnTx/>
                  <a:uFillTx/>
                  <a:latin typeface="Arial"/>
                  <a:ea typeface="+mn-ea"/>
                  <a:cs typeface="Arial" pitchFamily="34" charset="0"/>
                </a:rPr>
                <a:t>größter Erzeuger erneuerbarer Energie Europas </a:t>
              </a:r>
              <a:endParaRPr kumimoji="0" lang="en-GB" sz="1400" b="0" i="0" u="none" strike="noStrike" kern="1200" cap="none" spc="0" normalizeH="0" baseline="0" noProof="0" dirty="0">
                <a:ln>
                  <a:noFill/>
                </a:ln>
                <a:solidFill>
                  <a:srgbClr val="7A6F69">
                    <a:lumMod val="75000"/>
                  </a:srgbClr>
                </a:solidFill>
                <a:effectLst/>
                <a:uLnTx/>
                <a:uFillTx/>
                <a:latin typeface="Arial"/>
                <a:ea typeface="+mn-ea"/>
                <a:cs typeface="Arial" pitchFamily="34" charset="0"/>
              </a:endParaRPr>
            </a:p>
          </p:txBody>
        </p:sp>
        <p:cxnSp>
          <p:nvCxnSpPr>
            <p:cNvPr id="222" name="Straight Connector 221">
              <a:extLst>
                <a:ext uri="{FF2B5EF4-FFF2-40B4-BE49-F238E27FC236}">
                  <a16:creationId xmlns:a16="http://schemas.microsoft.com/office/drawing/2014/main" id="{7FF7BFDB-9B85-4E77-BA1B-6EE13F7772C4}"/>
                </a:ext>
              </a:extLst>
            </p:cNvPr>
            <p:cNvCxnSpPr/>
            <p:nvPr/>
          </p:nvCxnSpPr>
          <p:spPr>
            <a:xfrm>
              <a:off x="-2151189" y="3650355"/>
              <a:ext cx="876300" cy="0"/>
            </a:xfrm>
            <a:prstGeom prst="line">
              <a:avLst/>
            </a:prstGeom>
            <a:grpFill/>
            <a:ln w="19050"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a:extLst>
                <a:ext uri="{FF2B5EF4-FFF2-40B4-BE49-F238E27FC236}">
                  <a16:creationId xmlns:a16="http://schemas.microsoft.com/office/drawing/2014/main" id="{4B2FF13D-F4A5-458B-9812-11759EA73381}"/>
                </a:ext>
              </a:extLst>
            </p:cNvPr>
            <p:cNvCxnSpPr/>
            <p:nvPr/>
          </p:nvCxnSpPr>
          <p:spPr>
            <a:xfrm>
              <a:off x="-2151189" y="4739154"/>
              <a:ext cx="876300" cy="0"/>
            </a:xfrm>
            <a:prstGeom prst="line">
              <a:avLst/>
            </a:prstGeom>
            <a:grpFill/>
            <a:ln w="19050" cap="rnd">
              <a:solidFill>
                <a:schemeClr val="accent5"/>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28" name="AutoShape 3">
            <a:extLst>
              <a:ext uri="{FF2B5EF4-FFF2-40B4-BE49-F238E27FC236}">
                <a16:creationId xmlns:a16="http://schemas.microsoft.com/office/drawing/2014/main" id="{EA6CA207-5984-4429-A112-2443780063F0}"/>
              </a:ext>
            </a:extLst>
          </p:cNvPr>
          <p:cNvSpPr>
            <a:spLocks noChangeAspect="1" noChangeArrowheads="1" noTextEdit="1"/>
          </p:cNvSpPr>
          <p:nvPr/>
        </p:nvSpPr>
        <p:spPr bwMode="auto">
          <a:xfrm>
            <a:off x="2997474" y="1210569"/>
            <a:ext cx="8933396" cy="4962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Arial"/>
              <a:ea typeface="+mn-ea"/>
              <a:cs typeface="+mn-cs"/>
            </a:endParaRPr>
          </a:p>
        </p:txBody>
      </p:sp>
      <p:sp>
        <p:nvSpPr>
          <p:cNvPr id="269" name="AutoShape 636">
            <a:extLst>
              <a:ext uri="{FF2B5EF4-FFF2-40B4-BE49-F238E27FC236}">
                <a16:creationId xmlns:a16="http://schemas.microsoft.com/office/drawing/2014/main" id="{928D027F-7963-419E-AF18-19B20315819D}"/>
              </a:ext>
            </a:extLst>
          </p:cNvPr>
          <p:cNvSpPr>
            <a:spLocks noChangeAspect="1" noChangeArrowheads="1" noTextEdit="1"/>
          </p:cNvSpPr>
          <p:nvPr/>
        </p:nvSpPr>
        <p:spPr bwMode="auto">
          <a:xfrm>
            <a:off x="5570612" y="2914244"/>
            <a:ext cx="97233" cy="14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47" name="AutoShape 624">
            <a:extLst>
              <a:ext uri="{FF2B5EF4-FFF2-40B4-BE49-F238E27FC236}">
                <a16:creationId xmlns:a16="http://schemas.microsoft.com/office/drawing/2014/main" id="{19840F76-6DB9-48F1-ADB5-8B35468E71D4}"/>
              </a:ext>
            </a:extLst>
          </p:cNvPr>
          <p:cNvSpPr>
            <a:spLocks noChangeAspect="1" noChangeArrowheads="1" noTextEdit="1"/>
          </p:cNvSpPr>
          <p:nvPr/>
        </p:nvSpPr>
        <p:spPr bwMode="auto">
          <a:xfrm>
            <a:off x="5728497" y="2679106"/>
            <a:ext cx="141326" cy="1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44" name="AutoShape 636">
            <a:extLst>
              <a:ext uri="{FF2B5EF4-FFF2-40B4-BE49-F238E27FC236}">
                <a16:creationId xmlns:a16="http://schemas.microsoft.com/office/drawing/2014/main" id="{AA49C948-CDF2-4822-B5A0-397F1C1254E5}"/>
              </a:ext>
            </a:extLst>
          </p:cNvPr>
          <p:cNvSpPr>
            <a:spLocks noChangeAspect="1" noChangeArrowheads="1" noTextEdit="1"/>
          </p:cNvSpPr>
          <p:nvPr/>
        </p:nvSpPr>
        <p:spPr bwMode="auto">
          <a:xfrm>
            <a:off x="5583077" y="2666659"/>
            <a:ext cx="97233" cy="147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48621" rtl="0" eaLnBrk="1" fontAlgn="auto" latinLnBrk="0" hangingPunct="1">
              <a:lnSpc>
                <a:spcPct val="100000"/>
              </a:lnSpc>
              <a:spcBef>
                <a:spcPts val="0"/>
              </a:spcBef>
              <a:spcAft>
                <a:spcPts val="0"/>
              </a:spcAft>
              <a:buClrTx/>
              <a:buSzTx/>
              <a:buFontTx/>
              <a:buNone/>
              <a:tabLst/>
              <a:defRPr/>
            </a:pPr>
            <a:endParaRPr kumimoji="0" lang="en-GB" sz="216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501" name="Group 500">
            <a:extLst>
              <a:ext uri="{FF2B5EF4-FFF2-40B4-BE49-F238E27FC236}">
                <a16:creationId xmlns:a16="http://schemas.microsoft.com/office/drawing/2014/main" id="{50B4CE01-0B6F-4848-9D9C-1CBE729F2BBB}"/>
              </a:ext>
            </a:extLst>
          </p:cNvPr>
          <p:cNvGrpSpPr/>
          <p:nvPr/>
        </p:nvGrpSpPr>
        <p:grpSpPr>
          <a:xfrm>
            <a:off x="5646135" y="2171719"/>
            <a:ext cx="1233694" cy="245623"/>
            <a:chOff x="5646135" y="2324147"/>
            <a:chExt cx="1233694" cy="245623"/>
          </a:xfrm>
        </p:grpSpPr>
        <p:grpSp>
          <p:nvGrpSpPr>
            <p:cNvPr id="486" name="Group 485">
              <a:extLst>
                <a:ext uri="{FF2B5EF4-FFF2-40B4-BE49-F238E27FC236}">
                  <a16:creationId xmlns:a16="http://schemas.microsoft.com/office/drawing/2014/main" id="{1643A4CC-6908-425C-8BA6-27479A747755}"/>
                </a:ext>
              </a:extLst>
            </p:cNvPr>
            <p:cNvGrpSpPr/>
            <p:nvPr/>
          </p:nvGrpSpPr>
          <p:grpSpPr>
            <a:xfrm>
              <a:off x="5646135" y="2324147"/>
              <a:ext cx="1233694" cy="213474"/>
              <a:chOff x="5646135" y="2324147"/>
              <a:chExt cx="1233694" cy="213474"/>
            </a:xfrm>
            <a:effectLst>
              <a:outerShdw blurRad="50800" dist="12700" dir="2700000" algn="tl" rotWithShape="0">
                <a:prstClr val="black">
                  <a:alpha val="40000"/>
                </a:prstClr>
              </a:outerShdw>
            </a:effectLst>
          </p:grpSpPr>
          <p:sp>
            <p:nvSpPr>
              <p:cNvPr id="482" name="Rectangle 481">
                <a:extLst>
                  <a:ext uri="{FF2B5EF4-FFF2-40B4-BE49-F238E27FC236}">
                    <a16:creationId xmlns:a16="http://schemas.microsoft.com/office/drawing/2014/main" id="{7614D207-A656-4E75-A18B-B8EBD2B8CEAA}"/>
                  </a:ext>
                </a:extLst>
              </p:cNvPr>
              <p:cNvSpPr/>
              <p:nvPr/>
            </p:nvSpPr>
            <p:spPr>
              <a:xfrm>
                <a:off x="5646135" y="2324147"/>
                <a:ext cx="119348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485" name="Rectangle 484">
                <a:extLst>
                  <a:ext uri="{FF2B5EF4-FFF2-40B4-BE49-F238E27FC236}">
                    <a16:creationId xmlns:a16="http://schemas.microsoft.com/office/drawing/2014/main" id="{D9B9C4C9-09A0-4A0D-90E7-978B236FD782}"/>
                  </a:ext>
                </a:extLst>
              </p:cNvPr>
              <p:cNvSpPr/>
              <p:nvPr/>
            </p:nvSpPr>
            <p:spPr>
              <a:xfrm rot="18900000">
                <a:off x="6798093"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483" name="TextBox 482">
              <a:extLst>
                <a:ext uri="{FF2B5EF4-FFF2-40B4-BE49-F238E27FC236}">
                  <a16:creationId xmlns:a16="http://schemas.microsoft.com/office/drawing/2014/main" id="{3429B9D1-14AE-46E8-9784-E08518BE339B}"/>
                </a:ext>
              </a:extLst>
            </p:cNvPr>
            <p:cNvSpPr txBox="1"/>
            <p:nvPr/>
          </p:nvSpPr>
          <p:spPr>
            <a:xfrm>
              <a:off x="5690767" y="2386522"/>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UK</a:t>
              </a:r>
            </a:p>
          </p:txBody>
        </p:sp>
        <p:grpSp>
          <p:nvGrpSpPr>
            <p:cNvPr id="484" name="Group 483">
              <a:extLst>
                <a:ext uri="{FF2B5EF4-FFF2-40B4-BE49-F238E27FC236}">
                  <a16:creationId xmlns:a16="http://schemas.microsoft.com/office/drawing/2014/main" id="{325F441B-3E0C-488E-BB26-AA8BA43F92CD}"/>
                </a:ext>
              </a:extLst>
            </p:cNvPr>
            <p:cNvGrpSpPr/>
            <p:nvPr/>
          </p:nvGrpSpPr>
          <p:grpSpPr>
            <a:xfrm>
              <a:off x="6243112" y="2338650"/>
              <a:ext cx="569138" cy="231120"/>
              <a:chOff x="7115791" y="2378492"/>
              <a:chExt cx="591027" cy="240008"/>
            </a:xfrm>
          </p:grpSpPr>
          <p:pic>
            <p:nvPicPr>
              <p:cNvPr id="369" name="Graphic 368">
                <a:extLst>
                  <a:ext uri="{FF2B5EF4-FFF2-40B4-BE49-F238E27FC236}">
                    <a16:creationId xmlns:a16="http://schemas.microsoft.com/office/drawing/2014/main" id="{9ABA0109-1A0D-4C67-BCE6-EC1A1F21ABB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15791" y="2378493"/>
                <a:ext cx="240007" cy="240007"/>
              </a:xfrm>
              <a:prstGeom prst="rect">
                <a:avLst/>
              </a:prstGeom>
            </p:spPr>
          </p:pic>
          <p:pic>
            <p:nvPicPr>
              <p:cNvPr id="373" name="Graphic 372">
                <a:extLst>
                  <a:ext uri="{FF2B5EF4-FFF2-40B4-BE49-F238E27FC236}">
                    <a16:creationId xmlns:a16="http://schemas.microsoft.com/office/drawing/2014/main" id="{E5EA3FC1-85E3-481B-9B4C-ED4612E6760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66811" y="2378492"/>
                <a:ext cx="240007" cy="240007"/>
              </a:xfrm>
              <a:prstGeom prst="rect">
                <a:avLst/>
              </a:prstGeom>
            </p:spPr>
          </p:pic>
          <p:pic>
            <p:nvPicPr>
              <p:cNvPr id="375" name="Graphic 374">
                <a:extLst>
                  <a:ext uri="{FF2B5EF4-FFF2-40B4-BE49-F238E27FC236}">
                    <a16:creationId xmlns:a16="http://schemas.microsoft.com/office/drawing/2014/main" id="{8AFF09B5-9087-4B58-9F2B-4B0389B3845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86284" y="2378493"/>
                <a:ext cx="240007" cy="240007"/>
              </a:xfrm>
              <a:prstGeom prst="rect">
                <a:avLst/>
              </a:prstGeom>
            </p:spPr>
          </p:pic>
        </p:grpSp>
      </p:grpSp>
      <p:grpSp>
        <p:nvGrpSpPr>
          <p:cNvPr id="723" name="Group 722">
            <a:extLst>
              <a:ext uri="{FF2B5EF4-FFF2-40B4-BE49-F238E27FC236}">
                <a16:creationId xmlns:a16="http://schemas.microsoft.com/office/drawing/2014/main" id="{A0CFEAF5-2223-43D0-AA79-507F6E842202}"/>
              </a:ext>
            </a:extLst>
          </p:cNvPr>
          <p:cNvGrpSpPr/>
          <p:nvPr/>
        </p:nvGrpSpPr>
        <p:grpSpPr>
          <a:xfrm>
            <a:off x="5646135" y="2423415"/>
            <a:ext cx="1233694" cy="245623"/>
            <a:chOff x="5646135" y="2324147"/>
            <a:chExt cx="1233694" cy="245623"/>
          </a:xfrm>
        </p:grpSpPr>
        <p:grpSp>
          <p:nvGrpSpPr>
            <p:cNvPr id="724" name="Group 723">
              <a:extLst>
                <a:ext uri="{FF2B5EF4-FFF2-40B4-BE49-F238E27FC236}">
                  <a16:creationId xmlns:a16="http://schemas.microsoft.com/office/drawing/2014/main" id="{ADDC91D4-ADCB-48B4-B253-F7FF60EAD49A}"/>
                </a:ext>
              </a:extLst>
            </p:cNvPr>
            <p:cNvGrpSpPr/>
            <p:nvPr/>
          </p:nvGrpSpPr>
          <p:grpSpPr>
            <a:xfrm>
              <a:off x="5646135" y="2324147"/>
              <a:ext cx="1233694" cy="213474"/>
              <a:chOff x="5646135" y="2324147"/>
              <a:chExt cx="1233694" cy="213474"/>
            </a:xfrm>
            <a:effectLst>
              <a:outerShdw blurRad="50800" dist="12700" dir="2700000" algn="tl" rotWithShape="0">
                <a:prstClr val="black">
                  <a:alpha val="40000"/>
                </a:prstClr>
              </a:outerShdw>
            </a:effectLst>
          </p:grpSpPr>
          <p:sp>
            <p:nvSpPr>
              <p:cNvPr id="730" name="Rectangle 729">
                <a:extLst>
                  <a:ext uri="{FF2B5EF4-FFF2-40B4-BE49-F238E27FC236}">
                    <a16:creationId xmlns:a16="http://schemas.microsoft.com/office/drawing/2014/main" id="{3306C539-069C-4657-B4AC-EFB06D3F242E}"/>
                  </a:ext>
                </a:extLst>
              </p:cNvPr>
              <p:cNvSpPr/>
              <p:nvPr/>
            </p:nvSpPr>
            <p:spPr>
              <a:xfrm>
                <a:off x="5646135" y="2324147"/>
                <a:ext cx="119348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731" name="Rectangle 730">
                <a:extLst>
                  <a:ext uri="{FF2B5EF4-FFF2-40B4-BE49-F238E27FC236}">
                    <a16:creationId xmlns:a16="http://schemas.microsoft.com/office/drawing/2014/main" id="{CA99EB67-8C91-4304-9220-0206AED8C1D2}"/>
                  </a:ext>
                </a:extLst>
              </p:cNvPr>
              <p:cNvSpPr/>
              <p:nvPr/>
            </p:nvSpPr>
            <p:spPr>
              <a:xfrm rot="18900000">
                <a:off x="6798093"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725" name="TextBox 724">
              <a:extLst>
                <a:ext uri="{FF2B5EF4-FFF2-40B4-BE49-F238E27FC236}">
                  <a16:creationId xmlns:a16="http://schemas.microsoft.com/office/drawing/2014/main" id="{A9E81466-0EAE-47D7-BF20-B10FF4E62CBC}"/>
                </a:ext>
              </a:extLst>
            </p:cNvPr>
            <p:cNvSpPr txBox="1"/>
            <p:nvPr/>
          </p:nvSpPr>
          <p:spPr>
            <a:xfrm>
              <a:off x="5690767" y="2386522"/>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IRELAND</a:t>
              </a:r>
            </a:p>
          </p:txBody>
        </p:sp>
        <p:grpSp>
          <p:nvGrpSpPr>
            <p:cNvPr id="726" name="Group 725">
              <a:extLst>
                <a:ext uri="{FF2B5EF4-FFF2-40B4-BE49-F238E27FC236}">
                  <a16:creationId xmlns:a16="http://schemas.microsoft.com/office/drawing/2014/main" id="{7B2B1B0C-3AB4-435E-B08B-9452DE284015}"/>
                </a:ext>
              </a:extLst>
            </p:cNvPr>
            <p:cNvGrpSpPr/>
            <p:nvPr/>
          </p:nvGrpSpPr>
          <p:grpSpPr>
            <a:xfrm>
              <a:off x="6407286" y="2338651"/>
              <a:ext cx="404960" cy="231119"/>
              <a:chOff x="7286284" y="2378493"/>
              <a:chExt cx="420535" cy="240007"/>
            </a:xfrm>
          </p:grpSpPr>
          <p:pic>
            <p:nvPicPr>
              <p:cNvPr id="728" name="Graphic 727">
                <a:extLst>
                  <a:ext uri="{FF2B5EF4-FFF2-40B4-BE49-F238E27FC236}">
                    <a16:creationId xmlns:a16="http://schemas.microsoft.com/office/drawing/2014/main" id="{70354078-915F-4DE7-BC1E-ACC93CC3932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66812" y="2378493"/>
                <a:ext cx="240007" cy="240007"/>
              </a:xfrm>
              <a:prstGeom prst="rect">
                <a:avLst/>
              </a:prstGeom>
            </p:spPr>
          </p:pic>
          <p:pic>
            <p:nvPicPr>
              <p:cNvPr id="729" name="Graphic 728">
                <a:extLst>
                  <a:ext uri="{FF2B5EF4-FFF2-40B4-BE49-F238E27FC236}">
                    <a16:creationId xmlns:a16="http://schemas.microsoft.com/office/drawing/2014/main" id="{19BE3DB5-03BA-4650-9A98-09573166102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86284" y="2378493"/>
                <a:ext cx="240007" cy="240007"/>
              </a:xfrm>
              <a:prstGeom prst="rect">
                <a:avLst/>
              </a:prstGeom>
            </p:spPr>
          </p:pic>
        </p:grpSp>
      </p:grpSp>
      <p:grpSp>
        <p:nvGrpSpPr>
          <p:cNvPr id="741" name="Group 740">
            <a:extLst>
              <a:ext uri="{FF2B5EF4-FFF2-40B4-BE49-F238E27FC236}">
                <a16:creationId xmlns:a16="http://schemas.microsoft.com/office/drawing/2014/main" id="{E534759A-8016-4C87-A31F-0C488113D1FF}"/>
              </a:ext>
            </a:extLst>
          </p:cNvPr>
          <p:cNvGrpSpPr/>
          <p:nvPr/>
        </p:nvGrpSpPr>
        <p:grpSpPr>
          <a:xfrm>
            <a:off x="5646135" y="2675111"/>
            <a:ext cx="1233694" cy="245623"/>
            <a:chOff x="5646135" y="2324147"/>
            <a:chExt cx="1233694" cy="245623"/>
          </a:xfrm>
        </p:grpSpPr>
        <p:grpSp>
          <p:nvGrpSpPr>
            <p:cNvPr id="742" name="Group 741">
              <a:extLst>
                <a:ext uri="{FF2B5EF4-FFF2-40B4-BE49-F238E27FC236}">
                  <a16:creationId xmlns:a16="http://schemas.microsoft.com/office/drawing/2014/main" id="{A8875FB9-F874-4843-B1FE-1B4AD6491B38}"/>
                </a:ext>
              </a:extLst>
            </p:cNvPr>
            <p:cNvGrpSpPr/>
            <p:nvPr/>
          </p:nvGrpSpPr>
          <p:grpSpPr>
            <a:xfrm>
              <a:off x="5646135" y="2324147"/>
              <a:ext cx="1233694" cy="213474"/>
              <a:chOff x="5646135" y="2324147"/>
              <a:chExt cx="1233694" cy="213474"/>
            </a:xfrm>
            <a:effectLst>
              <a:outerShdw blurRad="50800" dist="12700" dir="2700000" algn="tl" rotWithShape="0">
                <a:prstClr val="black">
                  <a:alpha val="40000"/>
                </a:prstClr>
              </a:outerShdw>
            </a:effectLst>
          </p:grpSpPr>
          <p:sp>
            <p:nvSpPr>
              <p:cNvPr id="752" name="Rectangle 751">
                <a:extLst>
                  <a:ext uri="{FF2B5EF4-FFF2-40B4-BE49-F238E27FC236}">
                    <a16:creationId xmlns:a16="http://schemas.microsoft.com/office/drawing/2014/main" id="{48E662D0-7F05-4646-BCD8-F3A3BFD4FE2E}"/>
                  </a:ext>
                </a:extLst>
              </p:cNvPr>
              <p:cNvSpPr/>
              <p:nvPr/>
            </p:nvSpPr>
            <p:spPr>
              <a:xfrm>
                <a:off x="5646135" y="2324147"/>
                <a:ext cx="119348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753" name="Rectangle 752">
                <a:extLst>
                  <a:ext uri="{FF2B5EF4-FFF2-40B4-BE49-F238E27FC236}">
                    <a16:creationId xmlns:a16="http://schemas.microsoft.com/office/drawing/2014/main" id="{324B5F85-59A5-4666-ACD1-1F5FA8A18872}"/>
                  </a:ext>
                </a:extLst>
              </p:cNvPr>
              <p:cNvSpPr/>
              <p:nvPr/>
            </p:nvSpPr>
            <p:spPr>
              <a:xfrm rot="18900000">
                <a:off x="6798093"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743" name="TextBox 742">
              <a:extLst>
                <a:ext uri="{FF2B5EF4-FFF2-40B4-BE49-F238E27FC236}">
                  <a16:creationId xmlns:a16="http://schemas.microsoft.com/office/drawing/2014/main" id="{7B2E404B-A0D6-420F-9150-B90F2C1AA390}"/>
                </a:ext>
              </a:extLst>
            </p:cNvPr>
            <p:cNvSpPr txBox="1"/>
            <p:nvPr/>
          </p:nvSpPr>
          <p:spPr>
            <a:xfrm>
              <a:off x="5690767" y="2386522"/>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Netherlands</a:t>
              </a:r>
            </a:p>
          </p:txBody>
        </p:sp>
        <p:grpSp>
          <p:nvGrpSpPr>
            <p:cNvPr id="744" name="Group 743">
              <a:extLst>
                <a:ext uri="{FF2B5EF4-FFF2-40B4-BE49-F238E27FC236}">
                  <a16:creationId xmlns:a16="http://schemas.microsoft.com/office/drawing/2014/main" id="{E86079A0-620A-469D-8C29-17998AA402F6}"/>
                </a:ext>
              </a:extLst>
            </p:cNvPr>
            <p:cNvGrpSpPr/>
            <p:nvPr/>
          </p:nvGrpSpPr>
          <p:grpSpPr>
            <a:xfrm>
              <a:off x="6405010" y="2338651"/>
              <a:ext cx="406581" cy="231119"/>
              <a:chOff x="6907166" y="2378493"/>
              <a:chExt cx="422217" cy="240007"/>
            </a:xfrm>
          </p:grpSpPr>
          <p:pic>
            <p:nvPicPr>
              <p:cNvPr id="749" name="Graphic 748">
                <a:extLst>
                  <a:ext uri="{FF2B5EF4-FFF2-40B4-BE49-F238E27FC236}">
                    <a16:creationId xmlns:a16="http://schemas.microsoft.com/office/drawing/2014/main" id="{91CFD853-C9D1-4BA4-8FB2-34685589E59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07166" y="2378493"/>
                <a:ext cx="240007" cy="240007"/>
              </a:xfrm>
              <a:prstGeom prst="rect">
                <a:avLst/>
              </a:prstGeom>
            </p:spPr>
          </p:pic>
          <p:pic>
            <p:nvPicPr>
              <p:cNvPr id="750" name="Graphic 749">
                <a:extLst>
                  <a:ext uri="{FF2B5EF4-FFF2-40B4-BE49-F238E27FC236}">
                    <a16:creationId xmlns:a16="http://schemas.microsoft.com/office/drawing/2014/main" id="{BC45B788-D2F9-46CB-B169-F1C34A621F1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89376" y="2378493"/>
                <a:ext cx="240007" cy="240007"/>
              </a:xfrm>
              <a:prstGeom prst="rect">
                <a:avLst/>
              </a:prstGeom>
            </p:spPr>
          </p:pic>
        </p:grpSp>
      </p:grpSp>
      <p:grpSp>
        <p:nvGrpSpPr>
          <p:cNvPr id="754" name="Group 753">
            <a:extLst>
              <a:ext uri="{FF2B5EF4-FFF2-40B4-BE49-F238E27FC236}">
                <a16:creationId xmlns:a16="http://schemas.microsoft.com/office/drawing/2014/main" id="{006297A8-97AE-449F-B5DA-4B6B744B9F37}"/>
              </a:ext>
            </a:extLst>
          </p:cNvPr>
          <p:cNvGrpSpPr/>
          <p:nvPr/>
        </p:nvGrpSpPr>
        <p:grpSpPr>
          <a:xfrm>
            <a:off x="5646135" y="2926807"/>
            <a:ext cx="1233694" cy="245623"/>
            <a:chOff x="5646135" y="2324147"/>
            <a:chExt cx="1233694" cy="245623"/>
          </a:xfrm>
        </p:grpSpPr>
        <p:grpSp>
          <p:nvGrpSpPr>
            <p:cNvPr id="755" name="Group 754">
              <a:extLst>
                <a:ext uri="{FF2B5EF4-FFF2-40B4-BE49-F238E27FC236}">
                  <a16:creationId xmlns:a16="http://schemas.microsoft.com/office/drawing/2014/main" id="{49C3D55C-AD48-462B-9BE2-6126E5EE01D7}"/>
                </a:ext>
              </a:extLst>
            </p:cNvPr>
            <p:cNvGrpSpPr/>
            <p:nvPr/>
          </p:nvGrpSpPr>
          <p:grpSpPr>
            <a:xfrm>
              <a:off x="5646135" y="2324147"/>
              <a:ext cx="1233694" cy="213474"/>
              <a:chOff x="5646135" y="2324147"/>
              <a:chExt cx="1233694" cy="213474"/>
            </a:xfrm>
            <a:effectLst>
              <a:outerShdw blurRad="50800" dist="12700" dir="2700000" algn="tl" rotWithShape="0">
                <a:prstClr val="black">
                  <a:alpha val="40000"/>
                </a:prstClr>
              </a:outerShdw>
            </a:effectLst>
          </p:grpSpPr>
          <p:sp>
            <p:nvSpPr>
              <p:cNvPr id="760" name="Rectangle 759">
                <a:extLst>
                  <a:ext uri="{FF2B5EF4-FFF2-40B4-BE49-F238E27FC236}">
                    <a16:creationId xmlns:a16="http://schemas.microsoft.com/office/drawing/2014/main" id="{CA149DC7-C7C3-4263-B0F6-69FD6BC4F5F6}"/>
                  </a:ext>
                </a:extLst>
              </p:cNvPr>
              <p:cNvSpPr/>
              <p:nvPr/>
            </p:nvSpPr>
            <p:spPr>
              <a:xfrm>
                <a:off x="5646135" y="2324147"/>
                <a:ext cx="119348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761" name="Rectangle 760">
                <a:extLst>
                  <a:ext uri="{FF2B5EF4-FFF2-40B4-BE49-F238E27FC236}">
                    <a16:creationId xmlns:a16="http://schemas.microsoft.com/office/drawing/2014/main" id="{0FCC8A78-98A6-43D1-A7F9-F6F7CA80AAB6}"/>
                  </a:ext>
                </a:extLst>
              </p:cNvPr>
              <p:cNvSpPr/>
              <p:nvPr/>
            </p:nvSpPr>
            <p:spPr>
              <a:xfrm rot="18900000">
                <a:off x="6798093"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756" name="TextBox 755">
              <a:extLst>
                <a:ext uri="{FF2B5EF4-FFF2-40B4-BE49-F238E27FC236}">
                  <a16:creationId xmlns:a16="http://schemas.microsoft.com/office/drawing/2014/main" id="{B207D4C0-6F26-45F4-9633-625BAA1813E3}"/>
                </a:ext>
              </a:extLst>
            </p:cNvPr>
            <p:cNvSpPr txBox="1"/>
            <p:nvPr/>
          </p:nvSpPr>
          <p:spPr>
            <a:xfrm>
              <a:off x="5690767" y="2386522"/>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FRANCE</a:t>
              </a:r>
            </a:p>
          </p:txBody>
        </p:sp>
        <p:pic>
          <p:nvPicPr>
            <p:cNvPr id="759" name="Graphic 758">
              <a:extLst>
                <a:ext uri="{FF2B5EF4-FFF2-40B4-BE49-F238E27FC236}">
                  <a16:creationId xmlns:a16="http://schemas.microsoft.com/office/drawing/2014/main" id="{923B84F0-6A81-42CF-9F30-0DF29E71E71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80472" y="2338651"/>
              <a:ext cx="231119" cy="231119"/>
            </a:xfrm>
            <a:prstGeom prst="rect">
              <a:avLst/>
            </a:prstGeom>
          </p:spPr>
        </p:pic>
      </p:grpSp>
      <p:grpSp>
        <p:nvGrpSpPr>
          <p:cNvPr id="762" name="Group 761">
            <a:extLst>
              <a:ext uri="{FF2B5EF4-FFF2-40B4-BE49-F238E27FC236}">
                <a16:creationId xmlns:a16="http://schemas.microsoft.com/office/drawing/2014/main" id="{DFBC9E2A-2A59-4FF1-8E25-218E97B9D935}"/>
              </a:ext>
            </a:extLst>
          </p:cNvPr>
          <p:cNvGrpSpPr/>
          <p:nvPr/>
        </p:nvGrpSpPr>
        <p:grpSpPr>
          <a:xfrm>
            <a:off x="5646135" y="3178504"/>
            <a:ext cx="1233694" cy="245623"/>
            <a:chOff x="5646135" y="2324147"/>
            <a:chExt cx="1233694" cy="245623"/>
          </a:xfrm>
        </p:grpSpPr>
        <p:grpSp>
          <p:nvGrpSpPr>
            <p:cNvPr id="763" name="Group 762">
              <a:extLst>
                <a:ext uri="{FF2B5EF4-FFF2-40B4-BE49-F238E27FC236}">
                  <a16:creationId xmlns:a16="http://schemas.microsoft.com/office/drawing/2014/main" id="{5835838F-B2E8-4732-AC59-E7214513D8B8}"/>
                </a:ext>
              </a:extLst>
            </p:cNvPr>
            <p:cNvGrpSpPr/>
            <p:nvPr/>
          </p:nvGrpSpPr>
          <p:grpSpPr>
            <a:xfrm>
              <a:off x="5646135" y="2324147"/>
              <a:ext cx="1233694" cy="213474"/>
              <a:chOff x="5646135" y="2324147"/>
              <a:chExt cx="1233694" cy="213474"/>
            </a:xfrm>
            <a:effectLst>
              <a:outerShdw blurRad="50800" dist="12700" dir="2700000" algn="tl" rotWithShape="0">
                <a:prstClr val="black">
                  <a:alpha val="40000"/>
                </a:prstClr>
              </a:outerShdw>
            </a:effectLst>
          </p:grpSpPr>
          <p:sp>
            <p:nvSpPr>
              <p:cNvPr id="766" name="Rectangle 765">
                <a:extLst>
                  <a:ext uri="{FF2B5EF4-FFF2-40B4-BE49-F238E27FC236}">
                    <a16:creationId xmlns:a16="http://schemas.microsoft.com/office/drawing/2014/main" id="{F654A56B-977B-4FB9-8EF0-2349779CE815}"/>
                  </a:ext>
                </a:extLst>
              </p:cNvPr>
              <p:cNvSpPr/>
              <p:nvPr/>
            </p:nvSpPr>
            <p:spPr>
              <a:xfrm>
                <a:off x="5646135" y="2324147"/>
                <a:ext cx="119348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767" name="Rectangle 766">
                <a:extLst>
                  <a:ext uri="{FF2B5EF4-FFF2-40B4-BE49-F238E27FC236}">
                    <a16:creationId xmlns:a16="http://schemas.microsoft.com/office/drawing/2014/main" id="{5AA6D5B1-3A80-4955-9DD7-1A296811FE91}"/>
                  </a:ext>
                </a:extLst>
              </p:cNvPr>
              <p:cNvSpPr/>
              <p:nvPr/>
            </p:nvSpPr>
            <p:spPr>
              <a:xfrm rot="18900000">
                <a:off x="6798093"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764" name="TextBox 763">
              <a:extLst>
                <a:ext uri="{FF2B5EF4-FFF2-40B4-BE49-F238E27FC236}">
                  <a16:creationId xmlns:a16="http://schemas.microsoft.com/office/drawing/2014/main" id="{3A801E2F-C438-4017-8345-5B2D9195346C}"/>
                </a:ext>
              </a:extLst>
            </p:cNvPr>
            <p:cNvSpPr txBox="1"/>
            <p:nvPr/>
          </p:nvSpPr>
          <p:spPr>
            <a:xfrm>
              <a:off x="5690767" y="2386522"/>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SpaIN</a:t>
              </a:r>
            </a:p>
          </p:txBody>
        </p:sp>
        <p:pic>
          <p:nvPicPr>
            <p:cNvPr id="765" name="Graphic 764">
              <a:extLst>
                <a:ext uri="{FF2B5EF4-FFF2-40B4-BE49-F238E27FC236}">
                  <a16:creationId xmlns:a16="http://schemas.microsoft.com/office/drawing/2014/main" id="{18799101-E7FA-4DC4-A918-BC0008CB69C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80472" y="2338651"/>
              <a:ext cx="231119" cy="231119"/>
            </a:xfrm>
            <a:prstGeom prst="rect">
              <a:avLst/>
            </a:prstGeom>
          </p:spPr>
        </p:pic>
      </p:grpSp>
      <p:grpSp>
        <p:nvGrpSpPr>
          <p:cNvPr id="783" name="Group 782">
            <a:extLst>
              <a:ext uri="{FF2B5EF4-FFF2-40B4-BE49-F238E27FC236}">
                <a16:creationId xmlns:a16="http://schemas.microsoft.com/office/drawing/2014/main" id="{187FBFE7-F376-45A9-948D-62B5D7AD07BA}"/>
              </a:ext>
            </a:extLst>
          </p:cNvPr>
          <p:cNvGrpSpPr/>
          <p:nvPr/>
        </p:nvGrpSpPr>
        <p:grpSpPr>
          <a:xfrm>
            <a:off x="4275653" y="3407217"/>
            <a:ext cx="1019669" cy="245623"/>
            <a:chOff x="3661671" y="2965171"/>
            <a:chExt cx="1019669" cy="245623"/>
          </a:xfrm>
        </p:grpSpPr>
        <p:grpSp>
          <p:nvGrpSpPr>
            <p:cNvPr id="769" name="Group 768">
              <a:extLst>
                <a:ext uri="{FF2B5EF4-FFF2-40B4-BE49-F238E27FC236}">
                  <a16:creationId xmlns:a16="http://schemas.microsoft.com/office/drawing/2014/main" id="{BCDADFFE-A422-417A-8CDD-C02DB5068017}"/>
                </a:ext>
              </a:extLst>
            </p:cNvPr>
            <p:cNvGrpSpPr/>
            <p:nvPr/>
          </p:nvGrpSpPr>
          <p:grpSpPr>
            <a:xfrm>
              <a:off x="3661671" y="2965171"/>
              <a:ext cx="766627" cy="213474"/>
              <a:chOff x="5533075" y="2324147"/>
              <a:chExt cx="766627" cy="213474"/>
            </a:xfrm>
            <a:effectLst>
              <a:outerShdw blurRad="50800" dist="12700" dir="2700000" algn="tl" rotWithShape="0">
                <a:prstClr val="black">
                  <a:alpha val="40000"/>
                </a:prstClr>
              </a:outerShdw>
            </a:effectLst>
          </p:grpSpPr>
          <p:sp>
            <p:nvSpPr>
              <p:cNvPr id="779" name="Rectangle 778">
                <a:extLst>
                  <a:ext uri="{FF2B5EF4-FFF2-40B4-BE49-F238E27FC236}">
                    <a16:creationId xmlns:a16="http://schemas.microsoft.com/office/drawing/2014/main" id="{AF4EDFC3-B519-4BBB-9E60-72F80E5D0DB1}"/>
                  </a:ext>
                </a:extLst>
              </p:cNvPr>
              <p:cNvSpPr/>
              <p:nvPr/>
            </p:nvSpPr>
            <p:spPr>
              <a:xfrm>
                <a:off x="5573777" y="2324147"/>
                <a:ext cx="72592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780" name="Rectangle 779">
                <a:extLst>
                  <a:ext uri="{FF2B5EF4-FFF2-40B4-BE49-F238E27FC236}">
                    <a16:creationId xmlns:a16="http://schemas.microsoft.com/office/drawing/2014/main" id="{25809DBD-37E6-4391-BB49-18840F6A5AD8}"/>
                  </a:ext>
                </a:extLst>
              </p:cNvPr>
              <p:cNvSpPr/>
              <p:nvPr/>
            </p:nvSpPr>
            <p:spPr>
              <a:xfrm rot="18900000">
                <a:off x="5533075"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770" name="TextBox 769">
              <a:extLst>
                <a:ext uri="{FF2B5EF4-FFF2-40B4-BE49-F238E27FC236}">
                  <a16:creationId xmlns:a16="http://schemas.microsoft.com/office/drawing/2014/main" id="{E016631D-1B8B-4111-9AF2-860CC045B9C9}"/>
                </a:ext>
              </a:extLst>
            </p:cNvPr>
            <p:cNvSpPr txBox="1"/>
            <p:nvPr/>
          </p:nvSpPr>
          <p:spPr>
            <a:xfrm>
              <a:off x="3750438" y="3027546"/>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USA</a:t>
              </a:r>
            </a:p>
          </p:txBody>
        </p:sp>
        <p:pic>
          <p:nvPicPr>
            <p:cNvPr id="777" name="Graphic 776">
              <a:extLst>
                <a:ext uri="{FF2B5EF4-FFF2-40B4-BE49-F238E27FC236}">
                  <a16:creationId xmlns:a16="http://schemas.microsoft.com/office/drawing/2014/main" id="{49D96387-69C2-437E-A554-71B927C30F3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0031" y="2979675"/>
              <a:ext cx="231119" cy="231119"/>
            </a:xfrm>
            <a:prstGeom prst="rect">
              <a:avLst/>
            </a:prstGeom>
          </p:spPr>
        </p:pic>
      </p:grpSp>
      <p:grpSp>
        <p:nvGrpSpPr>
          <p:cNvPr id="812" name="Group 811">
            <a:extLst>
              <a:ext uri="{FF2B5EF4-FFF2-40B4-BE49-F238E27FC236}">
                <a16:creationId xmlns:a16="http://schemas.microsoft.com/office/drawing/2014/main" id="{AB91ADA2-BBBB-4CE2-9FB2-AD4E490293B5}"/>
              </a:ext>
            </a:extLst>
          </p:cNvPr>
          <p:cNvGrpSpPr/>
          <p:nvPr/>
        </p:nvGrpSpPr>
        <p:grpSpPr>
          <a:xfrm>
            <a:off x="7656395" y="3678261"/>
            <a:ext cx="805503" cy="286208"/>
            <a:chOff x="4316355" y="4681188"/>
            <a:chExt cx="805503" cy="286208"/>
          </a:xfrm>
        </p:grpSpPr>
        <p:grpSp>
          <p:nvGrpSpPr>
            <p:cNvPr id="785" name="Group 784">
              <a:extLst>
                <a:ext uri="{FF2B5EF4-FFF2-40B4-BE49-F238E27FC236}">
                  <a16:creationId xmlns:a16="http://schemas.microsoft.com/office/drawing/2014/main" id="{636C1E86-5508-4E9E-97FA-834A2027B1CC}"/>
                </a:ext>
              </a:extLst>
            </p:cNvPr>
            <p:cNvGrpSpPr/>
            <p:nvPr/>
          </p:nvGrpSpPr>
          <p:grpSpPr>
            <a:xfrm>
              <a:off x="4316355" y="4681188"/>
              <a:ext cx="805503" cy="254060"/>
              <a:chOff x="5573777" y="2283561"/>
              <a:chExt cx="805503" cy="254060"/>
            </a:xfrm>
            <a:effectLst>
              <a:outerShdw blurRad="50800" dist="12700" dir="2700000" algn="tl" rotWithShape="0">
                <a:prstClr val="black">
                  <a:alpha val="40000"/>
                </a:prstClr>
              </a:outerShdw>
            </a:effectLst>
          </p:grpSpPr>
          <p:sp>
            <p:nvSpPr>
              <p:cNvPr id="788" name="Rectangle 787">
                <a:extLst>
                  <a:ext uri="{FF2B5EF4-FFF2-40B4-BE49-F238E27FC236}">
                    <a16:creationId xmlns:a16="http://schemas.microsoft.com/office/drawing/2014/main" id="{860EA764-673F-4BB8-AD53-9769CC2B687B}"/>
                  </a:ext>
                </a:extLst>
              </p:cNvPr>
              <p:cNvSpPr/>
              <p:nvPr/>
            </p:nvSpPr>
            <p:spPr>
              <a:xfrm>
                <a:off x="5573777" y="2324147"/>
                <a:ext cx="805503"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789" name="Rectangle 788">
                <a:extLst>
                  <a:ext uri="{FF2B5EF4-FFF2-40B4-BE49-F238E27FC236}">
                    <a16:creationId xmlns:a16="http://schemas.microsoft.com/office/drawing/2014/main" id="{36A3FE95-7ECF-4C5D-8592-31FDF0984E9C}"/>
                  </a:ext>
                </a:extLst>
              </p:cNvPr>
              <p:cNvSpPr/>
              <p:nvPr/>
            </p:nvSpPr>
            <p:spPr>
              <a:xfrm rot="18900000">
                <a:off x="5622155" y="228356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786" name="TextBox 785">
              <a:extLst>
                <a:ext uri="{FF2B5EF4-FFF2-40B4-BE49-F238E27FC236}">
                  <a16:creationId xmlns:a16="http://schemas.microsoft.com/office/drawing/2014/main" id="{6865A56F-D4D8-4C61-9DB4-6272E0EB2312}"/>
                </a:ext>
              </a:extLst>
            </p:cNvPr>
            <p:cNvSpPr txBox="1"/>
            <p:nvPr/>
          </p:nvSpPr>
          <p:spPr>
            <a:xfrm>
              <a:off x="4364420" y="4784149"/>
              <a:ext cx="473838"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Albania</a:t>
              </a:r>
            </a:p>
          </p:txBody>
        </p:sp>
        <p:grpSp>
          <p:nvGrpSpPr>
            <p:cNvPr id="804" name="Group 803">
              <a:extLst>
                <a:ext uri="{FF2B5EF4-FFF2-40B4-BE49-F238E27FC236}">
                  <a16:creationId xmlns:a16="http://schemas.microsoft.com/office/drawing/2014/main" id="{A440787C-DAF3-4CA1-BB3C-8CBB29C25649}"/>
                </a:ext>
              </a:extLst>
            </p:cNvPr>
            <p:cNvGrpSpPr/>
            <p:nvPr/>
          </p:nvGrpSpPr>
          <p:grpSpPr>
            <a:xfrm>
              <a:off x="4736181" y="4736277"/>
              <a:ext cx="376503" cy="231119"/>
              <a:chOff x="7405692" y="2378493"/>
              <a:chExt cx="390981" cy="240007"/>
            </a:xfrm>
          </p:grpSpPr>
          <p:pic>
            <p:nvPicPr>
              <p:cNvPr id="808" name="Graphic 807">
                <a:extLst>
                  <a:ext uri="{FF2B5EF4-FFF2-40B4-BE49-F238E27FC236}">
                    <a16:creationId xmlns:a16="http://schemas.microsoft.com/office/drawing/2014/main" id="{BDC69134-B5E7-4463-9A95-40696EB631E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05692" y="2378493"/>
                <a:ext cx="240007" cy="240007"/>
              </a:xfrm>
              <a:prstGeom prst="rect">
                <a:avLst/>
              </a:prstGeom>
            </p:spPr>
          </p:pic>
          <p:pic>
            <p:nvPicPr>
              <p:cNvPr id="810" name="Graphic 809">
                <a:extLst>
                  <a:ext uri="{FF2B5EF4-FFF2-40B4-BE49-F238E27FC236}">
                    <a16:creationId xmlns:a16="http://schemas.microsoft.com/office/drawing/2014/main" id="{89A6989D-4754-4111-AEA0-F4290561E58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56662" y="2378493"/>
                <a:ext cx="240011" cy="240007"/>
              </a:xfrm>
              <a:prstGeom prst="rect">
                <a:avLst/>
              </a:prstGeom>
            </p:spPr>
          </p:pic>
        </p:grpSp>
      </p:grpSp>
      <p:grpSp>
        <p:nvGrpSpPr>
          <p:cNvPr id="813" name="Group 812">
            <a:extLst>
              <a:ext uri="{FF2B5EF4-FFF2-40B4-BE49-F238E27FC236}">
                <a16:creationId xmlns:a16="http://schemas.microsoft.com/office/drawing/2014/main" id="{AF114B34-1D8C-424A-82EF-49BF27D4AC1C}"/>
              </a:ext>
            </a:extLst>
          </p:cNvPr>
          <p:cNvGrpSpPr/>
          <p:nvPr/>
        </p:nvGrpSpPr>
        <p:grpSpPr>
          <a:xfrm>
            <a:off x="4312822" y="5209998"/>
            <a:ext cx="978967" cy="245622"/>
            <a:chOff x="4316355" y="4721774"/>
            <a:chExt cx="978967" cy="245622"/>
          </a:xfrm>
        </p:grpSpPr>
        <p:grpSp>
          <p:nvGrpSpPr>
            <p:cNvPr id="814" name="Group 813">
              <a:extLst>
                <a:ext uri="{FF2B5EF4-FFF2-40B4-BE49-F238E27FC236}">
                  <a16:creationId xmlns:a16="http://schemas.microsoft.com/office/drawing/2014/main" id="{CEC98DDD-57DB-48AA-B92F-7492EC141A1E}"/>
                </a:ext>
              </a:extLst>
            </p:cNvPr>
            <p:cNvGrpSpPr/>
            <p:nvPr/>
          </p:nvGrpSpPr>
          <p:grpSpPr>
            <a:xfrm>
              <a:off x="4316355" y="4721774"/>
              <a:ext cx="764855" cy="213474"/>
              <a:chOff x="5573777" y="2324147"/>
              <a:chExt cx="764855" cy="213474"/>
            </a:xfrm>
            <a:effectLst>
              <a:outerShdw blurRad="50800" dist="12700" dir="2700000" algn="tl" rotWithShape="0">
                <a:prstClr val="black">
                  <a:alpha val="40000"/>
                </a:prstClr>
              </a:outerShdw>
            </a:effectLst>
          </p:grpSpPr>
          <p:sp>
            <p:nvSpPr>
              <p:cNvPr id="819" name="Rectangle 818">
                <a:extLst>
                  <a:ext uri="{FF2B5EF4-FFF2-40B4-BE49-F238E27FC236}">
                    <a16:creationId xmlns:a16="http://schemas.microsoft.com/office/drawing/2014/main" id="{96338513-0FF3-48A6-BFC3-BA6CF4061F2C}"/>
                  </a:ext>
                </a:extLst>
              </p:cNvPr>
              <p:cNvSpPr/>
              <p:nvPr/>
            </p:nvSpPr>
            <p:spPr>
              <a:xfrm>
                <a:off x="5573777" y="2324147"/>
                <a:ext cx="72592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820" name="Rectangle 819">
                <a:extLst>
                  <a:ext uri="{FF2B5EF4-FFF2-40B4-BE49-F238E27FC236}">
                    <a16:creationId xmlns:a16="http://schemas.microsoft.com/office/drawing/2014/main" id="{F0460111-6EEA-4B90-94CD-B92760D391CD}"/>
                  </a:ext>
                </a:extLst>
              </p:cNvPr>
              <p:cNvSpPr/>
              <p:nvPr/>
            </p:nvSpPr>
            <p:spPr>
              <a:xfrm rot="18900000">
                <a:off x="6256896"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815" name="TextBox 814">
              <a:extLst>
                <a:ext uri="{FF2B5EF4-FFF2-40B4-BE49-F238E27FC236}">
                  <a16:creationId xmlns:a16="http://schemas.microsoft.com/office/drawing/2014/main" id="{F8D69E28-8FAC-4595-B974-01F9761C180F}"/>
                </a:ext>
              </a:extLst>
            </p:cNvPr>
            <p:cNvSpPr txBox="1"/>
            <p:nvPr/>
          </p:nvSpPr>
          <p:spPr>
            <a:xfrm>
              <a:off x="4364420" y="4784149"/>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Chile</a:t>
              </a:r>
            </a:p>
          </p:txBody>
        </p:sp>
        <p:grpSp>
          <p:nvGrpSpPr>
            <p:cNvPr id="816" name="Group 815">
              <a:extLst>
                <a:ext uri="{FF2B5EF4-FFF2-40B4-BE49-F238E27FC236}">
                  <a16:creationId xmlns:a16="http://schemas.microsoft.com/office/drawing/2014/main" id="{53CB354E-7B66-4246-AEBC-2CE78EF44BAA}"/>
                </a:ext>
              </a:extLst>
            </p:cNvPr>
            <p:cNvGrpSpPr/>
            <p:nvPr/>
          </p:nvGrpSpPr>
          <p:grpSpPr>
            <a:xfrm>
              <a:off x="4638778" y="4736277"/>
              <a:ext cx="387328" cy="231119"/>
              <a:chOff x="7304594" y="2378493"/>
              <a:chExt cx="402225" cy="240007"/>
            </a:xfrm>
          </p:grpSpPr>
          <p:pic>
            <p:nvPicPr>
              <p:cNvPr id="817" name="Graphic 816">
                <a:extLst>
                  <a:ext uri="{FF2B5EF4-FFF2-40B4-BE49-F238E27FC236}">
                    <a16:creationId xmlns:a16="http://schemas.microsoft.com/office/drawing/2014/main" id="{911F686A-D2AD-488F-8344-5AA7C585C55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04594" y="2378493"/>
                <a:ext cx="240007" cy="240007"/>
              </a:xfrm>
              <a:prstGeom prst="rect">
                <a:avLst/>
              </a:prstGeom>
            </p:spPr>
          </p:pic>
          <p:pic>
            <p:nvPicPr>
              <p:cNvPr id="818" name="Graphic 817">
                <a:extLst>
                  <a:ext uri="{FF2B5EF4-FFF2-40B4-BE49-F238E27FC236}">
                    <a16:creationId xmlns:a16="http://schemas.microsoft.com/office/drawing/2014/main" id="{08FB0C11-1A25-4F39-AE88-03B7761FEB7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66812" y="2378493"/>
                <a:ext cx="240007" cy="240007"/>
              </a:xfrm>
              <a:prstGeom prst="rect">
                <a:avLst/>
              </a:prstGeom>
            </p:spPr>
          </p:pic>
        </p:grpSp>
      </p:grpSp>
      <p:grpSp>
        <p:nvGrpSpPr>
          <p:cNvPr id="834" name="Group 833">
            <a:extLst>
              <a:ext uri="{FF2B5EF4-FFF2-40B4-BE49-F238E27FC236}">
                <a16:creationId xmlns:a16="http://schemas.microsoft.com/office/drawing/2014/main" id="{6F71BEA2-1A4E-4E5A-814E-904DB7A3702E}"/>
              </a:ext>
            </a:extLst>
          </p:cNvPr>
          <p:cNvGrpSpPr/>
          <p:nvPr/>
        </p:nvGrpSpPr>
        <p:grpSpPr>
          <a:xfrm>
            <a:off x="6301153" y="4953099"/>
            <a:ext cx="1017138" cy="245623"/>
            <a:chOff x="5604531" y="728919"/>
            <a:chExt cx="1017138" cy="245623"/>
          </a:xfrm>
        </p:grpSpPr>
        <p:grpSp>
          <p:nvGrpSpPr>
            <p:cNvPr id="835" name="Group 834">
              <a:extLst>
                <a:ext uri="{FF2B5EF4-FFF2-40B4-BE49-F238E27FC236}">
                  <a16:creationId xmlns:a16="http://schemas.microsoft.com/office/drawing/2014/main" id="{4ADEA833-C865-4F19-B08E-E2225C439580}"/>
                </a:ext>
              </a:extLst>
            </p:cNvPr>
            <p:cNvGrpSpPr/>
            <p:nvPr/>
          </p:nvGrpSpPr>
          <p:grpSpPr>
            <a:xfrm>
              <a:off x="5604531" y="728919"/>
              <a:ext cx="997299" cy="213474"/>
              <a:chOff x="5604531" y="2324147"/>
              <a:chExt cx="997299" cy="213474"/>
            </a:xfrm>
            <a:effectLst>
              <a:outerShdw blurRad="50800" dist="12700" dir="2700000" algn="tl" rotWithShape="0">
                <a:prstClr val="black">
                  <a:alpha val="40000"/>
                </a:prstClr>
              </a:outerShdw>
            </a:effectLst>
          </p:grpSpPr>
          <p:sp>
            <p:nvSpPr>
              <p:cNvPr id="845" name="Rectangle 844">
                <a:extLst>
                  <a:ext uri="{FF2B5EF4-FFF2-40B4-BE49-F238E27FC236}">
                    <a16:creationId xmlns:a16="http://schemas.microsoft.com/office/drawing/2014/main" id="{5963A66A-450E-49C4-AA88-8C0CEF3A6F6B}"/>
                  </a:ext>
                </a:extLst>
              </p:cNvPr>
              <p:cNvSpPr/>
              <p:nvPr/>
            </p:nvSpPr>
            <p:spPr>
              <a:xfrm>
                <a:off x="5646136" y="2324147"/>
                <a:ext cx="955694"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846" name="Rectangle 845">
                <a:extLst>
                  <a:ext uri="{FF2B5EF4-FFF2-40B4-BE49-F238E27FC236}">
                    <a16:creationId xmlns:a16="http://schemas.microsoft.com/office/drawing/2014/main" id="{6D4E0E37-67A8-4FD7-9EA5-83125F8CCBDC}"/>
                  </a:ext>
                </a:extLst>
              </p:cNvPr>
              <p:cNvSpPr/>
              <p:nvPr/>
            </p:nvSpPr>
            <p:spPr>
              <a:xfrm rot="18900000">
                <a:off x="5604531"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836" name="TextBox 835">
              <a:extLst>
                <a:ext uri="{FF2B5EF4-FFF2-40B4-BE49-F238E27FC236}">
                  <a16:creationId xmlns:a16="http://schemas.microsoft.com/office/drawing/2014/main" id="{01D47224-47E4-4659-86CF-AF23F5D4CB7E}"/>
                </a:ext>
              </a:extLst>
            </p:cNvPr>
            <p:cNvSpPr txBox="1"/>
            <p:nvPr/>
          </p:nvSpPr>
          <p:spPr>
            <a:xfrm>
              <a:off x="5690767" y="791294"/>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brazil</a:t>
              </a:r>
            </a:p>
          </p:txBody>
        </p:sp>
        <p:grpSp>
          <p:nvGrpSpPr>
            <p:cNvPr id="837" name="Group 836">
              <a:extLst>
                <a:ext uri="{FF2B5EF4-FFF2-40B4-BE49-F238E27FC236}">
                  <a16:creationId xmlns:a16="http://schemas.microsoft.com/office/drawing/2014/main" id="{429FE003-F543-4130-8E8A-73DE26550FE1}"/>
                </a:ext>
              </a:extLst>
            </p:cNvPr>
            <p:cNvGrpSpPr/>
            <p:nvPr/>
          </p:nvGrpSpPr>
          <p:grpSpPr>
            <a:xfrm>
              <a:off x="6025234" y="743423"/>
              <a:ext cx="569043" cy="231119"/>
              <a:chOff x="6512820" y="2378493"/>
              <a:chExt cx="590930" cy="240007"/>
            </a:xfrm>
          </p:grpSpPr>
          <p:pic>
            <p:nvPicPr>
              <p:cNvPr id="841" name="Graphic 840">
                <a:extLst>
                  <a:ext uri="{FF2B5EF4-FFF2-40B4-BE49-F238E27FC236}">
                    <a16:creationId xmlns:a16="http://schemas.microsoft.com/office/drawing/2014/main" id="{471DD930-E7D5-4A8D-87D1-FA87C79088A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12820" y="2378493"/>
                <a:ext cx="240007" cy="240007"/>
              </a:xfrm>
              <a:prstGeom prst="rect">
                <a:avLst/>
              </a:prstGeom>
            </p:spPr>
          </p:pic>
          <p:pic>
            <p:nvPicPr>
              <p:cNvPr id="843" name="Graphic 842">
                <a:extLst>
                  <a:ext uri="{FF2B5EF4-FFF2-40B4-BE49-F238E27FC236}">
                    <a16:creationId xmlns:a16="http://schemas.microsoft.com/office/drawing/2014/main" id="{63EC9313-61C2-4DC7-B428-954841D0D4A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63743" y="2378493"/>
                <a:ext cx="240007" cy="240007"/>
              </a:xfrm>
              <a:prstGeom prst="rect">
                <a:avLst/>
              </a:prstGeom>
            </p:spPr>
          </p:pic>
          <p:pic>
            <p:nvPicPr>
              <p:cNvPr id="844" name="Graphic 843">
                <a:extLst>
                  <a:ext uri="{FF2B5EF4-FFF2-40B4-BE49-F238E27FC236}">
                    <a16:creationId xmlns:a16="http://schemas.microsoft.com/office/drawing/2014/main" id="{62ECC5B9-2C6F-4B1C-9C97-58A8C338E00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88579" y="2378493"/>
                <a:ext cx="240007" cy="240007"/>
              </a:xfrm>
              <a:prstGeom prst="rect">
                <a:avLst/>
              </a:prstGeom>
            </p:spPr>
          </p:pic>
        </p:grpSp>
      </p:grpSp>
      <p:grpSp>
        <p:nvGrpSpPr>
          <p:cNvPr id="855" name="Group 854">
            <a:extLst>
              <a:ext uri="{FF2B5EF4-FFF2-40B4-BE49-F238E27FC236}">
                <a16:creationId xmlns:a16="http://schemas.microsoft.com/office/drawing/2014/main" id="{B488FEFA-77FD-47E5-9AA1-0AEE0574C015}"/>
              </a:ext>
            </a:extLst>
          </p:cNvPr>
          <p:cNvGrpSpPr/>
          <p:nvPr/>
        </p:nvGrpSpPr>
        <p:grpSpPr>
          <a:xfrm>
            <a:off x="4316200" y="4955942"/>
            <a:ext cx="978967" cy="245622"/>
            <a:chOff x="4316355" y="4721774"/>
            <a:chExt cx="978967" cy="245622"/>
          </a:xfrm>
        </p:grpSpPr>
        <p:grpSp>
          <p:nvGrpSpPr>
            <p:cNvPr id="856" name="Group 855">
              <a:extLst>
                <a:ext uri="{FF2B5EF4-FFF2-40B4-BE49-F238E27FC236}">
                  <a16:creationId xmlns:a16="http://schemas.microsoft.com/office/drawing/2014/main" id="{8187F556-34FB-458A-8C42-8F3D6C2EF4AB}"/>
                </a:ext>
              </a:extLst>
            </p:cNvPr>
            <p:cNvGrpSpPr/>
            <p:nvPr/>
          </p:nvGrpSpPr>
          <p:grpSpPr>
            <a:xfrm>
              <a:off x="4316355" y="4721774"/>
              <a:ext cx="764855" cy="213474"/>
              <a:chOff x="5573777" y="2324147"/>
              <a:chExt cx="764855" cy="213474"/>
            </a:xfrm>
            <a:effectLst>
              <a:outerShdw blurRad="50800" dist="12700" dir="2700000" algn="tl" rotWithShape="0">
                <a:prstClr val="black">
                  <a:alpha val="40000"/>
                </a:prstClr>
              </a:outerShdw>
            </a:effectLst>
          </p:grpSpPr>
          <p:sp>
            <p:nvSpPr>
              <p:cNvPr id="861" name="Rectangle 860">
                <a:extLst>
                  <a:ext uri="{FF2B5EF4-FFF2-40B4-BE49-F238E27FC236}">
                    <a16:creationId xmlns:a16="http://schemas.microsoft.com/office/drawing/2014/main" id="{0312D7B1-AB77-4E14-9B3C-95F66D8193F0}"/>
                  </a:ext>
                </a:extLst>
              </p:cNvPr>
              <p:cNvSpPr/>
              <p:nvPr/>
            </p:nvSpPr>
            <p:spPr>
              <a:xfrm>
                <a:off x="5573777" y="2324147"/>
                <a:ext cx="72592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862" name="Rectangle 861">
                <a:extLst>
                  <a:ext uri="{FF2B5EF4-FFF2-40B4-BE49-F238E27FC236}">
                    <a16:creationId xmlns:a16="http://schemas.microsoft.com/office/drawing/2014/main" id="{74FC1BD5-745D-4323-B47E-24D2B9C2C630}"/>
                  </a:ext>
                </a:extLst>
              </p:cNvPr>
              <p:cNvSpPr/>
              <p:nvPr/>
            </p:nvSpPr>
            <p:spPr>
              <a:xfrm rot="18900000">
                <a:off x="6256896"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857" name="TextBox 856">
              <a:extLst>
                <a:ext uri="{FF2B5EF4-FFF2-40B4-BE49-F238E27FC236}">
                  <a16:creationId xmlns:a16="http://schemas.microsoft.com/office/drawing/2014/main" id="{A7E1F2C9-037B-4ACC-8C78-39C86E7E34D8}"/>
                </a:ext>
              </a:extLst>
            </p:cNvPr>
            <p:cNvSpPr txBox="1"/>
            <p:nvPr/>
          </p:nvSpPr>
          <p:spPr>
            <a:xfrm>
              <a:off x="4364420" y="4784149"/>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Peru</a:t>
              </a:r>
            </a:p>
          </p:txBody>
        </p:sp>
        <p:grpSp>
          <p:nvGrpSpPr>
            <p:cNvPr id="858" name="Group 857">
              <a:extLst>
                <a:ext uri="{FF2B5EF4-FFF2-40B4-BE49-F238E27FC236}">
                  <a16:creationId xmlns:a16="http://schemas.microsoft.com/office/drawing/2014/main" id="{AA3A1F30-C4A3-47A9-A425-C12FB6A2F040}"/>
                </a:ext>
              </a:extLst>
            </p:cNvPr>
            <p:cNvGrpSpPr/>
            <p:nvPr/>
          </p:nvGrpSpPr>
          <p:grpSpPr>
            <a:xfrm>
              <a:off x="4638778" y="4736277"/>
              <a:ext cx="387328" cy="231119"/>
              <a:chOff x="7304594" y="2378493"/>
              <a:chExt cx="402225" cy="240007"/>
            </a:xfrm>
          </p:grpSpPr>
          <p:pic>
            <p:nvPicPr>
              <p:cNvPr id="859" name="Graphic 858">
                <a:extLst>
                  <a:ext uri="{FF2B5EF4-FFF2-40B4-BE49-F238E27FC236}">
                    <a16:creationId xmlns:a16="http://schemas.microsoft.com/office/drawing/2014/main" id="{58A8E45C-852D-4361-AC6F-7473D872F5B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04594" y="2378493"/>
                <a:ext cx="240007" cy="240007"/>
              </a:xfrm>
              <a:prstGeom prst="rect">
                <a:avLst/>
              </a:prstGeom>
            </p:spPr>
          </p:pic>
          <p:pic>
            <p:nvPicPr>
              <p:cNvPr id="860" name="Graphic 859">
                <a:extLst>
                  <a:ext uri="{FF2B5EF4-FFF2-40B4-BE49-F238E27FC236}">
                    <a16:creationId xmlns:a16="http://schemas.microsoft.com/office/drawing/2014/main" id="{9B460CD1-7CA8-4599-8EB7-A4FA1C7B2F2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66812" y="2378493"/>
                <a:ext cx="240007" cy="240007"/>
              </a:xfrm>
              <a:prstGeom prst="rect">
                <a:avLst/>
              </a:prstGeom>
            </p:spPr>
          </p:pic>
        </p:grpSp>
      </p:grpSp>
      <p:grpSp>
        <p:nvGrpSpPr>
          <p:cNvPr id="863" name="Group 862">
            <a:extLst>
              <a:ext uri="{FF2B5EF4-FFF2-40B4-BE49-F238E27FC236}">
                <a16:creationId xmlns:a16="http://schemas.microsoft.com/office/drawing/2014/main" id="{3EA2BD3A-70B9-4863-A95D-DDA3A5E0C644}"/>
              </a:ext>
            </a:extLst>
          </p:cNvPr>
          <p:cNvGrpSpPr/>
          <p:nvPr/>
        </p:nvGrpSpPr>
        <p:grpSpPr>
          <a:xfrm>
            <a:off x="8425985" y="3407922"/>
            <a:ext cx="838495" cy="245622"/>
            <a:chOff x="4283363" y="4721774"/>
            <a:chExt cx="838495" cy="245622"/>
          </a:xfrm>
        </p:grpSpPr>
        <p:grpSp>
          <p:nvGrpSpPr>
            <p:cNvPr id="864" name="Group 863">
              <a:extLst>
                <a:ext uri="{FF2B5EF4-FFF2-40B4-BE49-F238E27FC236}">
                  <a16:creationId xmlns:a16="http://schemas.microsoft.com/office/drawing/2014/main" id="{BC2A78A8-F82F-4D9E-9F37-98DCC7206312}"/>
                </a:ext>
              </a:extLst>
            </p:cNvPr>
            <p:cNvGrpSpPr/>
            <p:nvPr/>
          </p:nvGrpSpPr>
          <p:grpSpPr>
            <a:xfrm>
              <a:off x="4283363" y="4721774"/>
              <a:ext cx="838495" cy="213474"/>
              <a:chOff x="5540785" y="2324147"/>
              <a:chExt cx="838495" cy="213474"/>
            </a:xfrm>
            <a:effectLst>
              <a:outerShdw blurRad="50800" dist="12700" dir="2700000" algn="tl" rotWithShape="0">
                <a:prstClr val="black">
                  <a:alpha val="40000"/>
                </a:prstClr>
              </a:outerShdw>
            </a:effectLst>
          </p:grpSpPr>
          <p:sp>
            <p:nvSpPr>
              <p:cNvPr id="869" name="Rectangle 868">
                <a:extLst>
                  <a:ext uri="{FF2B5EF4-FFF2-40B4-BE49-F238E27FC236}">
                    <a16:creationId xmlns:a16="http://schemas.microsoft.com/office/drawing/2014/main" id="{4E85D999-BC0F-43BB-AD49-74630AA31D10}"/>
                  </a:ext>
                </a:extLst>
              </p:cNvPr>
              <p:cNvSpPr/>
              <p:nvPr/>
            </p:nvSpPr>
            <p:spPr>
              <a:xfrm>
                <a:off x="5573777" y="2324147"/>
                <a:ext cx="805503"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870" name="Rectangle 869">
                <a:extLst>
                  <a:ext uri="{FF2B5EF4-FFF2-40B4-BE49-F238E27FC236}">
                    <a16:creationId xmlns:a16="http://schemas.microsoft.com/office/drawing/2014/main" id="{A55B5D61-C14D-413C-8EEB-44823A991928}"/>
                  </a:ext>
                </a:extLst>
              </p:cNvPr>
              <p:cNvSpPr/>
              <p:nvPr/>
            </p:nvSpPr>
            <p:spPr>
              <a:xfrm rot="18900000">
                <a:off x="5540785"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865" name="TextBox 864">
              <a:extLst>
                <a:ext uri="{FF2B5EF4-FFF2-40B4-BE49-F238E27FC236}">
                  <a16:creationId xmlns:a16="http://schemas.microsoft.com/office/drawing/2014/main" id="{87E266EA-A799-48D3-B8F6-24F0F5A51985}"/>
                </a:ext>
              </a:extLst>
            </p:cNvPr>
            <p:cNvSpPr txBox="1"/>
            <p:nvPr/>
          </p:nvSpPr>
          <p:spPr>
            <a:xfrm>
              <a:off x="4364420" y="4784149"/>
              <a:ext cx="473838"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TURKEY</a:t>
              </a:r>
            </a:p>
          </p:txBody>
        </p:sp>
        <p:grpSp>
          <p:nvGrpSpPr>
            <p:cNvPr id="866" name="Group 865">
              <a:extLst>
                <a:ext uri="{FF2B5EF4-FFF2-40B4-BE49-F238E27FC236}">
                  <a16:creationId xmlns:a16="http://schemas.microsoft.com/office/drawing/2014/main" id="{AE8655F5-FE65-4382-8B85-C1A404B15AAD}"/>
                </a:ext>
              </a:extLst>
            </p:cNvPr>
            <p:cNvGrpSpPr/>
            <p:nvPr/>
          </p:nvGrpSpPr>
          <p:grpSpPr>
            <a:xfrm>
              <a:off x="4720035" y="4736277"/>
              <a:ext cx="392640" cy="231119"/>
              <a:chOff x="7388934" y="2378493"/>
              <a:chExt cx="407739" cy="240007"/>
            </a:xfrm>
          </p:grpSpPr>
          <p:pic>
            <p:nvPicPr>
              <p:cNvPr id="867" name="Graphic 866">
                <a:extLst>
                  <a:ext uri="{FF2B5EF4-FFF2-40B4-BE49-F238E27FC236}">
                    <a16:creationId xmlns:a16="http://schemas.microsoft.com/office/drawing/2014/main" id="{AFA67D9F-741A-4044-B31E-27BA08BB8C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88934" y="2378493"/>
                <a:ext cx="240007" cy="240007"/>
              </a:xfrm>
              <a:prstGeom prst="rect">
                <a:avLst/>
              </a:prstGeom>
            </p:spPr>
          </p:pic>
          <p:pic>
            <p:nvPicPr>
              <p:cNvPr id="868" name="Graphic 867">
                <a:extLst>
                  <a:ext uri="{FF2B5EF4-FFF2-40B4-BE49-F238E27FC236}">
                    <a16:creationId xmlns:a16="http://schemas.microsoft.com/office/drawing/2014/main" id="{2EEBF49C-5520-4E67-A68E-2C0B829A77D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56662" y="2378493"/>
                <a:ext cx="240011" cy="240007"/>
              </a:xfrm>
              <a:prstGeom prst="rect">
                <a:avLst/>
              </a:prstGeom>
            </p:spPr>
          </p:pic>
        </p:grpSp>
      </p:grpSp>
      <p:grpSp>
        <p:nvGrpSpPr>
          <p:cNvPr id="871" name="Group 870">
            <a:extLst>
              <a:ext uri="{FF2B5EF4-FFF2-40B4-BE49-F238E27FC236}">
                <a16:creationId xmlns:a16="http://schemas.microsoft.com/office/drawing/2014/main" id="{3E6D82A4-4482-4E6E-976E-C1FF51A6BEC2}"/>
              </a:ext>
            </a:extLst>
          </p:cNvPr>
          <p:cNvGrpSpPr/>
          <p:nvPr/>
        </p:nvGrpSpPr>
        <p:grpSpPr>
          <a:xfrm>
            <a:off x="9311993" y="3407922"/>
            <a:ext cx="650945" cy="253372"/>
            <a:chOff x="4316356" y="4721774"/>
            <a:chExt cx="650945" cy="253372"/>
          </a:xfrm>
        </p:grpSpPr>
        <p:grpSp>
          <p:nvGrpSpPr>
            <p:cNvPr id="872" name="Group 871">
              <a:extLst>
                <a:ext uri="{FF2B5EF4-FFF2-40B4-BE49-F238E27FC236}">
                  <a16:creationId xmlns:a16="http://schemas.microsoft.com/office/drawing/2014/main" id="{6D3511D6-F7A5-47FE-84BA-75CDA0B6F8A3}"/>
                </a:ext>
              </a:extLst>
            </p:cNvPr>
            <p:cNvGrpSpPr/>
            <p:nvPr/>
          </p:nvGrpSpPr>
          <p:grpSpPr>
            <a:xfrm>
              <a:off x="4316356" y="4721774"/>
              <a:ext cx="634453" cy="253372"/>
              <a:chOff x="5573778" y="2324147"/>
              <a:chExt cx="634453" cy="253372"/>
            </a:xfrm>
            <a:effectLst>
              <a:outerShdw blurRad="50800" dist="12700" dir="2700000" algn="tl" rotWithShape="0">
                <a:prstClr val="black">
                  <a:alpha val="40000"/>
                </a:prstClr>
              </a:outerShdw>
            </a:effectLst>
          </p:grpSpPr>
          <p:sp>
            <p:nvSpPr>
              <p:cNvPr id="877" name="Rectangle 876">
                <a:extLst>
                  <a:ext uri="{FF2B5EF4-FFF2-40B4-BE49-F238E27FC236}">
                    <a16:creationId xmlns:a16="http://schemas.microsoft.com/office/drawing/2014/main" id="{CE1FEBA2-8699-4170-AE65-B112BA1DA3CB}"/>
                  </a:ext>
                </a:extLst>
              </p:cNvPr>
              <p:cNvSpPr/>
              <p:nvPr/>
            </p:nvSpPr>
            <p:spPr>
              <a:xfrm>
                <a:off x="5573778" y="2324147"/>
                <a:ext cx="634453"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878" name="Rectangle 877">
                <a:extLst>
                  <a:ext uri="{FF2B5EF4-FFF2-40B4-BE49-F238E27FC236}">
                    <a16:creationId xmlns:a16="http://schemas.microsoft.com/office/drawing/2014/main" id="{291A4842-666B-4854-A1F8-20F3FB40FE4D}"/>
                  </a:ext>
                </a:extLst>
              </p:cNvPr>
              <p:cNvSpPr/>
              <p:nvPr/>
            </p:nvSpPr>
            <p:spPr>
              <a:xfrm rot="18900000">
                <a:off x="5647943" y="2495783"/>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873" name="TextBox 872">
              <a:extLst>
                <a:ext uri="{FF2B5EF4-FFF2-40B4-BE49-F238E27FC236}">
                  <a16:creationId xmlns:a16="http://schemas.microsoft.com/office/drawing/2014/main" id="{C345B55E-FBBC-4AFD-A486-DDE3CA2954E9}"/>
                </a:ext>
              </a:extLst>
            </p:cNvPr>
            <p:cNvSpPr txBox="1"/>
            <p:nvPr/>
          </p:nvSpPr>
          <p:spPr>
            <a:xfrm>
              <a:off x="4364420" y="4784149"/>
              <a:ext cx="473838"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Nepal</a:t>
              </a:r>
            </a:p>
          </p:txBody>
        </p:sp>
        <p:pic>
          <p:nvPicPr>
            <p:cNvPr id="875" name="Graphic 874">
              <a:extLst>
                <a:ext uri="{FF2B5EF4-FFF2-40B4-BE49-F238E27FC236}">
                  <a16:creationId xmlns:a16="http://schemas.microsoft.com/office/drawing/2014/main" id="{6E4189B3-AF56-4D2E-9D40-1E8778714A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36181" y="4736277"/>
              <a:ext cx="231120" cy="231119"/>
            </a:xfrm>
            <a:prstGeom prst="rect">
              <a:avLst/>
            </a:prstGeom>
          </p:spPr>
        </p:pic>
      </p:grpSp>
      <p:grpSp>
        <p:nvGrpSpPr>
          <p:cNvPr id="879" name="Group 878">
            <a:extLst>
              <a:ext uri="{FF2B5EF4-FFF2-40B4-BE49-F238E27FC236}">
                <a16:creationId xmlns:a16="http://schemas.microsoft.com/office/drawing/2014/main" id="{FE60C1F8-6704-4306-A7C3-8CB918207BDD}"/>
              </a:ext>
            </a:extLst>
          </p:cNvPr>
          <p:cNvGrpSpPr/>
          <p:nvPr/>
        </p:nvGrpSpPr>
        <p:grpSpPr>
          <a:xfrm>
            <a:off x="9385490" y="4210943"/>
            <a:ext cx="1014884" cy="245623"/>
            <a:chOff x="5606785" y="728919"/>
            <a:chExt cx="1014884" cy="245623"/>
          </a:xfrm>
        </p:grpSpPr>
        <p:grpSp>
          <p:nvGrpSpPr>
            <p:cNvPr id="880" name="Group 879">
              <a:extLst>
                <a:ext uri="{FF2B5EF4-FFF2-40B4-BE49-F238E27FC236}">
                  <a16:creationId xmlns:a16="http://schemas.microsoft.com/office/drawing/2014/main" id="{E0D8213F-50D3-4517-8838-05AB9D62867B}"/>
                </a:ext>
              </a:extLst>
            </p:cNvPr>
            <p:cNvGrpSpPr/>
            <p:nvPr/>
          </p:nvGrpSpPr>
          <p:grpSpPr>
            <a:xfrm>
              <a:off x="5606785" y="728919"/>
              <a:ext cx="954156" cy="213474"/>
              <a:chOff x="5606785" y="2324147"/>
              <a:chExt cx="954156" cy="213474"/>
            </a:xfrm>
            <a:effectLst>
              <a:outerShdw blurRad="50800" dist="12700" dir="2700000" algn="tl" rotWithShape="0">
                <a:prstClr val="black">
                  <a:alpha val="40000"/>
                </a:prstClr>
              </a:outerShdw>
            </a:effectLst>
          </p:grpSpPr>
          <p:sp>
            <p:nvSpPr>
              <p:cNvPr id="890" name="Rectangle 889">
                <a:extLst>
                  <a:ext uri="{FF2B5EF4-FFF2-40B4-BE49-F238E27FC236}">
                    <a16:creationId xmlns:a16="http://schemas.microsoft.com/office/drawing/2014/main" id="{4440B2D1-F788-480F-BD19-9B9252EBD6F0}"/>
                  </a:ext>
                </a:extLst>
              </p:cNvPr>
              <p:cNvSpPr/>
              <p:nvPr/>
            </p:nvSpPr>
            <p:spPr>
              <a:xfrm>
                <a:off x="5646136" y="2324147"/>
                <a:ext cx="91480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891" name="Rectangle 890">
                <a:extLst>
                  <a:ext uri="{FF2B5EF4-FFF2-40B4-BE49-F238E27FC236}">
                    <a16:creationId xmlns:a16="http://schemas.microsoft.com/office/drawing/2014/main" id="{15A8DC75-A571-4A60-B387-358BEF3C9C57}"/>
                  </a:ext>
                </a:extLst>
              </p:cNvPr>
              <p:cNvSpPr/>
              <p:nvPr/>
            </p:nvSpPr>
            <p:spPr>
              <a:xfrm rot="18900000">
                <a:off x="5606785"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881" name="TextBox 880">
              <a:extLst>
                <a:ext uri="{FF2B5EF4-FFF2-40B4-BE49-F238E27FC236}">
                  <a16:creationId xmlns:a16="http://schemas.microsoft.com/office/drawing/2014/main" id="{7EE8B73D-7E96-4BFD-A3AF-1DCBC8CCEBD0}"/>
                </a:ext>
              </a:extLst>
            </p:cNvPr>
            <p:cNvSpPr txBox="1"/>
            <p:nvPr/>
          </p:nvSpPr>
          <p:spPr>
            <a:xfrm>
              <a:off x="5690767" y="791294"/>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India</a:t>
              </a:r>
            </a:p>
          </p:txBody>
        </p:sp>
        <p:grpSp>
          <p:nvGrpSpPr>
            <p:cNvPr id="882" name="Group 881">
              <a:extLst>
                <a:ext uri="{FF2B5EF4-FFF2-40B4-BE49-F238E27FC236}">
                  <a16:creationId xmlns:a16="http://schemas.microsoft.com/office/drawing/2014/main" id="{3BB77058-3E79-4B91-801A-5C975838CBC6}"/>
                </a:ext>
              </a:extLst>
            </p:cNvPr>
            <p:cNvGrpSpPr/>
            <p:nvPr/>
          </p:nvGrpSpPr>
          <p:grpSpPr>
            <a:xfrm>
              <a:off x="5943940" y="743423"/>
              <a:ext cx="596034" cy="231119"/>
              <a:chOff x="6428385" y="2378493"/>
              <a:chExt cx="618958" cy="240007"/>
            </a:xfrm>
          </p:grpSpPr>
          <p:pic>
            <p:nvPicPr>
              <p:cNvPr id="886" name="Graphic 885">
                <a:extLst>
                  <a:ext uri="{FF2B5EF4-FFF2-40B4-BE49-F238E27FC236}">
                    <a16:creationId xmlns:a16="http://schemas.microsoft.com/office/drawing/2014/main" id="{26B26699-987A-4B50-BB77-AF4D8D32492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28385" y="2378493"/>
                <a:ext cx="240007" cy="240007"/>
              </a:xfrm>
              <a:prstGeom prst="rect">
                <a:avLst/>
              </a:prstGeom>
            </p:spPr>
          </p:pic>
          <p:pic>
            <p:nvPicPr>
              <p:cNvPr id="887" name="Graphic 886">
                <a:extLst>
                  <a:ext uri="{FF2B5EF4-FFF2-40B4-BE49-F238E27FC236}">
                    <a16:creationId xmlns:a16="http://schemas.microsoft.com/office/drawing/2014/main" id="{202D1F35-C535-467C-996A-83A1BB62CCF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13956" y="2378493"/>
                <a:ext cx="240007" cy="240007"/>
              </a:xfrm>
              <a:prstGeom prst="rect">
                <a:avLst/>
              </a:prstGeom>
            </p:spPr>
          </p:pic>
          <p:pic>
            <p:nvPicPr>
              <p:cNvPr id="888" name="Graphic 887">
                <a:extLst>
                  <a:ext uri="{FF2B5EF4-FFF2-40B4-BE49-F238E27FC236}">
                    <a16:creationId xmlns:a16="http://schemas.microsoft.com/office/drawing/2014/main" id="{BA6F7D2C-6C23-4AD5-BDFA-7E4841B352C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7336" y="2378493"/>
                <a:ext cx="240007" cy="240007"/>
              </a:xfrm>
              <a:prstGeom prst="rect">
                <a:avLst/>
              </a:prstGeom>
            </p:spPr>
          </p:pic>
        </p:grpSp>
      </p:grpSp>
      <p:grpSp>
        <p:nvGrpSpPr>
          <p:cNvPr id="919" name="Group 918">
            <a:extLst>
              <a:ext uri="{FF2B5EF4-FFF2-40B4-BE49-F238E27FC236}">
                <a16:creationId xmlns:a16="http://schemas.microsoft.com/office/drawing/2014/main" id="{73A69303-5613-4FD3-99D6-906A9710A10E}"/>
              </a:ext>
            </a:extLst>
          </p:cNvPr>
          <p:cNvGrpSpPr/>
          <p:nvPr/>
        </p:nvGrpSpPr>
        <p:grpSpPr>
          <a:xfrm>
            <a:off x="6943236" y="1701304"/>
            <a:ext cx="998554" cy="446019"/>
            <a:chOff x="8080368" y="661033"/>
            <a:chExt cx="998554" cy="446019"/>
          </a:xfrm>
        </p:grpSpPr>
        <p:grpSp>
          <p:nvGrpSpPr>
            <p:cNvPr id="920" name="Group 919">
              <a:extLst>
                <a:ext uri="{FF2B5EF4-FFF2-40B4-BE49-F238E27FC236}">
                  <a16:creationId xmlns:a16="http://schemas.microsoft.com/office/drawing/2014/main" id="{C21BCD48-45F2-4F98-907A-84ACDCC52C81}"/>
                </a:ext>
              </a:extLst>
            </p:cNvPr>
            <p:cNvGrpSpPr/>
            <p:nvPr/>
          </p:nvGrpSpPr>
          <p:grpSpPr>
            <a:xfrm>
              <a:off x="8080368" y="661033"/>
              <a:ext cx="837013" cy="446019"/>
              <a:chOff x="5623115" y="2324146"/>
              <a:chExt cx="837013" cy="446019"/>
            </a:xfrm>
            <a:effectLst>
              <a:outerShdw blurRad="50800" dist="12700" dir="2700000" algn="tl" rotWithShape="0">
                <a:prstClr val="black">
                  <a:alpha val="40000"/>
                </a:prstClr>
              </a:outerShdw>
            </a:effectLst>
          </p:grpSpPr>
          <p:sp>
            <p:nvSpPr>
              <p:cNvPr id="930" name="Rectangle 929">
                <a:extLst>
                  <a:ext uri="{FF2B5EF4-FFF2-40B4-BE49-F238E27FC236}">
                    <a16:creationId xmlns:a16="http://schemas.microsoft.com/office/drawing/2014/main" id="{29499E9F-ED09-48D8-A08C-1CBA773A791E}"/>
                  </a:ext>
                </a:extLst>
              </p:cNvPr>
              <p:cNvSpPr/>
              <p:nvPr/>
            </p:nvSpPr>
            <p:spPr>
              <a:xfrm>
                <a:off x="5623115" y="2324146"/>
                <a:ext cx="837013" cy="405151"/>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931" name="Rectangle 930">
                <a:extLst>
                  <a:ext uri="{FF2B5EF4-FFF2-40B4-BE49-F238E27FC236}">
                    <a16:creationId xmlns:a16="http://schemas.microsoft.com/office/drawing/2014/main" id="{644F5C59-9C2B-4381-94CB-692AA85CA2DC}"/>
                  </a:ext>
                </a:extLst>
              </p:cNvPr>
              <p:cNvSpPr/>
              <p:nvPr/>
            </p:nvSpPr>
            <p:spPr>
              <a:xfrm rot="18900000">
                <a:off x="6201336" y="2688429"/>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921" name="TextBox 920">
              <a:extLst>
                <a:ext uri="{FF2B5EF4-FFF2-40B4-BE49-F238E27FC236}">
                  <a16:creationId xmlns:a16="http://schemas.microsoft.com/office/drawing/2014/main" id="{7FE6CC48-3377-411C-93E6-B62DE7B12FE8}"/>
                </a:ext>
              </a:extLst>
            </p:cNvPr>
            <p:cNvSpPr txBox="1"/>
            <p:nvPr/>
          </p:nvSpPr>
          <p:spPr>
            <a:xfrm>
              <a:off x="8148020" y="723409"/>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NORWAY</a:t>
              </a:r>
            </a:p>
          </p:txBody>
        </p:sp>
        <p:grpSp>
          <p:nvGrpSpPr>
            <p:cNvPr id="922" name="Group 921">
              <a:extLst>
                <a:ext uri="{FF2B5EF4-FFF2-40B4-BE49-F238E27FC236}">
                  <a16:creationId xmlns:a16="http://schemas.microsoft.com/office/drawing/2014/main" id="{F62BA137-EE4A-42CB-8AF8-6F473ABDB982}"/>
                </a:ext>
              </a:extLst>
            </p:cNvPr>
            <p:cNvGrpSpPr/>
            <p:nvPr/>
          </p:nvGrpSpPr>
          <p:grpSpPr>
            <a:xfrm>
              <a:off x="8080378" y="840840"/>
              <a:ext cx="762294" cy="231120"/>
              <a:chOff x="6577066" y="2389749"/>
              <a:chExt cx="791611" cy="240008"/>
            </a:xfrm>
          </p:grpSpPr>
          <p:pic>
            <p:nvPicPr>
              <p:cNvPr id="924" name="Graphic 923">
                <a:extLst>
                  <a:ext uri="{FF2B5EF4-FFF2-40B4-BE49-F238E27FC236}">
                    <a16:creationId xmlns:a16="http://schemas.microsoft.com/office/drawing/2014/main" id="{7ED63AED-8753-44E9-BC5F-479F732A13F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938933" y="2389750"/>
                <a:ext cx="240007" cy="240007"/>
              </a:xfrm>
              <a:prstGeom prst="rect">
                <a:avLst/>
              </a:prstGeom>
            </p:spPr>
          </p:pic>
          <p:pic>
            <p:nvPicPr>
              <p:cNvPr id="926" name="Graphic 925">
                <a:extLst>
                  <a:ext uri="{FF2B5EF4-FFF2-40B4-BE49-F238E27FC236}">
                    <a16:creationId xmlns:a16="http://schemas.microsoft.com/office/drawing/2014/main" id="{8A255BE5-BB8F-470C-911D-498468D7DEB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7066" y="2389749"/>
                <a:ext cx="240006" cy="240007"/>
              </a:xfrm>
              <a:prstGeom prst="rect">
                <a:avLst/>
              </a:prstGeom>
            </p:spPr>
          </p:pic>
          <p:pic>
            <p:nvPicPr>
              <p:cNvPr id="928" name="Graphic 927">
                <a:extLst>
                  <a:ext uri="{FF2B5EF4-FFF2-40B4-BE49-F238E27FC236}">
                    <a16:creationId xmlns:a16="http://schemas.microsoft.com/office/drawing/2014/main" id="{32D03919-FCCE-4F6D-9AA9-29E4C85F74E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28669" y="2389749"/>
                <a:ext cx="240008" cy="240007"/>
              </a:xfrm>
              <a:prstGeom prst="rect">
                <a:avLst/>
              </a:prstGeom>
            </p:spPr>
          </p:pic>
          <p:pic>
            <p:nvPicPr>
              <p:cNvPr id="929" name="Graphic 928">
                <a:extLst>
                  <a:ext uri="{FF2B5EF4-FFF2-40B4-BE49-F238E27FC236}">
                    <a16:creationId xmlns:a16="http://schemas.microsoft.com/office/drawing/2014/main" id="{1054EEA0-F855-4BD7-96C0-4F9FC2C35D0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51121" y="2389749"/>
                <a:ext cx="240007" cy="240007"/>
              </a:xfrm>
              <a:prstGeom prst="rect">
                <a:avLst/>
              </a:prstGeom>
            </p:spPr>
          </p:pic>
        </p:grpSp>
      </p:grpSp>
      <p:grpSp>
        <p:nvGrpSpPr>
          <p:cNvPr id="932" name="Group 931">
            <a:extLst>
              <a:ext uri="{FF2B5EF4-FFF2-40B4-BE49-F238E27FC236}">
                <a16:creationId xmlns:a16="http://schemas.microsoft.com/office/drawing/2014/main" id="{6F493029-BFEE-44A0-A363-2FCE3F7219FC}"/>
              </a:ext>
            </a:extLst>
          </p:cNvPr>
          <p:cNvGrpSpPr/>
          <p:nvPr/>
        </p:nvGrpSpPr>
        <p:grpSpPr>
          <a:xfrm>
            <a:off x="7819649" y="1701304"/>
            <a:ext cx="998554" cy="446019"/>
            <a:chOff x="8080368" y="661033"/>
            <a:chExt cx="998554" cy="446019"/>
          </a:xfrm>
        </p:grpSpPr>
        <p:grpSp>
          <p:nvGrpSpPr>
            <p:cNvPr id="933" name="Group 932">
              <a:extLst>
                <a:ext uri="{FF2B5EF4-FFF2-40B4-BE49-F238E27FC236}">
                  <a16:creationId xmlns:a16="http://schemas.microsoft.com/office/drawing/2014/main" id="{F4089CAC-1742-4DB6-A7F6-F9BF6695BD2F}"/>
                </a:ext>
              </a:extLst>
            </p:cNvPr>
            <p:cNvGrpSpPr/>
            <p:nvPr/>
          </p:nvGrpSpPr>
          <p:grpSpPr>
            <a:xfrm>
              <a:off x="8080368" y="661033"/>
              <a:ext cx="837013" cy="446019"/>
              <a:chOff x="5623115" y="2324146"/>
              <a:chExt cx="837013" cy="446019"/>
            </a:xfrm>
            <a:effectLst>
              <a:outerShdw blurRad="50800" dist="12700" dir="2700000" algn="tl" rotWithShape="0">
                <a:prstClr val="black">
                  <a:alpha val="40000"/>
                </a:prstClr>
              </a:outerShdw>
            </a:effectLst>
          </p:grpSpPr>
          <p:sp>
            <p:nvSpPr>
              <p:cNvPr id="940" name="Rectangle 939">
                <a:extLst>
                  <a:ext uri="{FF2B5EF4-FFF2-40B4-BE49-F238E27FC236}">
                    <a16:creationId xmlns:a16="http://schemas.microsoft.com/office/drawing/2014/main" id="{5806879F-1556-44B1-B905-5945FFC20E8C}"/>
                  </a:ext>
                </a:extLst>
              </p:cNvPr>
              <p:cNvSpPr/>
              <p:nvPr/>
            </p:nvSpPr>
            <p:spPr>
              <a:xfrm>
                <a:off x="5623115" y="2324146"/>
                <a:ext cx="837013" cy="405151"/>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941" name="Rectangle 940">
                <a:extLst>
                  <a:ext uri="{FF2B5EF4-FFF2-40B4-BE49-F238E27FC236}">
                    <a16:creationId xmlns:a16="http://schemas.microsoft.com/office/drawing/2014/main" id="{62CD71BF-8821-4F5A-A5F7-EDB78F0BB8A4}"/>
                  </a:ext>
                </a:extLst>
              </p:cNvPr>
              <p:cNvSpPr/>
              <p:nvPr/>
            </p:nvSpPr>
            <p:spPr>
              <a:xfrm rot="18900000">
                <a:off x="5753848" y="2688429"/>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934" name="TextBox 933">
              <a:extLst>
                <a:ext uri="{FF2B5EF4-FFF2-40B4-BE49-F238E27FC236}">
                  <a16:creationId xmlns:a16="http://schemas.microsoft.com/office/drawing/2014/main" id="{735B438E-2642-4260-92E5-258EC2A86310}"/>
                </a:ext>
              </a:extLst>
            </p:cNvPr>
            <p:cNvSpPr txBox="1"/>
            <p:nvPr/>
          </p:nvSpPr>
          <p:spPr>
            <a:xfrm>
              <a:off x="8148020" y="723409"/>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SWEDEN</a:t>
              </a:r>
            </a:p>
          </p:txBody>
        </p:sp>
        <p:grpSp>
          <p:nvGrpSpPr>
            <p:cNvPr id="935" name="Group 934">
              <a:extLst>
                <a:ext uri="{FF2B5EF4-FFF2-40B4-BE49-F238E27FC236}">
                  <a16:creationId xmlns:a16="http://schemas.microsoft.com/office/drawing/2014/main" id="{4C68E2E8-1A0A-4B89-9BAB-C58CE2BC1048}"/>
                </a:ext>
              </a:extLst>
            </p:cNvPr>
            <p:cNvGrpSpPr/>
            <p:nvPr/>
          </p:nvGrpSpPr>
          <p:grpSpPr>
            <a:xfrm>
              <a:off x="8080377" y="840840"/>
              <a:ext cx="767673" cy="231120"/>
              <a:chOff x="6577066" y="2389749"/>
              <a:chExt cx="797197" cy="240008"/>
            </a:xfrm>
          </p:grpSpPr>
          <p:pic>
            <p:nvPicPr>
              <p:cNvPr id="936" name="Graphic 935">
                <a:extLst>
                  <a:ext uri="{FF2B5EF4-FFF2-40B4-BE49-F238E27FC236}">
                    <a16:creationId xmlns:a16="http://schemas.microsoft.com/office/drawing/2014/main" id="{F6A2C98C-2B13-4E03-AF04-582FA47402D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944517" y="2389750"/>
                <a:ext cx="240007" cy="240007"/>
              </a:xfrm>
              <a:prstGeom prst="rect">
                <a:avLst/>
              </a:prstGeom>
            </p:spPr>
          </p:pic>
          <p:pic>
            <p:nvPicPr>
              <p:cNvPr id="937" name="Graphic 936">
                <a:extLst>
                  <a:ext uri="{FF2B5EF4-FFF2-40B4-BE49-F238E27FC236}">
                    <a16:creationId xmlns:a16="http://schemas.microsoft.com/office/drawing/2014/main" id="{09078615-88C9-4DD8-8815-D876046BA28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7066" y="2389749"/>
                <a:ext cx="240006" cy="240007"/>
              </a:xfrm>
              <a:prstGeom prst="rect">
                <a:avLst/>
              </a:prstGeom>
            </p:spPr>
          </p:pic>
          <p:pic>
            <p:nvPicPr>
              <p:cNvPr id="938" name="Graphic 937">
                <a:extLst>
                  <a:ext uri="{FF2B5EF4-FFF2-40B4-BE49-F238E27FC236}">
                    <a16:creationId xmlns:a16="http://schemas.microsoft.com/office/drawing/2014/main" id="{F4CE2FC9-747B-4226-983F-55D7C134380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34255" y="2389749"/>
                <a:ext cx="240008" cy="240007"/>
              </a:xfrm>
              <a:prstGeom prst="rect">
                <a:avLst/>
              </a:prstGeom>
            </p:spPr>
          </p:pic>
          <p:pic>
            <p:nvPicPr>
              <p:cNvPr id="939" name="Graphic 938">
                <a:extLst>
                  <a:ext uri="{FF2B5EF4-FFF2-40B4-BE49-F238E27FC236}">
                    <a16:creationId xmlns:a16="http://schemas.microsoft.com/office/drawing/2014/main" id="{141BB22F-5D62-42E2-8773-1326D8F380E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51121" y="2389749"/>
                <a:ext cx="240007" cy="240007"/>
              </a:xfrm>
              <a:prstGeom prst="rect">
                <a:avLst/>
              </a:prstGeom>
            </p:spPr>
          </p:pic>
        </p:grpSp>
      </p:grpSp>
      <p:grpSp>
        <p:nvGrpSpPr>
          <p:cNvPr id="943" name="Group 942">
            <a:extLst>
              <a:ext uri="{FF2B5EF4-FFF2-40B4-BE49-F238E27FC236}">
                <a16:creationId xmlns:a16="http://schemas.microsoft.com/office/drawing/2014/main" id="{3032D491-F05E-4998-8AF5-CD06AA6065DE}"/>
              </a:ext>
            </a:extLst>
          </p:cNvPr>
          <p:cNvGrpSpPr/>
          <p:nvPr/>
        </p:nvGrpSpPr>
        <p:grpSpPr>
          <a:xfrm>
            <a:off x="7782203" y="2903938"/>
            <a:ext cx="1198677" cy="405151"/>
            <a:chOff x="5585505" y="2324146"/>
            <a:chExt cx="874623" cy="405151"/>
          </a:xfrm>
          <a:effectLst>
            <a:outerShdw blurRad="50800" dist="12700" dir="2700000" algn="tl" rotWithShape="0">
              <a:prstClr val="black">
                <a:alpha val="40000"/>
              </a:prstClr>
            </a:outerShdw>
          </a:effectLst>
        </p:grpSpPr>
        <p:sp>
          <p:nvSpPr>
            <p:cNvPr id="953" name="Rectangle 952">
              <a:extLst>
                <a:ext uri="{FF2B5EF4-FFF2-40B4-BE49-F238E27FC236}">
                  <a16:creationId xmlns:a16="http://schemas.microsoft.com/office/drawing/2014/main" id="{2030E23E-2736-4D43-980F-453E7C67B605}"/>
                </a:ext>
              </a:extLst>
            </p:cNvPr>
            <p:cNvSpPr/>
            <p:nvPr/>
          </p:nvSpPr>
          <p:spPr>
            <a:xfrm>
              <a:off x="5623115" y="2324146"/>
              <a:ext cx="837013" cy="405151"/>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954" name="Rectangle 953">
              <a:extLst>
                <a:ext uri="{FF2B5EF4-FFF2-40B4-BE49-F238E27FC236}">
                  <a16:creationId xmlns:a16="http://schemas.microsoft.com/office/drawing/2014/main" id="{8E020B69-003B-43E8-AE9F-611AD4F22ADD}"/>
                </a:ext>
              </a:extLst>
            </p:cNvPr>
            <p:cNvSpPr/>
            <p:nvPr/>
          </p:nvSpPr>
          <p:spPr>
            <a:xfrm rot="18900000">
              <a:off x="5585505" y="2550197"/>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944" name="TextBox 943">
            <a:extLst>
              <a:ext uri="{FF2B5EF4-FFF2-40B4-BE49-F238E27FC236}">
                <a16:creationId xmlns:a16="http://schemas.microsoft.com/office/drawing/2014/main" id="{A24289C8-35BC-4F3A-96E9-15AB3158BFEA}"/>
              </a:ext>
            </a:extLst>
          </p:cNvPr>
          <p:cNvSpPr txBox="1"/>
          <p:nvPr/>
        </p:nvSpPr>
        <p:spPr>
          <a:xfrm>
            <a:off x="7887465" y="2966314"/>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GERMANY</a:t>
            </a:r>
          </a:p>
        </p:txBody>
      </p:sp>
      <p:grpSp>
        <p:nvGrpSpPr>
          <p:cNvPr id="945" name="Group 944">
            <a:extLst>
              <a:ext uri="{FF2B5EF4-FFF2-40B4-BE49-F238E27FC236}">
                <a16:creationId xmlns:a16="http://schemas.microsoft.com/office/drawing/2014/main" id="{D473980A-9122-406E-A4AF-235CC441A2C9}"/>
              </a:ext>
            </a:extLst>
          </p:cNvPr>
          <p:cNvGrpSpPr/>
          <p:nvPr/>
        </p:nvGrpSpPr>
        <p:grpSpPr>
          <a:xfrm>
            <a:off x="7826875" y="3083745"/>
            <a:ext cx="731614" cy="231120"/>
            <a:chOff x="6584398" y="2389749"/>
            <a:chExt cx="759752" cy="240008"/>
          </a:xfrm>
        </p:grpSpPr>
        <p:pic>
          <p:nvPicPr>
            <p:cNvPr id="947" name="Graphic 946">
              <a:extLst>
                <a:ext uri="{FF2B5EF4-FFF2-40B4-BE49-F238E27FC236}">
                  <a16:creationId xmlns:a16="http://schemas.microsoft.com/office/drawing/2014/main" id="{4026CF84-B313-49D2-8553-D444251D1F9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911112" y="2389750"/>
              <a:ext cx="240007" cy="240007"/>
            </a:xfrm>
            <a:prstGeom prst="rect">
              <a:avLst/>
            </a:prstGeom>
          </p:spPr>
        </p:pic>
        <p:pic>
          <p:nvPicPr>
            <p:cNvPr id="948" name="Graphic 947">
              <a:extLst>
                <a:ext uri="{FF2B5EF4-FFF2-40B4-BE49-F238E27FC236}">
                  <a16:creationId xmlns:a16="http://schemas.microsoft.com/office/drawing/2014/main" id="{BBBB9383-B43C-4081-BA4E-75E2C519FCC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35802" y="2389749"/>
              <a:ext cx="240007" cy="240007"/>
            </a:xfrm>
            <a:prstGeom prst="rect">
              <a:avLst/>
            </a:prstGeom>
          </p:spPr>
        </p:pic>
        <p:pic>
          <p:nvPicPr>
            <p:cNvPr id="949" name="Graphic 948">
              <a:extLst>
                <a:ext uri="{FF2B5EF4-FFF2-40B4-BE49-F238E27FC236}">
                  <a16:creationId xmlns:a16="http://schemas.microsoft.com/office/drawing/2014/main" id="{BB215BC7-A352-45EA-A435-132904B01CF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84398" y="2389749"/>
              <a:ext cx="240006" cy="240007"/>
            </a:xfrm>
            <a:prstGeom prst="rect">
              <a:avLst/>
            </a:prstGeom>
          </p:spPr>
        </p:pic>
        <p:pic>
          <p:nvPicPr>
            <p:cNvPr id="951" name="Graphic 950">
              <a:extLst>
                <a:ext uri="{FF2B5EF4-FFF2-40B4-BE49-F238E27FC236}">
                  <a16:creationId xmlns:a16="http://schemas.microsoft.com/office/drawing/2014/main" id="{B731557A-04B1-4CEC-96F6-F82C4AC0C1F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04143" y="2389749"/>
              <a:ext cx="240007" cy="240007"/>
            </a:xfrm>
            <a:prstGeom prst="rect">
              <a:avLst/>
            </a:prstGeom>
          </p:spPr>
        </p:pic>
      </p:grpSp>
      <p:sp>
        <p:nvSpPr>
          <p:cNvPr id="955" name="Rectangle 954">
            <a:extLst>
              <a:ext uri="{FF2B5EF4-FFF2-40B4-BE49-F238E27FC236}">
                <a16:creationId xmlns:a16="http://schemas.microsoft.com/office/drawing/2014/main" id="{0E15D782-FEE5-4FEA-82D1-117259ACF52F}"/>
              </a:ext>
            </a:extLst>
          </p:cNvPr>
          <p:cNvSpPr/>
          <p:nvPr/>
        </p:nvSpPr>
        <p:spPr>
          <a:xfrm>
            <a:off x="10143222" y="6188970"/>
            <a:ext cx="1452665" cy="53969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nvGrpSpPr>
          <p:cNvPr id="956" name="Group 955">
            <a:extLst>
              <a:ext uri="{FF2B5EF4-FFF2-40B4-BE49-F238E27FC236}">
                <a16:creationId xmlns:a16="http://schemas.microsoft.com/office/drawing/2014/main" id="{03FC18CE-DD7F-4020-B413-E2D84262F4AA}"/>
              </a:ext>
            </a:extLst>
          </p:cNvPr>
          <p:cNvGrpSpPr/>
          <p:nvPr/>
        </p:nvGrpSpPr>
        <p:grpSpPr>
          <a:xfrm>
            <a:off x="10323364" y="6340537"/>
            <a:ext cx="1047345" cy="283354"/>
            <a:chOff x="1533524" y="369094"/>
            <a:chExt cx="2243139" cy="606869"/>
          </a:xfrm>
        </p:grpSpPr>
        <p:pic>
          <p:nvPicPr>
            <p:cNvPr id="957" name="Graphic 956">
              <a:extLst>
                <a:ext uri="{FF2B5EF4-FFF2-40B4-BE49-F238E27FC236}">
                  <a16:creationId xmlns:a16="http://schemas.microsoft.com/office/drawing/2014/main" id="{52FC32F6-7FA0-44D5-9906-B226B18AB82B}"/>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277949" y="521688"/>
              <a:ext cx="1498714" cy="302750"/>
            </a:xfrm>
            <a:prstGeom prst="rect">
              <a:avLst/>
            </a:prstGeom>
          </p:spPr>
        </p:pic>
        <p:pic>
          <p:nvPicPr>
            <p:cNvPr id="958" name="Picture 957">
              <a:extLst>
                <a:ext uri="{FF2B5EF4-FFF2-40B4-BE49-F238E27FC236}">
                  <a16:creationId xmlns:a16="http://schemas.microsoft.com/office/drawing/2014/main" id="{24FDDC00-95E5-4621-BDE7-4BFA47BE7C91}"/>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871" t="847" r="871" b="847"/>
            <a:stretch/>
          </p:blipFill>
          <p:spPr>
            <a:xfrm>
              <a:off x="1533524" y="369094"/>
              <a:ext cx="607220" cy="606869"/>
            </a:xfrm>
            <a:prstGeom prst="ellipse">
              <a:avLst/>
            </a:prstGeom>
            <a:ln w="63500" cap="rnd">
              <a:noFill/>
            </a:ln>
            <a:effectLst/>
          </p:spPr>
        </p:pic>
      </p:grpSp>
      <p:grpSp>
        <p:nvGrpSpPr>
          <p:cNvPr id="450" name="Gruppe 449">
            <a:extLst>
              <a:ext uri="{FF2B5EF4-FFF2-40B4-BE49-F238E27FC236}">
                <a16:creationId xmlns:a16="http://schemas.microsoft.com/office/drawing/2014/main" id="{B6F3B4D2-16A1-446A-90A4-E2CD32D27B79}"/>
              </a:ext>
            </a:extLst>
          </p:cNvPr>
          <p:cNvGrpSpPr/>
          <p:nvPr/>
        </p:nvGrpSpPr>
        <p:grpSpPr>
          <a:xfrm>
            <a:off x="6784114" y="3676609"/>
            <a:ext cx="805503" cy="281797"/>
            <a:chOff x="6784114" y="3676609"/>
            <a:chExt cx="805503" cy="281797"/>
          </a:xfrm>
        </p:grpSpPr>
        <p:sp>
          <p:nvSpPr>
            <p:cNvPr id="362" name="Rectangle 787">
              <a:extLst>
                <a:ext uri="{FF2B5EF4-FFF2-40B4-BE49-F238E27FC236}">
                  <a16:creationId xmlns:a16="http://schemas.microsoft.com/office/drawing/2014/main" id="{045ACEE3-1251-4DF8-93D2-C2070DB981CE}"/>
                </a:ext>
              </a:extLst>
            </p:cNvPr>
            <p:cNvSpPr/>
            <p:nvPr/>
          </p:nvSpPr>
          <p:spPr>
            <a:xfrm>
              <a:off x="6784114" y="3717990"/>
              <a:ext cx="805503"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ITALY</a:t>
              </a:r>
            </a:p>
          </p:txBody>
        </p:sp>
        <p:sp>
          <p:nvSpPr>
            <p:cNvPr id="363" name="Rectangle 788">
              <a:extLst>
                <a:ext uri="{FF2B5EF4-FFF2-40B4-BE49-F238E27FC236}">
                  <a16:creationId xmlns:a16="http://schemas.microsoft.com/office/drawing/2014/main" id="{DF06ED49-EC03-4CB5-9B04-B5F373D29CC3}"/>
                </a:ext>
              </a:extLst>
            </p:cNvPr>
            <p:cNvSpPr/>
            <p:nvPr/>
          </p:nvSpPr>
          <p:spPr>
            <a:xfrm rot="18900000">
              <a:off x="7435768" y="3676609"/>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pic>
          <p:nvPicPr>
            <p:cNvPr id="366" name="Graphic 748">
              <a:extLst>
                <a:ext uri="{FF2B5EF4-FFF2-40B4-BE49-F238E27FC236}">
                  <a16:creationId xmlns:a16="http://schemas.microsoft.com/office/drawing/2014/main" id="{DEB2EF5F-CA7C-441D-8977-F1A06FBA1DB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332257" y="3727287"/>
              <a:ext cx="231119" cy="231119"/>
            </a:xfrm>
            <a:prstGeom prst="rect">
              <a:avLst/>
            </a:prstGeom>
          </p:spPr>
        </p:pic>
      </p:grpSp>
      <p:pic>
        <p:nvPicPr>
          <p:cNvPr id="367" name="Graphic 928">
            <a:extLst>
              <a:ext uri="{FF2B5EF4-FFF2-40B4-BE49-F238E27FC236}">
                <a16:creationId xmlns:a16="http://schemas.microsoft.com/office/drawing/2014/main" id="{10E06FFB-61BC-48CE-B96A-3B58EB10C80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09260" y="3082028"/>
            <a:ext cx="231118" cy="231119"/>
          </a:xfrm>
          <a:prstGeom prst="rect">
            <a:avLst/>
          </a:prstGeom>
        </p:spPr>
      </p:pic>
      <p:pic>
        <p:nvPicPr>
          <p:cNvPr id="368" name="Graphic 748">
            <a:extLst>
              <a:ext uri="{FF2B5EF4-FFF2-40B4-BE49-F238E27FC236}">
                <a16:creationId xmlns:a16="http://schemas.microsoft.com/office/drawing/2014/main" id="{3479C04B-5769-4089-B30F-6154FA9B7B7A}"/>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87817" y="3093081"/>
            <a:ext cx="231119" cy="231119"/>
          </a:xfrm>
          <a:prstGeom prst="rect">
            <a:avLst/>
          </a:prstGeom>
        </p:spPr>
      </p:pic>
      <p:pic>
        <p:nvPicPr>
          <p:cNvPr id="370" name="Graphic 928">
            <a:extLst>
              <a:ext uri="{FF2B5EF4-FFF2-40B4-BE49-F238E27FC236}">
                <a16:creationId xmlns:a16="http://schemas.microsoft.com/office/drawing/2014/main" id="{2D44E3EB-FEDE-404E-B658-8995066C279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29246" y="3182772"/>
            <a:ext cx="231118" cy="231119"/>
          </a:xfrm>
          <a:prstGeom prst="rect">
            <a:avLst/>
          </a:prstGeom>
        </p:spPr>
      </p:pic>
      <p:pic>
        <p:nvPicPr>
          <p:cNvPr id="371" name="Graphic 748">
            <a:extLst>
              <a:ext uri="{FF2B5EF4-FFF2-40B4-BE49-F238E27FC236}">
                <a16:creationId xmlns:a16="http://schemas.microsoft.com/office/drawing/2014/main" id="{ABE5FCD5-B04A-40D6-8F9D-6E5B46D3C3C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07803" y="3193825"/>
            <a:ext cx="231119" cy="231119"/>
          </a:xfrm>
          <a:prstGeom prst="rect">
            <a:avLst/>
          </a:prstGeom>
        </p:spPr>
      </p:pic>
      <p:pic>
        <p:nvPicPr>
          <p:cNvPr id="372" name="Graphic 928">
            <a:extLst>
              <a:ext uri="{FF2B5EF4-FFF2-40B4-BE49-F238E27FC236}">
                <a16:creationId xmlns:a16="http://schemas.microsoft.com/office/drawing/2014/main" id="{AB026037-C057-4C14-A266-16B51EE9E48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25816" y="2935131"/>
            <a:ext cx="231118" cy="231119"/>
          </a:xfrm>
          <a:prstGeom prst="rect">
            <a:avLst/>
          </a:prstGeom>
        </p:spPr>
      </p:pic>
      <p:pic>
        <p:nvPicPr>
          <p:cNvPr id="374" name="Graphic 748">
            <a:extLst>
              <a:ext uri="{FF2B5EF4-FFF2-40B4-BE49-F238E27FC236}">
                <a16:creationId xmlns:a16="http://schemas.microsoft.com/office/drawing/2014/main" id="{B426CC1B-7FF9-48E6-B731-D548EC8FFA0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04373" y="2946184"/>
            <a:ext cx="231119" cy="231119"/>
          </a:xfrm>
          <a:prstGeom prst="rect">
            <a:avLst/>
          </a:prstGeom>
        </p:spPr>
      </p:pic>
      <p:pic>
        <p:nvPicPr>
          <p:cNvPr id="376" name="Graphic 748">
            <a:extLst>
              <a:ext uri="{FF2B5EF4-FFF2-40B4-BE49-F238E27FC236}">
                <a16:creationId xmlns:a16="http://schemas.microsoft.com/office/drawing/2014/main" id="{AAECB926-1A8A-4EE6-864C-C97590740F8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26461" y="2440670"/>
            <a:ext cx="231119" cy="231119"/>
          </a:xfrm>
          <a:prstGeom prst="rect">
            <a:avLst/>
          </a:prstGeom>
        </p:spPr>
      </p:pic>
      <p:pic>
        <p:nvPicPr>
          <p:cNvPr id="377" name="Graphic 748">
            <a:extLst>
              <a:ext uri="{FF2B5EF4-FFF2-40B4-BE49-F238E27FC236}">
                <a16:creationId xmlns:a16="http://schemas.microsoft.com/office/drawing/2014/main" id="{104612B5-4FD9-4696-8833-7F9C7A0354A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089848" y="2186466"/>
            <a:ext cx="231119" cy="231119"/>
          </a:xfrm>
          <a:prstGeom prst="rect">
            <a:avLst/>
          </a:prstGeom>
        </p:spPr>
      </p:pic>
      <p:pic>
        <p:nvPicPr>
          <p:cNvPr id="378" name="Graphic 928">
            <a:extLst>
              <a:ext uri="{FF2B5EF4-FFF2-40B4-BE49-F238E27FC236}">
                <a16:creationId xmlns:a16="http://schemas.microsoft.com/office/drawing/2014/main" id="{893883F0-2A20-429A-A3DD-66D576815B1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32169" y="2695323"/>
            <a:ext cx="231118" cy="231119"/>
          </a:xfrm>
          <a:prstGeom prst="rect">
            <a:avLst/>
          </a:prstGeom>
        </p:spPr>
      </p:pic>
      <p:pic>
        <p:nvPicPr>
          <p:cNvPr id="379" name="Graphic 928">
            <a:extLst>
              <a:ext uri="{FF2B5EF4-FFF2-40B4-BE49-F238E27FC236}">
                <a16:creationId xmlns:a16="http://schemas.microsoft.com/office/drawing/2014/main" id="{C44F84E8-F329-4824-902D-972DD05C494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65458" y="3725774"/>
            <a:ext cx="231118" cy="231119"/>
          </a:xfrm>
          <a:prstGeom prst="rect">
            <a:avLst/>
          </a:prstGeom>
        </p:spPr>
      </p:pic>
      <p:grpSp>
        <p:nvGrpSpPr>
          <p:cNvPr id="380" name="Group 878">
            <a:extLst>
              <a:ext uri="{FF2B5EF4-FFF2-40B4-BE49-F238E27FC236}">
                <a16:creationId xmlns:a16="http://schemas.microsoft.com/office/drawing/2014/main" id="{32192216-4552-4B31-919F-44F2FAE3CDAE}"/>
              </a:ext>
            </a:extLst>
          </p:cNvPr>
          <p:cNvGrpSpPr/>
          <p:nvPr/>
        </p:nvGrpSpPr>
        <p:grpSpPr>
          <a:xfrm>
            <a:off x="7801019" y="2655203"/>
            <a:ext cx="863273" cy="213474"/>
            <a:chOff x="5583829" y="728919"/>
            <a:chExt cx="1061783" cy="213474"/>
          </a:xfrm>
        </p:grpSpPr>
        <p:grpSp>
          <p:nvGrpSpPr>
            <p:cNvPr id="381" name="Group 879">
              <a:extLst>
                <a:ext uri="{FF2B5EF4-FFF2-40B4-BE49-F238E27FC236}">
                  <a16:creationId xmlns:a16="http://schemas.microsoft.com/office/drawing/2014/main" id="{980A9B4D-BC22-4CF3-BE44-119D197C322C}"/>
                </a:ext>
              </a:extLst>
            </p:cNvPr>
            <p:cNvGrpSpPr/>
            <p:nvPr/>
          </p:nvGrpSpPr>
          <p:grpSpPr>
            <a:xfrm>
              <a:off x="5583829" y="728919"/>
              <a:ext cx="1061783" cy="213474"/>
              <a:chOff x="5583829" y="2324147"/>
              <a:chExt cx="1061783" cy="213474"/>
            </a:xfrm>
            <a:effectLst>
              <a:outerShdw blurRad="50800" dist="12700" dir="2700000" algn="tl" rotWithShape="0">
                <a:prstClr val="black">
                  <a:alpha val="40000"/>
                </a:prstClr>
              </a:outerShdw>
            </a:effectLst>
          </p:grpSpPr>
          <p:sp>
            <p:nvSpPr>
              <p:cNvPr id="387" name="Rectangle 889">
                <a:extLst>
                  <a:ext uri="{FF2B5EF4-FFF2-40B4-BE49-F238E27FC236}">
                    <a16:creationId xmlns:a16="http://schemas.microsoft.com/office/drawing/2014/main" id="{FC904996-C51B-4513-994A-CD8203216759}"/>
                  </a:ext>
                </a:extLst>
              </p:cNvPr>
              <p:cNvSpPr/>
              <p:nvPr/>
            </p:nvSpPr>
            <p:spPr>
              <a:xfrm>
                <a:off x="5626011" y="2324147"/>
                <a:ext cx="1019601"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388" name="Rectangle 890">
                <a:extLst>
                  <a:ext uri="{FF2B5EF4-FFF2-40B4-BE49-F238E27FC236}">
                    <a16:creationId xmlns:a16="http://schemas.microsoft.com/office/drawing/2014/main" id="{C07B588E-E2B2-43C2-873B-D34B341167A0}"/>
                  </a:ext>
                </a:extLst>
              </p:cNvPr>
              <p:cNvSpPr/>
              <p:nvPr/>
            </p:nvSpPr>
            <p:spPr>
              <a:xfrm rot="18900000">
                <a:off x="5583829" y="2395210"/>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382" name="TextBox 880">
              <a:extLst>
                <a:ext uri="{FF2B5EF4-FFF2-40B4-BE49-F238E27FC236}">
                  <a16:creationId xmlns:a16="http://schemas.microsoft.com/office/drawing/2014/main" id="{02A91FC1-6E18-477A-B927-D1B240465825}"/>
                </a:ext>
              </a:extLst>
            </p:cNvPr>
            <p:cNvSpPr txBox="1"/>
            <p:nvPr/>
          </p:nvSpPr>
          <p:spPr>
            <a:xfrm>
              <a:off x="5690767" y="791294"/>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PolAnd</a:t>
              </a:r>
            </a:p>
          </p:txBody>
        </p:sp>
      </p:grpSp>
      <p:pic>
        <p:nvPicPr>
          <p:cNvPr id="389" name="Graphic 928">
            <a:extLst>
              <a:ext uri="{FF2B5EF4-FFF2-40B4-BE49-F238E27FC236}">
                <a16:creationId xmlns:a16="http://schemas.microsoft.com/office/drawing/2014/main" id="{CB7EA406-A5C8-415F-942D-96B4B2EF023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14743" y="2674375"/>
            <a:ext cx="231118" cy="231119"/>
          </a:xfrm>
          <a:prstGeom prst="rect">
            <a:avLst/>
          </a:prstGeom>
        </p:spPr>
      </p:pic>
      <p:pic>
        <p:nvPicPr>
          <p:cNvPr id="390" name="Graphic 748">
            <a:extLst>
              <a:ext uri="{FF2B5EF4-FFF2-40B4-BE49-F238E27FC236}">
                <a16:creationId xmlns:a16="http://schemas.microsoft.com/office/drawing/2014/main" id="{18F9C92B-58BF-48E3-BCC1-5B1066C01DF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17231" y="2668181"/>
            <a:ext cx="231119" cy="231119"/>
          </a:xfrm>
          <a:prstGeom prst="rect">
            <a:avLst/>
          </a:prstGeom>
        </p:spPr>
      </p:pic>
      <p:grpSp>
        <p:nvGrpSpPr>
          <p:cNvPr id="383" name="Group 761">
            <a:extLst>
              <a:ext uri="{FF2B5EF4-FFF2-40B4-BE49-F238E27FC236}">
                <a16:creationId xmlns:a16="http://schemas.microsoft.com/office/drawing/2014/main" id="{56602C2B-BE9F-479E-A8FF-5EB1FE3D01E0}"/>
              </a:ext>
            </a:extLst>
          </p:cNvPr>
          <p:cNvGrpSpPr/>
          <p:nvPr/>
        </p:nvGrpSpPr>
        <p:grpSpPr>
          <a:xfrm>
            <a:off x="5646135" y="3432732"/>
            <a:ext cx="1233694" cy="245623"/>
            <a:chOff x="5646135" y="2324147"/>
            <a:chExt cx="1233694" cy="245623"/>
          </a:xfrm>
        </p:grpSpPr>
        <p:grpSp>
          <p:nvGrpSpPr>
            <p:cNvPr id="384" name="Group 762">
              <a:extLst>
                <a:ext uri="{FF2B5EF4-FFF2-40B4-BE49-F238E27FC236}">
                  <a16:creationId xmlns:a16="http://schemas.microsoft.com/office/drawing/2014/main" id="{77AB3315-C6B2-4C01-8E7F-55C531957FC7}"/>
                </a:ext>
              </a:extLst>
            </p:cNvPr>
            <p:cNvGrpSpPr/>
            <p:nvPr/>
          </p:nvGrpSpPr>
          <p:grpSpPr>
            <a:xfrm>
              <a:off x="5646135" y="2324147"/>
              <a:ext cx="1233694" cy="213474"/>
              <a:chOff x="5646135" y="2324147"/>
              <a:chExt cx="1233694" cy="213474"/>
            </a:xfrm>
            <a:effectLst>
              <a:outerShdw blurRad="50800" dist="12700" dir="2700000" algn="tl" rotWithShape="0">
                <a:prstClr val="black">
                  <a:alpha val="40000"/>
                </a:prstClr>
              </a:outerShdw>
            </a:effectLst>
          </p:grpSpPr>
          <p:sp>
            <p:nvSpPr>
              <p:cNvPr id="391" name="Rectangle 765">
                <a:extLst>
                  <a:ext uri="{FF2B5EF4-FFF2-40B4-BE49-F238E27FC236}">
                    <a16:creationId xmlns:a16="http://schemas.microsoft.com/office/drawing/2014/main" id="{791D812D-AE63-4179-B72C-5952BF35204F}"/>
                  </a:ext>
                </a:extLst>
              </p:cNvPr>
              <p:cNvSpPr/>
              <p:nvPr/>
            </p:nvSpPr>
            <p:spPr>
              <a:xfrm>
                <a:off x="5646135" y="2324147"/>
                <a:ext cx="1193485" cy="213474"/>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sp>
            <p:nvSpPr>
              <p:cNvPr id="392" name="Rectangle 766">
                <a:extLst>
                  <a:ext uri="{FF2B5EF4-FFF2-40B4-BE49-F238E27FC236}">
                    <a16:creationId xmlns:a16="http://schemas.microsoft.com/office/drawing/2014/main" id="{255E3365-9004-4FDE-B94B-DDF2C8639DBB}"/>
                  </a:ext>
                </a:extLst>
              </p:cNvPr>
              <p:cNvSpPr/>
              <p:nvPr/>
            </p:nvSpPr>
            <p:spPr>
              <a:xfrm rot="18900000">
                <a:off x="6798093" y="2389611"/>
                <a:ext cx="81736" cy="81736"/>
              </a:xfrm>
              <a:prstGeom prst="rect">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548621" rtl="0" eaLnBrk="1" fontAlgn="auto" latinLnBrk="0" hangingPunct="1">
                  <a:lnSpc>
                    <a:spcPct val="100000"/>
                  </a:lnSpc>
                  <a:spcBef>
                    <a:spcPts val="600"/>
                  </a:spcBef>
                  <a:spcAft>
                    <a:spcPts val="0"/>
                  </a:spcAft>
                  <a:buClr>
                    <a:srgbClr val="00B0DC"/>
                  </a:buClr>
                  <a:buSzPct val="120000"/>
                  <a:buFontTx/>
                  <a:buNone/>
                  <a:tabLst/>
                  <a:defRPr/>
                </a:pPr>
                <a:endParaRPr kumimoji="0" lang="en-GB" sz="1600" b="0" i="0" u="none" strike="noStrike" kern="1200" cap="none" spc="0" normalizeH="0" baseline="0" noProof="0" dirty="0">
                  <a:ln>
                    <a:noFill/>
                  </a:ln>
                  <a:solidFill>
                    <a:srgbClr val="7A6F69"/>
                  </a:solidFill>
                  <a:effectLst/>
                  <a:uLnTx/>
                  <a:uFillTx/>
                  <a:latin typeface="Arial"/>
                  <a:ea typeface="+mn-ea"/>
                  <a:cs typeface="+mn-cs"/>
                </a:endParaRPr>
              </a:p>
            </p:txBody>
          </p:sp>
        </p:grpSp>
        <p:sp>
          <p:nvSpPr>
            <p:cNvPr id="385" name="TextBox 763">
              <a:extLst>
                <a:ext uri="{FF2B5EF4-FFF2-40B4-BE49-F238E27FC236}">
                  <a16:creationId xmlns:a16="http://schemas.microsoft.com/office/drawing/2014/main" id="{6C9239BA-63E1-4516-BCF8-EE3D46E30D08}"/>
                </a:ext>
              </a:extLst>
            </p:cNvPr>
            <p:cNvSpPr txBox="1"/>
            <p:nvPr/>
          </p:nvSpPr>
          <p:spPr>
            <a:xfrm>
              <a:off x="5690767" y="2386522"/>
              <a:ext cx="930902" cy="92333"/>
            </a:xfrm>
            <a:prstGeom prst="rect">
              <a:avLst/>
            </a:prstGeom>
            <a:noFill/>
          </p:spPr>
          <p:txBody>
            <a:bodyPr wrap="square" lIns="0" tIns="0" rIns="0" bIns="0" rtlCol="0" anchor="ctr" anchorCtr="0">
              <a:spAutoFit/>
            </a:bodyPr>
            <a:lstStyle/>
            <a:p>
              <a:pPr marL="0" marR="0" lvl="0" indent="0" algn="l" defTabSz="548621" rtl="0" eaLnBrk="1" fontAlgn="auto" latinLnBrk="0" hangingPunct="1">
                <a:lnSpc>
                  <a:spcPct val="100000"/>
                </a:lnSpc>
                <a:spcBef>
                  <a:spcPts val="600"/>
                </a:spcBef>
                <a:spcAft>
                  <a:spcPts val="0"/>
                </a:spcAft>
                <a:buClr>
                  <a:srgbClr val="00B0DC"/>
                </a:buClr>
                <a:buSzPct val="120000"/>
                <a:buFontTx/>
                <a:buNone/>
                <a:tabLst/>
                <a:defRPr/>
              </a:pPr>
              <a:r>
                <a:rPr kumimoji="0" lang="en-GB" sz="600" b="1" i="0" u="none" strike="noStrike" kern="1200" cap="all" spc="0" normalizeH="0" baseline="0" noProof="0" dirty="0">
                  <a:ln>
                    <a:noFill/>
                  </a:ln>
                  <a:solidFill>
                    <a:srgbClr val="000000"/>
                  </a:solidFill>
                  <a:effectLst/>
                  <a:uLnTx/>
                  <a:uFillTx/>
                  <a:latin typeface="Arial" pitchFamily="34" charset="0"/>
                  <a:ea typeface="+mn-ea"/>
                  <a:cs typeface="Arial" pitchFamily="34" charset="0"/>
                </a:rPr>
                <a:t>PORTUGAL</a:t>
              </a:r>
            </a:p>
          </p:txBody>
        </p:sp>
        <p:pic>
          <p:nvPicPr>
            <p:cNvPr id="386" name="Graphic 764">
              <a:extLst>
                <a:ext uri="{FF2B5EF4-FFF2-40B4-BE49-F238E27FC236}">
                  <a16:creationId xmlns:a16="http://schemas.microsoft.com/office/drawing/2014/main" id="{25A932AC-C35F-4E61-AA65-31A6692060B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80472" y="2338651"/>
              <a:ext cx="231119" cy="231119"/>
            </a:xfrm>
            <a:prstGeom prst="rect">
              <a:avLst/>
            </a:prstGeom>
          </p:spPr>
        </p:pic>
      </p:grpSp>
      <p:pic>
        <p:nvPicPr>
          <p:cNvPr id="393" name="Graphic 928">
            <a:extLst>
              <a:ext uri="{FF2B5EF4-FFF2-40B4-BE49-F238E27FC236}">
                <a16:creationId xmlns:a16="http://schemas.microsoft.com/office/drawing/2014/main" id="{87A8CF81-3C51-40AC-8054-9284F8E1D7A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29246" y="3437000"/>
            <a:ext cx="231118" cy="231119"/>
          </a:xfrm>
          <a:prstGeom prst="rect">
            <a:avLst/>
          </a:prstGeom>
        </p:spPr>
      </p:pic>
      <p:pic>
        <p:nvPicPr>
          <p:cNvPr id="394" name="Graphic 748">
            <a:extLst>
              <a:ext uri="{FF2B5EF4-FFF2-40B4-BE49-F238E27FC236}">
                <a16:creationId xmlns:a16="http://schemas.microsoft.com/office/drawing/2014/main" id="{3DB278CE-9316-413E-BBB3-F4668E54023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07803" y="3448053"/>
            <a:ext cx="231119" cy="231119"/>
          </a:xfrm>
          <a:prstGeom prst="rect">
            <a:avLst/>
          </a:prstGeom>
        </p:spPr>
      </p:pic>
    </p:spTree>
    <p:extLst>
      <p:ext uri="{BB962C8B-B14F-4D97-AF65-F5344CB8AC3E}">
        <p14:creationId xmlns:p14="http://schemas.microsoft.com/office/powerpoint/2010/main" val="380077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E19013-73D0-4A1A-B6B8-E55FB945D3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B0E19013-73D0-4A1A-B6B8-E55FB945D3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5348BF-5B0D-4FB5-A99C-EAB7DA2B86DA}"/>
              </a:ext>
            </a:extLst>
          </p:cNvPr>
          <p:cNvSpPr/>
          <p:nvPr>
            <p:custDataLst>
              <p:tags r:id="rId2"/>
            </p:custDataLst>
          </p:nvPr>
        </p:nvSpPr>
        <p:spPr>
          <a:xfrm>
            <a:off x="0" y="0"/>
            <a:ext cx="158750" cy="15875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en-GB" sz="3200" b="1">
              <a:solidFill>
                <a:schemeClr val="accent5"/>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BB5FB3E9-87FA-485F-BF0B-9340FE18CF25}"/>
              </a:ext>
            </a:extLst>
          </p:cNvPr>
          <p:cNvSpPr>
            <a:spLocks noGrp="1"/>
          </p:cNvSpPr>
          <p:nvPr>
            <p:ph type="title"/>
          </p:nvPr>
        </p:nvSpPr>
        <p:spPr>
          <a:xfrm>
            <a:off x="829236" y="577216"/>
            <a:ext cx="11042724" cy="907097"/>
          </a:xfrm>
        </p:spPr>
        <p:txBody>
          <a:bodyPr/>
          <a:lstStyle/>
          <a:p>
            <a:r>
              <a:rPr lang="en-GB" dirty="0"/>
              <a:t>Statkraft </a:t>
            </a:r>
            <a:r>
              <a:rPr lang="en-GB" dirty="0" err="1"/>
              <a:t>entwickelt</a:t>
            </a:r>
            <a:r>
              <a:rPr lang="en-GB" dirty="0"/>
              <a:t> </a:t>
            </a:r>
            <a:r>
              <a:rPr lang="en-GB" err="1"/>
              <a:t>seit</a:t>
            </a:r>
            <a:r>
              <a:rPr lang="en-GB"/>
              <a:t> über 20 </a:t>
            </a:r>
            <a:r>
              <a:rPr lang="en-GB" dirty="0"/>
              <a:t>Jahren </a:t>
            </a:r>
            <a:r>
              <a:rPr lang="en-GB" dirty="0" err="1"/>
              <a:t>Windparks</a:t>
            </a:r>
            <a:endParaRPr lang="en-GB" dirty="0"/>
          </a:p>
        </p:txBody>
      </p:sp>
      <p:sp>
        <p:nvSpPr>
          <p:cNvPr id="4" name="Slide Number Placeholder 3">
            <a:extLst>
              <a:ext uri="{FF2B5EF4-FFF2-40B4-BE49-F238E27FC236}">
                <a16:creationId xmlns:a16="http://schemas.microsoft.com/office/drawing/2014/main" id="{DE06E5D2-F023-4545-BE1C-CADF2FBB02CE}"/>
              </a:ext>
            </a:extLst>
          </p:cNvPr>
          <p:cNvSpPr>
            <a:spLocks noGrp="1"/>
          </p:cNvSpPr>
          <p:nvPr>
            <p:ph type="sldNum" sz="quarter" idx="15"/>
          </p:nvPr>
        </p:nvSpPr>
        <p:spPr/>
        <p:txBody>
          <a:bodyPr/>
          <a:lstStyle/>
          <a:p>
            <a:fld id="{5B2ACB19-C0E1-7345-B8BA-15A723BE30E5}" type="slidenum">
              <a:rPr lang="en-GB" smtClean="0"/>
              <a:pPr/>
              <a:t>6</a:t>
            </a:fld>
            <a:endParaRPr lang="en-GB"/>
          </a:p>
        </p:txBody>
      </p:sp>
      <p:sp>
        <p:nvSpPr>
          <p:cNvPr id="16" name="Rectangle 15">
            <a:extLst>
              <a:ext uri="{FF2B5EF4-FFF2-40B4-BE49-F238E27FC236}">
                <a16:creationId xmlns:a16="http://schemas.microsoft.com/office/drawing/2014/main" id="{BD3CA8D9-6BAC-4CA3-8560-8FE30A90F93E}"/>
              </a:ext>
            </a:extLst>
          </p:cNvPr>
          <p:cNvSpPr/>
          <p:nvPr/>
        </p:nvSpPr>
        <p:spPr>
          <a:xfrm>
            <a:off x="2438400" y="1491345"/>
            <a:ext cx="2441130" cy="209110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spcBef>
                <a:spcPts val="600"/>
              </a:spcBef>
              <a:buClr>
                <a:schemeClr val="accent1"/>
              </a:buClr>
              <a:buSzPct val="120000"/>
            </a:pPr>
            <a:r>
              <a:rPr lang="en-GB" sz="1800" dirty="0" err="1">
                <a:solidFill>
                  <a:schemeClr val="bg1"/>
                </a:solidFill>
              </a:rPr>
              <a:t>Zuverlässige</a:t>
            </a:r>
            <a:r>
              <a:rPr lang="en-GB" sz="1800" dirty="0">
                <a:solidFill>
                  <a:schemeClr val="bg1"/>
                </a:solidFill>
              </a:rPr>
              <a:t>, </a:t>
            </a:r>
            <a:r>
              <a:rPr lang="en-GB" sz="1800" dirty="0" err="1">
                <a:solidFill>
                  <a:schemeClr val="bg1"/>
                </a:solidFill>
              </a:rPr>
              <a:t>bezahlbare</a:t>
            </a:r>
            <a:r>
              <a:rPr lang="en-GB" sz="1800" dirty="0">
                <a:solidFill>
                  <a:schemeClr val="bg1"/>
                </a:solidFill>
              </a:rPr>
              <a:t> &amp; </a:t>
            </a:r>
            <a:r>
              <a:rPr lang="en-GB" sz="1800" dirty="0" err="1">
                <a:solidFill>
                  <a:schemeClr val="bg1"/>
                </a:solidFill>
              </a:rPr>
              <a:t>saubere</a:t>
            </a:r>
            <a:r>
              <a:rPr lang="en-GB" sz="1800" dirty="0">
                <a:solidFill>
                  <a:schemeClr val="bg1"/>
                </a:solidFill>
              </a:rPr>
              <a:t> Energie </a:t>
            </a:r>
          </a:p>
        </p:txBody>
      </p:sp>
      <p:sp>
        <p:nvSpPr>
          <p:cNvPr id="21" name="Rectangle 20">
            <a:extLst>
              <a:ext uri="{FF2B5EF4-FFF2-40B4-BE49-F238E27FC236}">
                <a16:creationId xmlns:a16="http://schemas.microsoft.com/office/drawing/2014/main" id="{8734E883-4138-4186-8845-ECB36B55EBCF}"/>
              </a:ext>
            </a:extLst>
          </p:cNvPr>
          <p:cNvSpPr/>
          <p:nvPr/>
        </p:nvSpPr>
        <p:spPr>
          <a:xfrm>
            <a:off x="4879530" y="1491345"/>
            <a:ext cx="4874069" cy="209110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76000" tIns="72000" rIns="576000" bIns="72000" numCol="1" spcCol="0" rtlCol="0" fromWordArt="0" anchor="ctr" anchorCtr="0" forceAA="0" compatLnSpc="1">
            <a:prstTxWarp prst="textNoShape">
              <a:avLst/>
            </a:prstTxWarp>
            <a:noAutofit/>
          </a:bodyPr>
          <a:lstStyle/>
          <a:p>
            <a:pPr algn="ctr">
              <a:spcBef>
                <a:spcPts val="600"/>
              </a:spcBef>
              <a:buClr>
                <a:schemeClr val="accent1"/>
              </a:buClr>
              <a:buSzPct val="120000"/>
            </a:pPr>
            <a:r>
              <a:rPr lang="en-GB" sz="1800">
                <a:solidFill>
                  <a:schemeClr val="bg1"/>
                </a:solidFill>
                <a:latin typeface="+mj-lt"/>
              </a:rPr>
              <a:t>Statkraft </a:t>
            </a:r>
            <a:r>
              <a:rPr lang="en-GB" sz="1800" err="1">
                <a:solidFill>
                  <a:schemeClr val="bg1"/>
                </a:solidFill>
                <a:latin typeface="+mj-lt"/>
              </a:rPr>
              <a:t>betreibt</a:t>
            </a:r>
            <a:r>
              <a:rPr lang="en-GB" sz="1800">
                <a:solidFill>
                  <a:schemeClr val="bg1"/>
                </a:solidFill>
                <a:latin typeface="+mj-lt"/>
              </a:rPr>
              <a:t> </a:t>
            </a:r>
            <a:r>
              <a:rPr lang="de-DE" sz="1800">
                <a:solidFill>
                  <a:schemeClr val="bg1"/>
                </a:solidFill>
                <a:latin typeface="+mj-lt"/>
              </a:rPr>
              <a:t>81 Windparks in Deutschland, Brasilien, Norwegen, Schweden, Frankreich, Irland und Großbritannien</a:t>
            </a:r>
            <a:r>
              <a:rPr lang="en-GB" sz="1800">
                <a:solidFill>
                  <a:schemeClr val="bg1"/>
                </a:solidFill>
                <a:latin typeface="+mj-lt"/>
              </a:rPr>
              <a:t> </a:t>
            </a:r>
          </a:p>
        </p:txBody>
      </p:sp>
      <p:sp>
        <p:nvSpPr>
          <p:cNvPr id="22" name="Rectangle 21">
            <a:extLst>
              <a:ext uri="{FF2B5EF4-FFF2-40B4-BE49-F238E27FC236}">
                <a16:creationId xmlns:a16="http://schemas.microsoft.com/office/drawing/2014/main" id="{895E8528-4B48-4692-9BC2-F5F3D12E43D5}"/>
              </a:ext>
            </a:extLst>
          </p:cNvPr>
          <p:cNvSpPr/>
          <p:nvPr/>
        </p:nvSpPr>
        <p:spPr>
          <a:xfrm>
            <a:off x="7312472" y="3582081"/>
            <a:ext cx="4879528" cy="210026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76000" tIns="180000" rIns="576000" bIns="180000" numCol="1" spcCol="0" rtlCol="0" fromWordArt="0" anchor="ctr" anchorCtr="0" forceAA="0" compatLnSpc="1">
            <a:prstTxWarp prst="textNoShape">
              <a:avLst/>
            </a:prstTxWarp>
            <a:noAutofit/>
          </a:bodyPr>
          <a:lstStyle/>
          <a:p>
            <a:pPr algn="ctr">
              <a:spcBef>
                <a:spcPts val="600"/>
              </a:spcBef>
              <a:buClr>
                <a:schemeClr val="accent1"/>
              </a:buClr>
              <a:buSzPct val="120000"/>
            </a:pPr>
            <a:r>
              <a:rPr lang="en-GB" sz="2400" b="1" dirty="0">
                <a:solidFill>
                  <a:schemeClr val="tx2"/>
                </a:solidFill>
              </a:rPr>
              <a:t>1.000 MW</a:t>
            </a:r>
          </a:p>
          <a:p>
            <a:pPr algn="ctr">
              <a:spcBef>
                <a:spcPts val="600"/>
              </a:spcBef>
              <a:buClr>
                <a:schemeClr val="accent1"/>
              </a:buClr>
              <a:buSzPct val="120000"/>
            </a:pPr>
            <a:r>
              <a:rPr lang="en-GB" sz="1800" dirty="0">
                <a:solidFill>
                  <a:schemeClr val="tx2"/>
                </a:solidFill>
              </a:rPr>
              <a:t>Europas größter Onshore-	 Windpark </a:t>
            </a:r>
            <a:r>
              <a:rPr lang="en-GB" sz="1800" dirty="0" err="1">
                <a:solidFill>
                  <a:schemeClr val="tx2"/>
                </a:solidFill>
              </a:rPr>
              <a:t>wurde</a:t>
            </a:r>
            <a:r>
              <a:rPr lang="en-GB" sz="1800" dirty="0">
                <a:solidFill>
                  <a:schemeClr val="tx2"/>
                </a:solidFill>
              </a:rPr>
              <a:t> 2021 in     </a:t>
            </a:r>
            <a:r>
              <a:rPr lang="en-GB" sz="1800" dirty="0" err="1">
                <a:solidFill>
                  <a:schemeClr val="tx2"/>
                </a:solidFill>
              </a:rPr>
              <a:t>Norwegen</a:t>
            </a:r>
            <a:r>
              <a:rPr lang="en-GB" sz="1800" dirty="0">
                <a:solidFill>
                  <a:schemeClr val="tx2"/>
                </a:solidFill>
              </a:rPr>
              <a:t> </a:t>
            </a:r>
            <a:r>
              <a:rPr lang="en-GB" sz="1800" dirty="0" err="1">
                <a:solidFill>
                  <a:schemeClr val="tx2"/>
                </a:solidFill>
              </a:rPr>
              <a:t>fertiggestellt</a:t>
            </a:r>
            <a:endParaRPr lang="en-GB" sz="1800" dirty="0">
              <a:solidFill>
                <a:schemeClr val="tx2"/>
              </a:solidFill>
            </a:endParaRPr>
          </a:p>
        </p:txBody>
      </p:sp>
      <p:sp>
        <p:nvSpPr>
          <p:cNvPr id="15" name="Rectangle 14">
            <a:extLst>
              <a:ext uri="{FF2B5EF4-FFF2-40B4-BE49-F238E27FC236}">
                <a16:creationId xmlns:a16="http://schemas.microsoft.com/office/drawing/2014/main" id="{636E8B05-1B40-4A26-82B9-4786AE33EA6E}"/>
              </a:ext>
            </a:extLst>
          </p:cNvPr>
          <p:cNvSpPr/>
          <p:nvPr/>
        </p:nvSpPr>
        <p:spPr>
          <a:xfrm>
            <a:off x="-1363" y="3582084"/>
            <a:ext cx="2447951" cy="21002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r>
              <a:rPr lang="en-GB" sz="1800" err="1"/>
              <a:t>Ziel</a:t>
            </a:r>
            <a:r>
              <a:rPr lang="en-GB" sz="1800"/>
              <a:t> ab 2025: </a:t>
            </a:r>
          </a:p>
          <a:p>
            <a:pPr algn="ctr"/>
            <a:r>
              <a:rPr lang="en-GB" sz="1800"/>
              <a:t>2,5 - 3 GW</a:t>
            </a:r>
          </a:p>
          <a:p>
            <a:pPr algn="ctr"/>
            <a:r>
              <a:rPr lang="en-GB" sz="1800"/>
              <a:t>Wind &amp; Solar </a:t>
            </a:r>
          </a:p>
          <a:p>
            <a:pPr algn="ctr"/>
            <a:r>
              <a:rPr lang="en-GB" sz="1800" err="1"/>
              <a:t>Zubau</a:t>
            </a:r>
            <a:r>
              <a:rPr lang="en-GB" sz="1800"/>
              <a:t> </a:t>
            </a:r>
            <a:r>
              <a:rPr lang="en-GB" sz="1800" err="1"/>
              <a:t>jährlich</a:t>
            </a:r>
            <a:endParaRPr lang="en-GB" sz="1800"/>
          </a:p>
        </p:txBody>
      </p:sp>
      <p:sp>
        <p:nvSpPr>
          <p:cNvPr id="12" name="Rectangle 11">
            <a:extLst>
              <a:ext uri="{FF2B5EF4-FFF2-40B4-BE49-F238E27FC236}">
                <a16:creationId xmlns:a16="http://schemas.microsoft.com/office/drawing/2014/main" id="{5ADA0AA4-BB2E-4734-ACD5-1B1E73E1B0B4}"/>
              </a:ext>
            </a:extLst>
          </p:cNvPr>
          <p:cNvSpPr/>
          <p:nvPr/>
        </p:nvSpPr>
        <p:spPr>
          <a:xfrm>
            <a:off x="4879530" y="3582082"/>
            <a:ext cx="2434305" cy="2100262"/>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spcBef>
                <a:spcPts val="600"/>
              </a:spcBef>
              <a:buClr>
                <a:schemeClr val="accent1"/>
              </a:buClr>
              <a:buSzPct val="120000"/>
            </a:pPr>
            <a:r>
              <a:rPr lang="en-GB" sz="1800"/>
              <a:t>37 </a:t>
            </a:r>
            <a:r>
              <a:rPr lang="en-GB" sz="1800" err="1"/>
              <a:t>Windparks</a:t>
            </a:r>
            <a:r>
              <a:rPr lang="en-GB" sz="1800"/>
              <a:t> </a:t>
            </a:r>
            <a:r>
              <a:rPr lang="en-GB" sz="1800" err="1"/>
              <a:t>mit</a:t>
            </a:r>
            <a:r>
              <a:rPr lang="en-GB" sz="1800"/>
              <a:t> 181 WEA (304 MW) in Deutschland</a:t>
            </a:r>
          </a:p>
        </p:txBody>
      </p:sp>
      <p:pic>
        <p:nvPicPr>
          <p:cNvPr id="13" name="Picture Placeholder 14">
            <a:extLst>
              <a:ext uri="{FF2B5EF4-FFF2-40B4-BE49-F238E27FC236}">
                <a16:creationId xmlns:a16="http://schemas.microsoft.com/office/drawing/2014/main" id="{0AE7C6CD-A65F-4F7C-B68C-F9B08BAF0FB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438398" y="3582083"/>
            <a:ext cx="2441132" cy="2100261"/>
          </a:xfrm>
          <a:prstGeom prst="rect">
            <a:avLst/>
          </a:prstGeom>
        </p:spPr>
      </p:pic>
      <p:pic>
        <p:nvPicPr>
          <p:cNvPr id="18" name="Picture Placeholder 14">
            <a:extLst>
              <a:ext uri="{FF2B5EF4-FFF2-40B4-BE49-F238E27FC236}">
                <a16:creationId xmlns:a16="http://schemas.microsoft.com/office/drawing/2014/main" id="{ECF6C5A7-3F7C-48B7-BF67-D0A351532FF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753600" y="1490981"/>
            <a:ext cx="2438398" cy="2091103"/>
          </a:xfrm>
          <a:prstGeom prst="rect">
            <a:avLst/>
          </a:prstGeom>
        </p:spPr>
      </p:pic>
      <p:pic>
        <p:nvPicPr>
          <p:cNvPr id="20" name="Picture Placeholder 14">
            <a:extLst>
              <a:ext uri="{FF2B5EF4-FFF2-40B4-BE49-F238E27FC236}">
                <a16:creationId xmlns:a16="http://schemas.microsoft.com/office/drawing/2014/main" id="{1D8DCAFC-8D76-43BE-94B3-48A07F6E1F3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 y="1491345"/>
            <a:ext cx="2438398" cy="2091106"/>
          </a:xfrm>
          <a:prstGeom prst="rect">
            <a:avLst/>
          </a:prstGeom>
        </p:spPr>
      </p:pic>
    </p:spTree>
    <p:extLst>
      <p:ext uri="{BB962C8B-B14F-4D97-AF65-F5344CB8AC3E}">
        <p14:creationId xmlns:p14="http://schemas.microsoft.com/office/powerpoint/2010/main" val="2240459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descr="Ein Bild, das Karte enthält.&#10;&#10;Automatisch generierte Beschreibung">
            <a:extLst>
              <a:ext uri="{FF2B5EF4-FFF2-40B4-BE49-F238E27FC236}">
                <a16:creationId xmlns:a16="http://schemas.microsoft.com/office/drawing/2014/main" id="{CCA3B8EB-F1BD-4A43-83C5-08A6B91220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2311" y="0"/>
            <a:ext cx="9700752" cy="6858000"/>
          </a:xfrm>
          <a:prstGeom prst="rect">
            <a:avLst/>
          </a:prstGeom>
        </p:spPr>
      </p:pic>
      <p:sp>
        <p:nvSpPr>
          <p:cNvPr id="2" name="Tittel 1">
            <a:extLst>
              <a:ext uri="{FF2B5EF4-FFF2-40B4-BE49-F238E27FC236}">
                <a16:creationId xmlns:a16="http://schemas.microsoft.com/office/drawing/2014/main" id="{132AF643-268B-46FD-BED4-D4B32AEAE954}"/>
              </a:ext>
            </a:extLst>
          </p:cNvPr>
          <p:cNvSpPr>
            <a:spLocks noGrp="1"/>
          </p:cNvSpPr>
          <p:nvPr>
            <p:ph type="title"/>
          </p:nvPr>
        </p:nvSpPr>
        <p:spPr>
          <a:xfrm>
            <a:off x="810681" y="511206"/>
            <a:ext cx="10535861" cy="907097"/>
          </a:xfrm>
        </p:spPr>
        <p:txBody>
          <a:bodyPr/>
          <a:lstStyle/>
          <a:p>
            <a:r>
              <a:rPr lang="de-DE"/>
              <a:t>Statkraft in Deutschland </a:t>
            </a:r>
            <a:r>
              <a:rPr lang="en-GB"/>
              <a:t>  </a:t>
            </a:r>
            <a:endParaRPr lang="nb-NO" dirty="0"/>
          </a:p>
        </p:txBody>
      </p:sp>
      <p:sp>
        <p:nvSpPr>
          <p:cNvPr id="9" name="Inhaltsplatzhalter 3">
            <a:extLst>
              <a:ext uri="{FF2B5EF4-FFF2-40B4-BE49-F238E27FC236}">
                <a16:creationId xmlns:a16="http://schemas.microsoft.com/office/drawing/2014/main" id="{8592B3EE-E5A5-4AFA-978F-2F3E2A623E21}"/>
              </a:ext>
            </a:extLst>
          </p:cNvPr>
          <p:cNvSpPr>
            <a:spLocks noGrp="1"/>
          </p:cNvSpPr>
          <p:nvPr>
            <p:ph sz="quarter" idx="13"/>
          </p:nvPr>
        </p:nvSpPr>
        <p:spPr>
          <a:xfrm>
            <a:off x="824867" y="1830389"/>
            <a:ext cx="5160297" cy="4195442"/>
          </a:xfrm>
        </p:spPr>
        <p:txBody>
          <a:bodyPr vert="horz" lIns="0" tIns="0" rIns="0" bIns="0" rtlCol="0" anchor="t">
            <a:noAutofit/>
          </a:bodyPr>
          <a:lstStyle/>
          <a:p>
            <a:pPr marL="215900" indent="-215900" fontAlgn="base"/>
            <a:r>
              <a:rPr lang="de-DE" b="1" dirty="0"/>
              <a:t>Stromproduktion</a:t>
            </a:r>
            <a:r>
              <a:rPr lang="de-DE" dirty="0"/>
              <a:t>, u. a. aus 37 Windparks und 10 Wasserkraftwerken</a:t>
            </a:r>
            <a:endParaRPr lang="en-US"/>
          </a:p>
          <a:p>
            <a:pPr marL="0" indent="0" fontAlgn="base">
              <a:buNone/>
            </a:pPr>
            <a:r>
              <a:rPr lang="de-DE" dirty="0"/>
              <a:t> </a:t>
            </a:r>
          </a:p>
          <a:p>
            <a:pPr marL="215900" indent="-215900" fontAlgn="base"/>
            <a:r>
              <a:rPr lang="de-DE" b="1" dirty="0"/>
              <a:t>Stromhandel </a:t>
            </a:r>
            <a:r>
              <a:rPr lang="en-US" dirty="0"/>
              <a:t>​- </a:t>
            </a:r>
            <a:r>
              <a:rPr lang="en-US" dirty="0" err="1"/>
              <a:t>einer</a:t>
            </a:r>
            <a:r>
              <a:rPr lang="en-US" dirty="0"/>
              <a:t> der g</a:t>
            </a:r>
            <a:r>
              <a:rPr lang="de-DE" dirty="0" err="1"/>
              <a:t>rößten</a:t>
            </a:r>
            <a:r>
              <a:rPr lang="de-DE" dirty="0"/>
              <a:t> Direktvermarkter von Erneuerbaren</a:t>
            </a:r>
            <a:r>
              <a:rPr lang="en-US" dirty="0"/>
              <a:t>​</a:t>
            </a:r>
          </a:p>
          <a:p>
            <a:pPr marL="215900" indent="-215900" fontAlgn="base"/>
            <a:endParaRPr lang="en-US" dirty="0"/>
          </a:p>
          <a:p>
            <a:pPr marL="215900" indent="-215900" fontAlgn="base"/>
            <a:r>
              <a:rPr lang="de-DE" dirty="0"/>
              <a:t>Größter Anbieter von </a:t>
            </a:r>
            <a:r>
              <a:rPr lang="de-DE" b="1" dirty="0"/>
              <a:t>Grünstromliefer-verträgen</a:t>
            </a:r>
            <a:r>
              <a:rPr lang="de-DE" dirty="0"/>
              <a:t> für Industrie und Gewerbe</a:t>
            </a:r>
            <a:r>
              <a:rPr lang="en-US" dirty="0"/>
              <a:t>​</a:t>
            </a:r>
          </a:p>
          <a:p>
            <a:pPr marL="215900" indent="-215900" fontAlgn="base"/>
            <a:endParaRPr lang="en-US" dirty="0"/>
          </a:p>
          <a:p>
            <a:pPr marL="215900" indent="-215900" fontAlgn="base"/>
            <a:r>
              <a:rPr lang="de-DE" altLang="de-DE" noProof="1"/>
              <a:t>Energielösungen im Bereich </a:t>
            </a:r>
            <a:r>
              <a:rPr lang="de-DE" altLang="de-DE" b="1" noProof="1"/>
              <a:t>E-Mobilität und Wasserstoff</a:t>
            </a:r>
          </a:p>
          <a:p>
            <a:pPr marL="215900" indent="-215900" fontAlgn="base"/>
            <a:endParaRPr lang="en-US" dirty="0"/>
          </a:p>
          <a:p>
            <a:pPr marL="0" indent="0">
              <a:buNone/>
            </a:pPr>
            <a:endParaRPr lang="de-DE" sz="1400" dirty="0"/>
          </a:p>
        </p:txBody>
      </p:sp>
      <p:sp>
        <p:nvSpPr>
          <p:cNvPr id="3" name="Plassholder for lysbildenummer 2">
            <a:extLst>
              <a:ext uri="{FF2B5EF4-FFF2-40B4-BE49-F238E27FC236}">
                <a16:creationId xmlns:a16="http://schemas.microsoft.com/office/drawing/2014/main" id="{0643446A-BDCF-4598-B581-C06A2073FD49}"/>
              </a:ext>
            </a:extLst>
          </p:cNvPr>
          <p:cNvSpPr>
            <a:spLocks noGrp="1"/>
          </p:cNvSpPr>
          <p:nvPr>
            <p:ph type="sldNum" sz="quarter" idx="16"/>
          </p:nvPr>
        </p:nvSpPr>
        <p:spPr/>
        <p:txBody>
          <a:bodyPr/>
          <a:lstStyle/>
          <a:p>
            <a:fld id="{5B2ACB19-C0E1-7345-B8BA-15A723BE30E5}" type="slidenum">
              <a:rPr lang="nb-NO" smtClean="0"/>
              <a:pPr/>
              <a:t>7</a:t>
            </a:fld>
            <a:endParaRPr lang="nb-NO"/>
          </a:p>
        </p:txBody>
      </p:sp>
    </p:spTree>
    <p:extLst>
      <p:ext uri="{BB962C8B-B14F-4D97-AF65-F5344CB8AC3E}">
        <p14:creationId xmlns:p14="http://schemas.microsoft.com/office/powerpoint/2010/main" val="1995057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2699E-647A-4DA1-9085-134F0AD9A2AB}"/>
              </a:ext>
            </a:extLst>
          </p:cNvPr>
          <p:cNvSpPr>
            <a:spLocks noGrp="1"/>
          </p:cNvSpPr>
          <p:nvPr>
            <p:ph type="title"/>
          </p:nvPr>
        </p:nvSpPr>
        <p:spPr>
          <a:xfrm>
            <a:off x="816879" y="503074"/>
            <a:ext cx="10535861" cy="907097"/>
          </a:xfrm>
        </p:spPr>
        <p:txBody>
          <a:bodyPr/>
          <a:lstStyle/>
          <a:p>
            <a:r>
              <a:rPr lang="en-GB" dirty="0"/>
              <a:t>Statkraft in der Region</a:t>
            </a:r>
            <a:endParaRPr lang="en-GB" dirty="0">
              <a:solidFill>
                <a:srgbClr val="FF0000"/>
              </a:solidFill>
            </a:endParaRPr>
          </a:p>
        </p:txBody>
      </p:sp>
      <p:sp>
        <p:nvSpPr>
          <p:cNvPr id="6" name="Slide Number Placeholder 5">
            <a:extLst>
              <a:ext uri="{FF2B5EF4-FFF2-40B4-BE49-F238E27FC236}">
                <a16:creationId xmlns:a16="http://schemas.microsoft.com/office/drawing/2014/main" id="{05A8D301-9AD7-41FB-8B41-091DFC3D54F8}"/>
              </a:ext>
            </a:extLst>
          </p:cNvPr>
          <p:cNvSpPr>
            <a:spLocks noGrp="1"/>
          </p:cNvSpPr>
          <p:nvPr>
            <p:ph type="sldNum" sz="quarter" idx="16"/>
          </p:nvPr>
        </p:nvSpPr>
        <p:spPr/>
        <p:txBody>
          <a:bodyPr/>
          <a:lstStyle/>
          <a:p>
            <a:fld id="{5B2ACB19-C0E1-7345-B8BA-15A723BE30E5}" type="slidenum">
              <a:rPr lang="en-GB" smtClean="0"/>
              <a:pPr/>
              <a:t>8</a:t>
            </a:fld>
            <a:endParaRPr lang="en-GB" dirty="0"/>
          </a:p>
        </p:txBody>
      </p:sp>
      <p:graphicFrame>
        <p:nvGraphicFramePr>
          <p:cNvPr id="10" name="Tabelle 9">
            <a:extLst>
              <a:ext uri="{FF2B5EF4-FFF2-40B4-BE49-F238E27FC236}">
                <a16:creationId xmlns:a16="http://schemas.microsoft.com/office/drawing/2014/main" id="{D067FE2B-C7A9-4E33-80AD-8322C54C91CA}"/>
              </a:ext>
            </a:extLst>
          </p:cNvPr>
          <p:cNvGraphicFramePr>
            <a:graphicFrameLocks noGrp="1"/>
          </p:cNvGraphicFramePr>
          <p:nvPr>
            <p:extLst>
              <p:ext uri="{D42A27DB-BD31-4B8C-83A1-F6EECF244321}">
                <p14:modId xmlns:p14="http://schemas.microsoft.com/office/powerpoint/2010/main" val="2913560429"/>
              </p:ext>
            </p:extLst>
          </p:nvPr>
        </p:nvGraphicFramePr>
        <p:xfrm>
          <a:off x="522291" y="2136046"/>
          <a:ext cx="5270816" cy="3780157"/>
        </p:xfrm>
        <a:graphic>
          <a:graphicData uri="http://schemas.openxmlformats.org/drawingml/2006/table">
            <a:tbl>
              <a:tblPr firstRow="1" firstCol="1" bandRow="1">
                <a:tableStyleId>{5C22544A-7EE6-4342-B048-85BDC9FD1C3A}</a:tableStyleId>
              </a:tblPr>
              <a:tblGrid>
                <a:gridCol w="1495000">
                  <a:extLst>
                    <a:ext uri="{9D8B030D-6E8A-4147-A177-3AD203B41FA5}">
                      <a16:colId xmlns:a16="http://schemas.microsoft.com/office/drawing/2014/main" val="1423202587"/>
                    </a:ext>
                  </a:extLst>
                </a:gridCol>
                <a:gridCol w="1752600">
                  <a:extLst>
                    <a:ext uri="{9D8B030D-6E8A-4147-A177-3AD203B41FA5}">
                      <a16:colId xmlns:a16="http://schemas.microsoft.com/office/drawing/2014/main" val="2043759017"/>
                    </a:ext>
                  </a:extLst>
                </a:gridCol>
                <a:gridCol w="2023216">
                  <a:extLst>
                    <a:ext uri="{9D8B030D-6E8A-4147-A177-3AD203B41FA5}">
                      <a16:colId xmlns:a16="http://schemas.microsoft.com/office/drawing/2014/main" val="1174757007"/>
                    </a:ext>
                  </a:extLst>
                </a:gridCol>
              </a:tblGrid>
              <a:tr h="1272741">
                <a:tc>
                  <a:txBody>
                    <a:bodyPr/>
                    <a:lstStyle/>
                    <a:p>
                      <a:pPr>
                        <a:lnSpc>
                          <a:spcPts val="1400"/>
                        </a:lnSpc>
                        <a:spcBef>
                          <a:spcPts val="600"/>
                        </a:spcBef>
                      </a:pPr>
                      <a:r>
                        <a:rPr lang="en-GB" sz="1400">
                          <a:solidFill>
                            <a:schemeClr val="bg1"/>
                          </a:solidFill>
                          <a:effectLst/>
                          <a:latin typeface="Arial" panose="020B0604020202020204" pitchFamily="34" charset="0"/>
                          <a:ea typeface="Arial" panose="020B0604020202020204" pitchFamily="34" charset="0"/>
                          <a:cs typeface="Mangal" panose="02040503050203030202" pitchFamily="18" charset="0"/>
                        </a:rPr>
                        <a:t>Statkrafts Standorte innerhalb von 50 km Radius</a:t>
                      </a:r>
                      <a:endParaRPr lang="de-DE" sz="1400" dirty="0">
                        <a:solidFill>
                          <a:schemeClr val="bg1"/>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en-GB" sz="1400">
                          <a:solidFill>
                            <a:schemeClr val="bg1"/>
                          </a:solidFill>
                          <a:effectLst/>
                          <a:latin typeface="Arial" panose="020B0604020202020204" pitchFamily="34" charset="0"/>
                          <a:ea typeface="Arial" panose="020B0604020202020204" pitchFamily="34" charset="0"/>
                          <a:cs typeface="Mangal" panose="02040503050203030202" pitchFamily="18" charset="0"/>
                        </a:rPr>
                        <a:t>T</a:t>
                      </a:r>
                      <a:r>
                        <a:rPr lang="de-DE" sz="1400">
                          <a:solidFill>
                            <a:schemeClr val="bg1"/>
                          </a:solidFill>
                          <a:effectLst/>
                          <a:latin typeface="Arial" panose="020B0604020202020204" pitchFamily="34" charset="0"/>
                          <a:ea typeface="Arial" panose="020B0604020202020204" pitchFamily="34" charset="0"/>
                          <a:cs typeface="Mangal" panose="02040503050203030202" pitchFamily="18" charset="0"/>
                        </a:rPr>
                        <a:t>echnologie</a:t>
                      </a:r>
                      <a:endParaRPr lang="de-DE" sz="1400" dirty="0">
                        <a:solidFill>
                          <a:schemeClr val="bg1"/>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r>
                        <a:rPr lang="en-GB" sz="1400">
                          <a:effectLst/>
                        </a:rPr>
                        <a:t>Entfernung </a:t>
                      </a:r>
                      <a:endParaRPr lang="de-DE" sz="1400"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0" marT="72000" marB="72000" anchor="ctr"/>
                </a:tc>
                <a:extLst>
                  <a:ext uri="{0D108BD9-81ED-4DB2-BD59-A6C34878D82A}">
                    <a16:rowId xmlns:a16="http://schemas.microsoft.com/office/drawing/2014/main" val="1071790485"/>
                  </a:ext>
                </a:extLst>
              </a:tr>
              <a:tr h="626854">
                <a:tc>
                  <a:txBody>
                    <a:bodyPr/>
                    <a:lstStyle/>
                    <a:p>
                      <a:pPr>
                        <a:lnSpc>
                          <a:spcPts val="1400"/>
                        </a:lnSpc>
                        <a:spcBef>
                          <a:spcPts val="600"/>
                        </a:spcBef>
                      </a:pPr>
                      <a:r>
                        <a:rPr lang="de-DE" sz="1400" b="1" kern="1200" dirty="0">
                          <a:effectLst/>
                        </a:rPr>
                        <a:t>Drakenburg</a:t>
                      </a:r>
                      <a:endParaRPr lang="de-DE" sz="1400" b="1"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endPar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endParaRPr>
                    </a:p>
                  </a:txBody>
                  <a:tcPr marL="72000" marR="72000" marT="72000" marB="72000" anchor="ctr"/>
                </a:tc>
                <a:tc>
                  <a:txBody>
                    <a:bodyPr/>
                    <a:lstStyle/>
                    <a:p>
                      <a:pPr algn="ctr">
                        <a:lnSpc>
                          <a:spcPts val="1400"/>
                        </a:lnSpc>
                        <a:spcBef>
                          <a:spcPts val="600"/>
                        </a:spcBef>
                      </a:pPr>
                      <a:r>
                        <a:rPr lang="de-DE" sz="1400" b="0" dirty="0">
                          <a:solidFill>
                            <a:schemeClr val="tx1"/>
                          </a:solidFill>
                          <a:effectLst/>
                        </a:rPr>
                        <a:t>18 km westlich</a:t>
                      </a:r>
                      <a:endPar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endParaRPr>
                    </a:p>
                  </a:txBody>
                  <a:tcPr marL="72000" marR="72000" marT="72000" marB="72000" anchor="ctr"/>
                </a:tc>
                <a:extLst>
                  <a:ext uri="{0D108BD9-81ED-4DB2-BD59-A6C34878D82A}">
                    <a16:rowId xmlns:a16="http://schemas.microsoft.com/office/drawing/2014/main" val="4270066647"/>
                  </a:ext>
                </a:extLst>
              </a:tr>
              <a:tr h="626854">
                <a:tc>
                  <a:txBody>
                    <a:bodyPr/>
                    <a:lstStyle/>
                    <a:p>
                      <a:pPr>
                        <a:lnSpc>
                          <a:spcPts val="1400"/>
                        </a:lnSpc>
                        <a:spcBef>
                          <a:spcPts val="600"/>
                        </a:spcBef>
                      </a:pPr>
                      <a:r>
                        <a:rPr lang="de-DE" sz="1400" b="1" kern="1200" dirty="0">
                          <a:effectLst/>
                        </a:rPr>
                        <a:t>Dörverden</a:t>
                      </a:r>
                      <a:endParaRPr lang="de-DE" sz="1400" b="0" dirty="0">
                        <a:solidFill>
                          <a:srgbClr val="636462"/>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endParaRPr lang="de-DE" sz="1400" b="0" dirty="0">
                        <a:solidFill>
                          <a:schemeClr val="tx1"/>
                        </a:solidFill>
                        <a:effectLst/>
                      </a:endParaRPr>
                    </a:p>
                  </a:txBody>
                  <a:tcPr marL="72000" marR="72000" marT="72000" marB="72000" anchor="ctr"/>
                </a:tc>
                <a:tc>
                  <a:txBody>
                    <a:bodyPr/>
                    <a:lstStyle/>
                    <a:p>
                      <a:pPr algn="ctr">
                        <a:lnSpc>
                          <a:spcPts val="1400"/>
                        </a:lnSpc>
                        <a:spcBef>
                          <a:spcPts val="600"/>
                        </a:spcBef>
                      </a:pPr>
                      <a:r>
                        <a:rPr lang="de-DE" sz="1400" b="0" dirty="0">
                          <a:solidFill>
                            <a:schemeClr val="tx1"/>
                          </a:solidFill>
                          <a:effectLst/>
                        </a:rPr>
                        <a:t>20 km nordwestlich</a:t>
                      </a:r>
                    </a:p>
                  </a:txBody>
                  <a:tcPr marL="72000" marR="72000" marT="72000" marB="72000" anchor="ctr"/>
                </a:tc>
                <a:extLst>
                  <a:ext uri="{0D108BD9-81ED-4DB2-BD59-A6C34878D82A}">
                    <a16:rowId xmlns:a16="http://schemas.microsoft.com/office/drawing/2014/main" val="2030168044"/>
                  </a:ext>
                </a:extLst>
              </a:tr>
              <a:tr h="626854">
                <a:tc>
                  <a:txBody>
                    <a:bodyPr/>
                    <a:lstStyle/>
                    <a:p>
                      <a:pPr>
                        <a:lnSpc>
                          <a:spcPts val="1400"/>
                        </a:lnSpc>
                        <a:spcBef>
                          <a:spcPts val="600"/>
                        </a:spcBef>
                      </a:pPr>
                      <a:r>
                        <a:rPr lang="de-DE" sz="1400" b="1" dirty="0">
                          <a:solidFill>
                            <a:schemeClr val="bg1"/>
                          </a:solidFill>
                          <a:effectLst/>
                          <a:latin typeface="Arial" panose="020B0604020202020204" pitchFamily="34" charset="0"/>
                          <a:ea typeface="Arial" panose="020B0604020202020204" pitchFamily="34" charset="0"/>
                          <a:cs typeface="Mangal" panose="02040503050203030202" pitchFamily="18" charset="0"/>
                        </a:rPr>
                        <a:t>Landesbergen</a:t>
                      </a:r>
                    </a:p>
                  </a:txBody>
                  <a:tcPr marL="72000" marR="42545" marT="72000" marB="72000" anchor="ctr"/>
                </a:tc>
                <a:tc>
                  <a:txBody>
                    <a:bodyPr/>
                    <a:lstStyle/>
                    <a:p>
                      <a:pPr marL="0" algn="ctr" defTabSz="548610" rtl="0" eaLnBrk="1" fontAlgn="b" latinLnBrk="0" hangingPunct="1">
                        <a:lnSpc>
                          <a:spcPts val="1400"/>
                        </a:lnSpc>
                        <a:spcBef>
                          <a:spcPts val="600"/>
                        </a:spcBef>
                      </a:pPr>
                      <a:endParaRPr lang="de-DE" sz="1400" b="0" kern="1200" dirty="0">
                        <a:solidFill>
                          <a:schemeClr val="tx1"/>
                        </a:solidFill>
                        <a:effectLst/>
                        <a:latin typeface="+mn-lt"/>
                        <a:ea typeface="+mn-ea"/>
                        <a:cs typeface="+mn-cs"/>
                      </a:endParaRPr>
                    </a:p>
                  </a:txBody>
                  <a:tcPr marL="72000" marR="72000" marT="72000" marB="72000" anchor="b"/>
                </a:tc>
                <a:tc>
                  <a:txBody>
                    <a:bodyPr/>
                    <a:lstStyle/>
                    <a:p>
                      <a:pPr marL="0" algn="ctr" defTabSz="548610" rtl="0" eaLnBrk="1" fontAlgn="b" latinLnBrk="0" hangingPunct="1">
                        <a:lnSpc>
                          <a:spcPts val="1400"/>
                        </a:lnSpc>
                        <a:spcBef>
                          <a:spcPts val="600"/>
                        </a:spcBef>
                      </a:pPr>
                      <a:r>
                        <a:rPr lang="de-DE" sz="1400" b="0" kern="1200" dirty="0">
                          <a:solidFill>
                            <a:schemeClr val="tx1"/>
                          </a:solidFill>
                          <a:effectLst/>
                          <a:latin typeface="+mn-lt"/>
                          <a:ea typeface="+mn-ea"/>
                          <a:cs typeface="+mn-cs"/>
                        </a:rPr>
                        <a:t>29 km südwestlich</a:t>
                      </a:r>
                    </a:p>
                  </a:txBody>
                  <a:tcPr marL="72000" marR="72000" marT="72000" marB="72000" anchor="ctr"/>
                </a:tc>
                <a:extLst>
                  <a:ext uri="{0D108BD9-81ED-4DB2-BD59-A6C34878D82A}">
                    <a16:rowId xmlns:a16="http://schemas.microsoft.com/office/drawing/2014/main" val="1564851263"/>
                  </a:ext>
                </a:extLst>
              </a:tr>
              <a:tr h="626854">
                <a:tc>
                  <a:txBody>
                    <a:bodyPr/>
                    <a:lstStyle/>
                    <a:p>
                      <a:pPr>
                        <a:lnSpc>
                          <a:spcPts val="1400"/>
                        </a:lnSpc>
                        <a:spcBef>
                          <a:spcPts val="600"/>
                        </a:spcBef>
                      </a:pPr>
                      <a:r>
                        <a:rPr lang="en-GB" sz="1400" b="1">
                          <a:solidFill>
                            <a:schemeClr val="bg1"/>
                          </a:solidFill>
                          <a:effectLst/>
                          <a:latin typeface="Arial" panose="020B0604020202020204" pitchFamily="34" charset="0"/>
                          <a:ea typeface="Arial" panose="020B0604020202020204" pitchFamily="34" charset="0"/>
                          <a:cs typeface="Mangal" panose="02040503050203030202" pitchFamily="18" charset="0"/>
                        </a:rPr>
                        <a:t>Thedinghausen</a:t>
                      </a:r>
                      <a:endParaRPr lang="de-DE" sz="1400" b="1" dirty="0">
                        <a:solidFill>
                          <a:schemeClr val="bg1"/>
                        </a:solidFill>
                        <a:effectLst/>
                        <a:latin typeface="Arial" panose="020B0604020202020204" pitchFamily="34" charset="0"/>
                        <a:ea typeface="Arial" panose="020B0604020202020204" pitchFamily="34" charset="0"/>
                        <a:cs typeface="Mangal" panose="02040503050203030202" pitchFamily="18" charset="0"/>
                      </a:endParaRPr>
                    </a:p>
                  </a:txBody>
                  <a:tcPr marL="72000" marR="42545" marT="72000" marB="72000" anchor="ctr"/>
                </a:tc>
                <a:tc>
                  <a:txBody>
                    <a:bodyPr/>
                    <a:lstStyle/>
                    <a:p>
                      <a:pPr algn="ctr">
                        <a:lnSpc>
                          <a:spcPts val="1400"/>
                        </a:lnSpc>
                        <a:spcBef>
                          <a:spcPts val="600"/>
                        </a:spcBef>
                      </a:pPr>
                      <a:endPar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endParaRPr>
                    </a:p>
                  </a:txBody>
                  <a:tcPr marL="72000" marR="72000" marT="72000" marB="72000" anchor="ctr"/>
                </a:tc>
                <a:tc>
                  <a:txBody>
                    <a:bodyPr/>
                    <a:lstStyle/>
                    <a:p>
                      <a:pPr algn="ctr">
                        <a:lnSpc>
                          <a:spcPts val="1400"/>
                        </a:lnSpc>
                        <a:spcBef>
                          <a:spcPts val="600"/>
                        </a:spcBef>
                      </a:pPr>
                      <a:r>
                        <a:rPr lang="en-GB" sz="1400" b="0">
                          <a:solidFill>
                            <a:schemeClr val="tx1"/>
                          </a:solidFill>
                          <a:effectLst/>
                          <a:latin typeface="Arial" panose="020B0604020202020204" pitchFamily="34" charset="0"/>
                          <a:ea typeface="Arial" panose="020B0604020202020204" pitchFamily="34" charset="0"/>
                          <a:cs typeface="Mangal" panose="02040503050203030202" pitchFamily="18" charset="0"/>
                        </a:rPr>
                        <a:t>36 km nordwestlich</a:t>
                      </a:r>
                      <a:endParaRPr lang="de-DE" sz="1400" b="0" dirty="0">
                        <a:solidFill>
                          <a:schemeClr val="tx1"/>
                        </a:solidFill>
                        <a:effectLst/>
                        <a:latin typeface="Arial" panose="020B0604020202020204" pitchFamily="34" charset="0"/>
                        <a:ea typeface="Arial" panose="020B0604020202020204" pitchFamily="34" charset="0"/>
                        <a:cs typeface="Mangal" panose="02040503050203030202" pitchFamily="18" charset="0"/>
                      </a:endParaRPr>
                    </a:p>
                  </a:txBody>
                  <a:tcPr marL="72000" marR="72000" marT="72000" marB="72000" anchor="ctr"/>
                </a:tc>
                <a:extLst>
                  <a:ext uri="{0D108BD9-81ED-4DB2-BD59-A6C34878D82A}">
                    <a16:rowId xmlns:a16="http://schemas.microsoft.com/office/drawing/2014/main" val="3941206438"/>
                  </a:ext>
                </a:extLst>
              </a:tr>
            </a:tbl>
          </a:graphicData>
        </a:graphic>
      </p:graphicFrame>
      <p:pic>
        <p:nvPicPr>
          <p:cNvPr id="11" name="Grafik 10">
            <a:extLst>
              <a:ext uri="{FF2B5EF4-FFF2-40B4-BE49-F238E27FC236}">
                <a16:creationId xmlns:a16="http://schemas.microsoft.com/office/drawing/2014/main" id="{F124672C-B73D-4DDB-ADDA-A73AB3D6E3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9919" y="3435723"/>
            <a:ext cx="540000" cy="540000"/>
          </a:xfrm>
          <a:prstGeom prst="rect">
            <a:avLst/>
          </a:prstGeom>
        </p:spPr>
      </p:pic>
      <p:pic>
        <p:nvPicPr>
          <p:cNvPr id="12" name="Grafik 11">
            <a:extLst>
              <a:ext uri="{FF2B5EF4-FFF2-40B4-BE49-F238E27FC236}">
                <a16:creationId xmlns:a16="http://schemas.microsoft.com/office/drawing/2014/main" id="{77F5BC57-3435-4A8C-A264-7E6C69792A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9919" y="4049675"/>
            <a:ext cx="540000" cy="540000"/>
          </a:xfrm>
          <a:prstGeom prst="rect">
            <a:avLst/>
          </a:prstGeom>
        </p:spPr>
      </p:pic>
      <p:pic>
        <p:nvPicPr>
          <p:cNvPr id="13" name="Grafik 12">
            <a:extLst>
              <a:ext uri="{FF2B5EF4-FFF2-40B4-BE49-F238E27FC236}">
                <a16:creationId xmlns:a16="http://schemas.microsoft.com/office/drawing/2014/main" id="{AAF4D096-BA66-4552-949F-DEA0F6BF3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9919" y="4712939"/>
            <a:ext cx="540000" cy="540000"/>
          </a:xfrm>
          <a:prstGeom prst="rect">
            <a:avLst/>
          </a:prstGeom>
        </p:spPr>
      </p:pic>
      <p:pic>
        <p:nvPicPr>
          <p:cNvPr id="14" name="Grafik 13">
            <a:extLst>
              <a:ext uri="{FF2B5EF4-FFF2-40B4-BE49-F238E27FC236}">
                <a16:creationId xmlns:a16="http://schemas.microsoft.com/office/drawing/2014/main" id="{B126981D-645F-42CB-B4AE-4521E91F33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9721" y="5334662"/>
            <a:ext cx="540000" cy="540000"/>
          </a:xfrm>
          <a:prstGeom prst="rect">
            <a:avLst/>
          </a:prstGeom>
        </p:spPr>
      </p:pic>
      <p:pic>
        <p:nvPicPr>
          <p:cNvPr id="15" name="Grafik 14">
            <a:extLst>
              <a:ext uri="{FF2B5EF4-FFF2-40B4-BE49-F238E27FC236}">
                <a16:creationId xmlns:a16="http://schemas.microsoft.com/office/drawing/2014/main" id="{8259BA09-CE7F-4961-9580-7C5863CE87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29919" y="4712939"/>
            <a:ext cx="540000" cy="540000"/>
          </a:xfrm>
          <a:prstGeom prst="rect">
            <a:avLst/>
          </a:prstGeom>
        </p:spPr>
      </p:pic>
      <p:pic>
        <p:nvPicPr>
          <p:cNvPr id="16" name="Grafik 15">
            <a:extLst>
              <a:ext uri="{FF2B5EF4-FFF2-40B4-BE49-F238E27FC236}">
                <a16:creationId xmlns:a16="http://schemas.microsoft.com/office/drawing/2014/main" id="{EB500332-960B-46DD-B0EB-820297B9A1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69919" y="4712939"/>
            <a:ext cx="540000" cy="540000"/>
          </a:xfrm>
          <a:prstGeom prst="rect">
            <a:avLst/>
          </a:prstGeom>
        </p:spPr>
      </p:pic>
      <p:pic>
        <p:nvPicPr>
          <p:cNvPr id="17" name="Grafik 16">
            <a:extLst>
              <a:ext uri="{FF2B5EF4-FFF2-40B4-BE49-F238E27FC236}">
                <a16:creationId xmlns:a16="http://schemas.microsoft.com/office/drawing/2014/main" id="{5F173046-BCD6-4AFC-9735-6F6315EAC8A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29919" y="4049675"/>
            <a:ext cx="540000" cy="540000"/>
          </a:xfrm>
          <a:prstGeom prst="rect">
            <a:avLst/>
          </a:prstGeom>
        </p:spPr>
      </p:pic>
      <p:grpSp>
        <p:nvGrpSpPr>
          <p:cNvPr id="25" name="Gruppieren 24">
            <a:extLst>
              <a:ext uri="{FF2B5EF4-FFF2-40B4-BE49-F238E27FC236}">
                <a16:creationId xmlns:a16="http://schemas.microsoft.com/office/drawing/2014/main" id="{BB4C9427-D57D-40D1-ADCD-2E435EBDB637}"/>
              </a:ext>
            </a:extLst>
          </p:cNvPr>
          <p:cNvGrpSpPr/>
          <p:nvPr/>
        </p:nvGrpSpPr>
        <p:grpSpPr>
          <a:xfrm>
            <a:off x="3191854" y="4067675"/>
            <a:ext cx="504000" cy="504000"/>
            <a:chOff x="2917319" y="7382435"/>
            <a:chExt cx="914400" cy="914400"/>
          </a:xfrm>
        </p:grpSpPr>
        <p:sp>
          <p:nvSpPr>
            <p:cNvPr id="26" name="Ellipse 25">
              <a:extLst>
                <a:ext uri="{FF2B5EF4-FFF2-40B4-BE49-F238E27FC236}">
                  <a16:creationId xmlns:a16="http://schemas.microsoft.com/office/drawing/2014/main" id="{4F4EE878-F118-4331-8840-29BC801CCD05}"/>
                </a:ext>
              </a:extLst>
            </p:cNvPr>
            <p:cNvSpPr/>
            <p:nvPr/>
          </p:nvSpPr>
          <p:spPr>
            <a:xfrm>
              <a:off x="2917319" y="7382435"/>
              <a:ext cx="914400" cy="91440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de-DE" sz="1600">
                <a:solidFill>
                  <a:schemeClr val="accent5"/>
                </a:solidFill>
              </a:endParaRPr>
            </a:p>
          </p:txBody>
        </p:sp>
        <p:pic>
          <p:nvPicPr>
            <p:cNvPr id="27" name="Grafik 26" descr="Akku mit einfarbiger Füllung">
              <a:extLst>
                <a:ext uri="{FF2B5EF4-FFF2-40B4-BE49-F238E27FC236}">
                  <a16:creationId xmlns:a16="http://schemas.microsoft.com/office/drawing/2014/main" id="{FD26D27D-2C99-4B3A-84AA-28E8FEE186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51604" y="7516905"/>
              <a:ext cx="658905" cy="658905"/>
            </a:xfrm>
            <a:prstGeom prst="rect">
              <a:avLst/>
            </a:prstGeom>
          </p:spPr>
        </p:pic>
      </p:grpSp>
      <p:pic>
        <p:nvPicPr>
          <p:cNvPr id="31" name="Grafik 30" descr="Ein Bild, das Text, Gras, draußen, Anhänger enthält.&#10;&#10;Automatisch generierte Beschreibung">
            <a:extLst>
              <a:ext uri="{FF2B5EF4-FFF2-40B4-BE49-F238E27FC236}">
                <a16:creationId xmlns:a16="http://schemas.microsoft.com/office/drawing/2014/main" id="{75BAD0EE-E996-4262-85A9-CACFD97CFC35}"/>
              </a:ext>
            </a:extLst>
          </p:cNvPr>
          <p:cNvPicPr>
            <a:picLocks noChangeAspect="1"/>
          </p:cNvPicPr>
          <p:nvPr/>
        </p:nvPicPr>
        <p:blipFill rotWithShape="1">
          <a:blip r:embed="rId9">
            <a:extLst>
              <a:ext uri="{28A0092B-C50C-407E-A947-70E740481C1C}">
                <a14:useLocalDpi xmlns:a14="http://schemas.microsoft.com/office/drawing/2010/main" val="0"/>
              </a:ext>
            </a:extLst>
          </a:blip>
          <a:srcRect r="14801" b="6025"/>
          <a:stretch/>
        </p:blipFill>
        <p:spPr>
          <a:xfrm>
            <a:off x="8617243" y="-38887"/>
            <a:ext cx="3574757" cy="2628634"/>
          </a:xfrm>
          <a:prstGeom prst="rect">
            <a:avLst/>
          </a:prstGeom>
        </p:spPr>
      </p:pic>
      <p:pic>
        <p:nvPicPr>
          <p:cNvPr id="33" name="Grafik 32" descr="Ein Bild, das draußen, Himmel, Wasser, Brücke enthält.&#10;&#10;Automatisch generierte Beschreibung">
            <a:extLst>
              <a:ext uri="{FF2B5EF4-FFF2-40B4-BE49-F238E27FC236}">
                <a16:creationId xmlns:a16="http://schemas.microsoft.com/office/drawing/2014/main" id="{C40E07E3-3B02-4439-AAF2-D999B454D34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96000" y="-1"/>
            <a:ext cx="3253615" cy="2602893"/>
          </a:xfrm>
          <a:prstGeom prst="rect">
            <a:avLst/>
          </a:prstGeom>
        </p:spPr>
      </p:pic>
      <p:pic>
        <p:nvPicPr>
          <p:cNvPr id="35" name="Grafik 34" descr="Ein Bild, das Gras, draußen, Himmel enthält.&#10;&#10;Automatisch generierte Beschreibung">
            <a:extLst>
              <a:ext uri="{FF2B5EF4-FFF2-40B4-BE49-F238E27FC236}">
                <a16:creationId xmlns:a16="http://schemas.microsoft.com/office/drawing/2014/main" id="{F6A1EFD1-AE13-4431-9F4A-7AD5DCB5FD6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84809" y="2602892"/>
            <a:ext cx="3253615" cy="2169272"/>
          </a:xfrm>
          <a:prstGeom prst="rect">
            <a:avLst/>
          </a:prstGeom>
        </p:spPr>
      </p:pic>
      <p:pic>
        <p:nvPicPr>
          <p:cNvPr id="37" name="Grafik 36" descr="Ein Bild, das Gras, grün, Weg, Straße enthält.&#10;&#10;Automatisch generierte Beschreibung">
            <a:extLst>
              <a:ext uri="{FF2B5EF4-FFF2-40B4-BE49-F238E27FC236}">
                <a16:creationId xmlns:a16="http://schemas.microsoft.com/office/drawing/2014/main" id="{1BEBFE91-4920-4DB5-A98D-4FB39BFA9B03}"/>
              </a:ext>
            </a:extLst>
          </p:cNvPr>
          <p:cNvPicPr>
            <a:picLocks noChangeAspect="1"/>
          </p:cNvPicPr>
          <p:nvPr/>
        </p:nvPicPr>
        <p:blipFill rotWithShape="1">
          <a:blip r:embed="rId12">
            <a:extLst>
              <a:ext uri="{28A0092B-C50C-407E-A947-70E740481C1C}">
                <a14:useLocalDpi xmlns:a14="http://schemas.microsoft.com/office/drawing/2010/main" val="0"/>
              </a:ext>
            </a:extLst>
          </a:blip>
          <a:srcRect r="12587"/>
          <a:stretch/>
        </p:blipFill>
        <p:spPr>
          <a:xfrm>
            <a:off x="9338424" y="2598682"/>
            <a:ext cx="2853576" cy="2176329"/>
          </a:xfrm>
          <a:prstGeom prst="rect">
            <a:avLst/>
          </a:prstGeom>
        </p:spPr>
      </p:pic>
      <p:pic>
        <p:nvPicPr>
          <p:cNvPr id="39" name="Grafik 38" descr="Ein Bild, das Baum, Himmel, draußen, Gras enthält.&#10;&#10;Automatisch generierte Beschreibung">
            <a:extLst>
              <a:ext uri="{FF2B5EF4-FFF2-40B4-BE49-F238E27FC236}">
                <a16:creationId xmlns:a16="http://schemas.microsoft.com/office/drawing/2014/main" id="{BA8D93D2-3165-4D26-B9F6-2CB8B0BAFDB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76526" y="4748569"/>
            <a:ext cx="3273089" cy="2182060"/>
          </a:xfrm>
          <a:prstGeom prst="rect">
            <a:avLst/>
          </a:prstGeom>
        </p:spPr>
      </p:pic>
      <p:pic>
        <p:nvPicPr>
          <p:cNvPr id="41" name="Grafik 40" descr="Ein Bild, das Gras, draußen, Himmel, Outdoorobjekt enthält.&#10;&#10;Automatisch generierte Beschreibung">
            <a:extLst>
              <a:ext uri="{FF2B5EF4-FFF2-40B4-BE49-F238E27FC236}">
                <a16:creationId xmlns:a16="http://schemas.microsoft.com/office/drawing/2014/main" id="{1F6ACA3C-32A9-4237-BD68-5DF7A4F36773}"/>
              </a:ext>
            </a:extLst>
          </p:cNvPr>
          <p:cNvPicPr>
            <a:picLocks noChangeAspect="1"/>
          </p:cNvPicPr>
          <p:nvPr/>
        </p:nvPicPr>
        <p:blipFill rotWithShape="1">
          <a:blip r:embed="rId14">
            <a:extLst>
              <a:ext uri="{28A0092B-C50C-407E-A947-70E740481C1C}">
                <a14:useLocalDpi xmlns:a14="http://schemas.microsoft.com/office/drawing/2010/main" val="0"/>
              </a:ext>
            </a:extLst>
          </a:blip>
          <a:srcRect l="16686"/>
          <a:stretch/>
        </p:blipFill>
        <p:spPr>
          <a:xfrm>
            <a:off x="9338424" y="4740310"/>
            <a:ext cx="2853576" cy="2209724"/>
          </a:xfrm>
          <a:prstGeom prst="rect">
            <a:avLst/>
          </a:prstGeom>
        </p:spPr>
      </p:pic>
    </p:spTree>
    <p:extLst>
      <p:ext uri="{BB962C8B-B14F-4D97-AF65-F5344CB8AC3E}">
        <p14:creationId xmlns:p14="http://schemas.microsoft.com/office/powerpoint/2010/main" val="2164215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5D18F9B-10C1-CA38-B644-A6BDEB646A9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5" name="Rectangle 14">
            <a:extLst>
              <a:ext uri="{FF2B5EF4-FFF2-40B4-BE49-F238E27FC236}">
                <a16:creationId xmlns:a16="http://schemas.microsoft.com/office/drawing/2014/main" id="{1195AE7E-A6E3-7B6B-C141-26B29F40D5FF}"/>
              </a:ext>
            </a:extLst>
          </p:cNvPr>
          <p:cNvSpPr/>
          <p:nvPr/>
        </p:nvSpPr>
        <p:spPr>
          <a:xfrm>
            <a:off x="0" y="0"/>
            <a:ext cx="12192000" cy="6858001"/>
          </a:xfrm>
          <a:prstGeom prst="rect">
            <a:avLst/>
          </a:prstGeom>
          <a:solidFill>
            <a:schemeClr val="tx1">
              <a:alpha val="9258"/>
            </a:schemeClr>
          </a:solidFill>
          <a:ln>
            <a:noFill/>
          </a:ln>
          <a:effectLst>
            <a:outerShdw blurRad="1130009" dist="50800" dir="5400000" algn="ctr" rotWithShape="0">
              <a:srgbClr val="000000">
                <a:alpha val="9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chemeClr val="accent1"/>
              </a:buClr>
              <a:buSzPct val="120000"/>
            </a:pPr>
            <a:endParaRPr lang="en-US" sz="1600">
              <a:solidFill>
                <a:schemeClr val="accent5"/>
              </a:solidFill>
            </a:endParaRPr>
          </a:p>
        </p:txBody>
      </p:sp>
      <p:sp>
        <p:nvSpPr>
          <p:cNvPr id="3" name="Slide Number Placeholder 2">
            <a:extLst>
              <a:ext uri="{FF2B5EF4-FFF2-40B4-BE49-F238E27FC236}">
                <a16:creationId xmlns:a16="http://schemas.microsoft.com/office/drawing/2014/main" id="{DCCA107A-7819-815C-4B36-55BF9F03276C}"/>
              </a:ext>
            </a:extLst>
          </p:cNvPr>
          <p:cNvSpPr>
            <a:spLocks noGrp="1"/>
          </p:cNvSpPr>
          <p:nvPr>
            <p:ph type="sldNum" sz="quarter" idx="15"/>
          </p:nvPr>
        </p:nvSpPr>
        <p:spPr/>
        <p:txBody>
          <a:bodyPr/>
          <a:lstStyle/>
          <a:p>
            <a:fld id="{5B2ACB19-C0E1-7345-B8BA-15A723BE30E5}" type="slidenum">
              <a:rPr lang="en-GB" smtClean="0"/>
              <a:pPr/>
              <a:t>9</a:t>
            </a:fld>
            <a:endParaRPr lang="en-GB"/>
          </a:p>
        </p:txBody>
      </p:sp>
      <p:sp>
        <p:nvSpPr>
          <p:cNvPr id="9" name="TextBox 8">
            <a:extLst>
              <a:ext uri="{FF2B5EF4-FFF2-40B4-BE49-F238E27FC236}">
                <a16:creationId xmlns:a16="http://schemas.microsoft.com/office/drawing/2014/main" id="{00FB8754-694E-AA71-2A1B-FC5068EE2B27}"/>
              </a:ext>
            </a:extLst>
          </p:cNvPr>
          <p:cNvSpPr txBox="1"/>
          <p:nvPr/>
        </p:nvSpPr>
        <p:spPr>
          <a:xfrm>
            <a:off x="5240975" y="423728"/>
            <a:ext cx="1710047" cy="221027"/>
          </a:xfrm>
          <a:prstGeom prst="rect">
            <a:avLst/>
          </a:prstGeom>
          <a:noFill/>
        </p:spPr>
        <p:txBody>
          <a:bodyPr wrap="square" lIns="0" tIns="0" rIns="0" bIns="0" rtlCol="0">
            <a:noAutofit/>
          </a:bodyPr>
          <a:lstStyle/>
          <a:p>
            <a:pPr algn="ctr"/>
            <a:r>
              <a:rPr lang="en-US" sz="1800" b="1">
                <a:solidFill>
                  <a:srgbClr val="FFFFFF"/>
                </a:solidFill>
                <a:latin typeface="+mj-lt"/>
              </a:rPr>
              <a:t>Unsere </a:t>
            </a:r>
            <a:r>
              <a:rPr kumimoji="0" lang="en-US" sz="1800" b="1" i="0" u="none" strike="noStrike" kern="1200" cap="none" spc="0" normalizeH="0" baseline="0" noProof="0">
                <a:ln>
                  <a:noFill/>
                </a:ln>
                <a:solidFill>
                  <a:srgbClr val="FFFFFF"/>
                </a:solidFill>
                <a:effectLst/>
                <a:uLnTx/>
                <a:uFillTx/>
                <a:latin typeface="+mj-lt"/>
              </a:rPr>
              <a:t>Vision</a:t>
            </a:r>
            <a:endParaRPr lang="en-US" sz="1800">
              <a:latin typeface="+mj-lt"/>
            </a:endParaRPr>
          </a:p>
        </p:txBody>
      </p:sp>
      <p:sp>
        <p:nvSpPr>
          <p:cNvPr id="10" name="Rectangle 9">
            <a:extLst>
              <a:ext uri="{FF2B5EF4-FFF2-40B4-BE49-F238E27FC236}">
                <a16:creationId xmlns:a16="http://schemas.microsoft.com/office/drawing/2014/main" id="{F20E5238-29BE-9011-D51F-E04005E4CCA5}"/>
              </a:ext>
            </a:extLst>
          </p:cNvPr>
          <p:cNvSpPr/>
          <p:nvPr/>
        </p:nvSpPr>
        <p:spPr>
          <a:xfrm>
            <a:off x="1628911" y="597117"/>
            <a:ext cx="8934173" cy="1015663"/>
          </a:xfrm>
          <a:prstGeom prst="rect">
            <a:avLst/>
          </a:prstGeom>
          <a:effectLst>
            <a:outerShdw blurRad="641415" sx="84000" sy="84000" algn="ctr" rotWithShape="0">
              <a:prstClr val="black">
                <a:alpha val="20024"/>
              </a:prstClr>
            </a:outerShdw>
          </a:effectLst>
        </p:spPr>
        <p:txBody>
          <a:bodyPr wrap="square" lIns="91440" tIns="45720" rIns="91440" bIns="45720" anchor="t">
            <a:spAutoFit/>
          </a:bodyPr>
          <a:lstStyle/>
          <a:p>
            <a:pPr algn="ctr">
              <a:lnSpc>
                <a:spcPct val="100000"/>
              </a:lnSpc>
            </a:pPr>
            <a:r>
              <a:rPr lang="en-US" sz="6000" b="1" spc="-150">
                <a:solidFill>
                  <a:schemeClr val="bg1"/>
                </a:solidFill>
                <a:latin typeface="+mj-lt"/>
              </a:rPr>
              <a:t>Mit Energie</a:t>
            </a:r>
          </a:p>
        </p:txBody>
      </p:sp>
      <p:sp>
        <p:nvSpPr>
          <p:cNvPr id="6" name="TextBox 5">
            <a:extLst>
              <a:ext uri="{FF2B5EF4-FFF2-40B4-BE49-F238E27FC236}">
                <a16:creationId xmlns:a16="http://schemas.microsoft.com/office/drawing/2014/main" id="{5006B4EF-4CEF-C267-9C28-39152DDCE0E8}"/>
              </a:ext>
            </a:extLst>
          </p:cNvPr>
          <p:cNvSpPr txBox="1"/>
          <p:nvPr/>
        </p:nvSpPr>
        <p:spPr>
          <a:xfrm>
            <a:off x="2124960" y="1307923"/>
            <a:ext cx="8138832" cy="1015663"/>
          </a:xfrm>
          <a:prstGeom prst="rect">
            <a:avLst/>
          </a:prstGeom>
          <a:noFill/>
          <a:effectLst>
            <a:outerShdw blurRad="641415" sx="84000" sy="84000" algn="ctr" rotWithShape="0">
              <a:prstClr val="black">
                <a:alpha val="20024"/>
              </a:prstClr>
            </a:outerShdw>
          </a:effectLst>
        </p:spPr>
        <p:txBody>
          <a:bodyPr wrap="square">
            <a:spAutoFit/>
          </a:bodyPr>
          <a:lstStyle/>
          <a:p>
            <a:pPr algn="ctr">
              <a:lnSpc>
                <a:spcPct val="100000"/>
              </a:lnSpc>
            </a:pPr>
            <a:r>
              <a:rPr lang="en-US" sz="6000" b="1" spc="-150">
                <a:solidFill>
                  <a:schemeClr val="bg1"/>
                </a:solidFill>
                <a:latin typeface="+mj-lt"/>
              </a:rPr>
              <a:t>die Welt erneuern</a:t>
            </a:r>
          </a:p>
        </p:txBody>
      </p:sp>
    </p:spTree>
    <p:extLst>
      <p:ext uri="{BB962C8B-B14F-4D97-AF65-F5344CB8AC3E}">
        <p14:creationId xmlns:p14="http://schemas.microsoft.com/office/powerpoint/2010/main" val="89659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d0yuqlTWCeU3UF0Lcd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5wLGKkGSW.nUQn29AJI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5wLGKkGSW.nUQn29AJI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0y6T4K9QeiSCQ9qyTOJ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VU1lnvaStSRu0yU3Rye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0y6T4K9QeiSCQ9qyTOJ3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d0yuqlTWCeU3UF0Lcd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d0yuqlTWCeU3UF0Lcd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5wLGKkGSW.nUQn29AJI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5wLGKkGSW.nUQn29AJI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d0yuqlTWCeU3UF0Lcd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VU1lnvaStSRu0yU3Rye0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d0yuqlTWCeU3UF0Lcd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7j7OoG__aYes7Cb05T4f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eg8Q1aYMguGErK51U6h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rvYsjE0dJYaVJU2ePZEH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JNsMngMSDCXruq1V5rql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j7OoG__aYes7Cb05T4fr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j7OoG__aYes7Cb05T4frg"/>
</p:tagLst>
</file>

<file path=ppt/theme/theme1.xml><?xml version="1.0" encoding="utf-8"?>
<a:theme xmlns:a="http://schemas.openxmlformats.org/drawingml/2006/main" name="Statkraft presentation template UK">
  <a:themeElements>
    <a:clrScheme name="Statkraft 2019">
      <a:dk1>
        <a:srgbClr val="000000"/>
      </a:dk1>
      <a:lt1>
        <a:srgbClr val="FFFFFF"/>
      </a:lt1>
      <a:dk2>
        <a:srgbClr val="005088"/>
      </a:dk2>
      <a:lt2>
        <a:srgbClr val="00B0DC"/>
      </a:lt2>
      <a:accent1>
        <a:srgbClr val="00B0DC"/>
      </a:accent1>
      <a:accent2>
        <a:srgbClr val="80DAF3"/>
      </a:accent2>
      <a:accent3>
        <a:srgbClr val="E84E0F"/>
      </a:accent3>
      <a:accent4>
        <a:srgbClr val="F0D100"/>
      </a:accent4>
      <a:accent5>
        <a:srgbClr val="7A6F69"/>
      </a:accent5>
      <a:accent6>
        <a:srgbClr val="BBB3B0"/>
      </a:accent6>
      <a:hlink>
        <a:srgbClr val="7A6F69"/>
      </a:hlink>
      <a:folHlink>
        <a:srgbClr val="7A6F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60000"/>
            <a:lumOff val="40000"/>
          </a:schemeClr>
        </a:solidFill>
        <a:ln>
          <a:noFill/>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buClr>
            <a:schemeClr val="accent1"/>
          </a:buClr>
          <a:buSzPct val="120000"/>
          <a:defRPr sz="1600" smtClean="0">
            <a:solidFill>
              <a:schemeClr val="accent5"/>
            </a:solidFill>
          </a:defRPr>
        </a:defPPr>
      </a:lstStyle>
      <a:style>
        <a:lnRef idx="1">
          <a:schemeClr val="accent1"/>
        </a:lnRef>
        <a:fillRef idx="3">
          <a:schemeClr val="accent1"/>
        </a:fillRef>
        <a:effectRef idx="2">
          <a:schemeClr val="accent1"/>
        </a:effectRef>
        <a:fontRef idx="minor">
          <a:schemeClr val="lt1"/>
        </a:fontRef>
      </a:style>
    </a:spDef>
    <a:lnDef>
      <a:spPr>
        <a:ln w="9525" cap="flat" cmpd="sng">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spcBef>
            <a:spcPts val="600"/>
          </a:spcBef>
          <a:buClr>
            <a:schemeClr val="accent1"/>
          </a:buClr>
          <a:buSzPct val="120000"/>
          <a:defRPr sz="1600" smtClean="0">
            <a:solidFill>
              <a:schemeClr val="accent5"/>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Statkraft presentasjonsmal NO.potx" id="{E1C92A8C-BD78-4D2E-8C95-79D9C1BB9D42}" vid="{21D653C2-CAE4-402F-85E8-FDC67056958C}"/>
    </a:ext>
  </a:extLst>
</a:theme>
</file>

<file path=ppt/theme/theme2.xml><?xml version="1.0" encoding="utf-8"?>
<a:theme xmlns:a="http://schemas.openxmlformats.org/drawingml/2006/main" name="5_Statkraft presentation template UK">
  <a:themeElements>
    <a:clrScheme name="Statkraft 2019">
      <a:dk1>
        <a:srgbClr val="000000"/>
      </a:dk1>
      <a:lt1>
        <a:srgbClr val="FFFFFF"/>
      </a:lt1>
      <a:dk2>
        <a:srgbClr val="005088"/>
      </a:dk2>
      <a:lt2>
        <a:srgbClr val="00B0DC"/>
      </a:lt2>
      <a:accent1>
        <a:srgbClr val="00B0DC"/>
      </a:accent1>
      <a:accent2>
        <a:srgbClr val="80DAF3"/>
      </a:accent2>
      <a:accent3>
        <a:srgbClr val="E84E0F"/>
      </a:accent3>
      <a:accent4>
        <a:srgbClr val="F0D100"/>
      </a:accent4>
      <a:accent5>
        <a:srgbClr val="7A6F69"/>
      </a:accent5>
      <a:accent6>
        <a:srgbClr val="BBB3B0"/>
      </a:accent6>
      <a:hlink>
        <a:srgbClr val="7A6F69"/>
      </a:hlink>
      <a:folHlink>
        <a:srgbClr val="7A6F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60000"/>
            <a:lumOff val="40000"/>
          </a:schemeClr>
        </a:solidFill>
        <a:ln>
          <a:noFill/>
        </a:ln>
        <a:effec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buClr>
            <a:schemeClr val="accent1"/>
          </a:buClr>
          <a:buSzPct val="120000"/>
          <a:defRPr sz="1600" smtClean="0">
            <a:solidFill>
              <a:schemeClr val="accent5"/>
            </a:solidFill>
          </a:defRPr>
        </a:defPPr>
      </a:lstStyle>
      <a:style>
        <a:lnRef idx="1">
          <a:schemeClr val="accent1"/>
        </a:lnRef>
        <a:fillRef idx="3">
          <a:schemeClr val="accent1"/>
        </a:fillRef>
        <a:effectRef idx="2">
          <a:schemeClr val="accent1"/>
        </a:effectRef>
        <a:fontRef idx="minor">
          <a:schemeClr val="lt1"/>
        </a:fontRef>
      </a:style>
    </a:spDef>
    <a:lnDef>
      <a:spPr>
        <a:ln w="9525" cap="flat" cmpd="sng">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spcBef>
            <a:spcPts val="600"/>
          </a:spcBef>
          <a:buClr>
            <a:schemeClr val="accent1"/>
          </a:buClr>
          <a:buSzPct val="120000"/>
          <a:defRPr sz="1600" smtClean="0">
            <a:solidFill>
              <a:schemeClr val="accent5"/>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Statkraft presentasjonsmal NO.potx" id="{E1C92A8C-BD78-4D2E-8C95-79D9C1BB9D42}" vid="{21D653C2-CAE4-402F-85E8-FDC67056958C}"/>
    </a:ext>
  </a:extLst>
</a:theme>
</file>

<file path=ppt/theme/theme3.xml><?xml version="1.0" encoding="utf-8"?>
<a:theme xmlns:a="http://schemas.openxmlformats.org/drawingml/2006/main" name="Office Theme">
  <a:themeElements>
    <a:clrScheme name="Statkraft">
      <a:dk1>
        <a:srgbClr val="000000"/>
      </a:dk1>
      <a:lt1>
        <a:srgbClr val="FFFFFF"/>
      </a:lt1>
      <a:dk2>
        <a:srgbClr val="005088"/>
      </a:dk2>
      <a:lt2>
        <a:srgbClr val="BBB3B0"/>
      </a:lt2>
      <a:accent1>
        <a:srgbClr val="00B0DC"/>
      </a:accent1>
      <a:accent2>
        <a:srgbClr val="80DAF3"/>
      </a:accent2>
      <a:accent3>
        <a:srgbClr val="E84E0F"/>
      </a:accent3>
      <a:accent4>
        <a:srgbClr val="E5D100"/>
      </a:accent4>
      <a:accent5>
        <a:srgbClr val="BBB3B0"/>
      </a:accent5>
      <a:accent6>
        <a:srgbClr val="7A6F69"/>
      </a:accent6>
      <a:hlink>
        <a:srgbClr val="7A6F69"/>
      </a:hlink>
      <a:folHlink>
        <a:srgbClr val="7A6F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Statkraft">
      <a:dk1>
        <a:srgbClr val="000000"/>
      </a:dk1>
      <a:lt1>
        <a:srgbClr val="FFFFFF"/>
      </a:lt1>
      <a:dk2>
        <a:srgbClr val="005088"/>
      </a:dk2>
      <a:lt2>
        <a:srgbClr val="BBB3B0"/>
      </a:lt2>
      <a:accent1>
        <a:srgbClr val="00B0DC"/>
      </a:accent1>
      <a:accent2>
        <a:srgbClr val="80DAF3"/>
      </a:accent2>
      <a:accent3>
        <a:srgbClr val="E84E0F"/>
      </a:accent3>
      <a:accent4>
        <a:srgbClr val="E5D100"/>
      </a:accent4>
      <a:accent5>
        <a:srgbClr val="BBB3B0"/>
      </a:accent5>
      <a:accent6>
        <a:srgbClr val="7A6F69"/>
      </a:accent6>
      <a:hlink>
        <a:srgbClr val="7A6F69"/>
      </a:hlink>
      <a:folHlink>
        <a:srgbClr val="7A6F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CA784A79DD0CF49B13AD5186D28324B" ma:contentTypeVersion="25" ma:contentTypeDescription="Create a new document." ma:contentTypeScope="" ma:versionID="867178a4afdb84c468be01337e089940">
  <xsd:schema xmlns:xsd="http://www.w3.org/2001/XMLSchema" xmlns:xs="http://www.w3.org/2001/XMLSchema" xmlns:p="http://schemas.microsoft.com/office/2006/metadata/properties" xmlns:ns2="{listid:Accounting}" xmlns:ns3="9678ef29-fe63-4f8f-bec6-44ac172c6a74" xmlns:ns4="6baba531-3330-4eb1-bf3e-3a119b50fbc0" targetNamespace="http://schemas.microsoft.com/office/2006/metadata/properties" ma:root="true" ma:fieldsID="118a39f934b4b84bbe78ab738e734d2b" ns2:_="" ns3:_="" ns4:_="">
    <xsd:import namespace="{listid:Accounting}"/>
    <xsd:import namespace="9678ef29-fe63-4f8f-bec6-44ac172c6a74"/>
    <xsd:import namespace="6baba531-3330-4eb1-bf3e-3a119b50fbc0"/>
    <xsd:element name="properties">
      <xsd:complexType>
        <xsd:sequence>
          <xsd:element name="documentManagement">
            <xsd:complexType>
              <xsd:all>
                <xsd:element ref="ns2:Classification" minOccurs="0"/>
                <xsd:element ref="ns2:Document_x0020_type" minOccurs="0"/>
                <xsd:element ref="ns2:Language" minOccurs="0"/>
                <xsd:element ref="ns2:Statu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Location" minOccurs="0"/>
                <xsd:element ref="ns3:MediaServiceOCR" minOccurs="0"/>
                <xsd:element ref="ns4:SharedWithUsers" minOccurs="0"/>
                <xsd:element ref="ns4:SharedWithDetails" minOccurs="0"/>
                <xsd:element ref="ns4:TaxCatchAll" minOccurs="0"/>
                <xsd:element ref="ns3: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listid:Accounting}" elementFormDefault="qualified">
    <xsd:import namespace="http://schemas.microsoft.com/office/2006/documentManagement/types"/>
    <xsd:import namespace="http://schemas.microsoft.com/office/infopath/2007/PartnerControls"/>
    <xsd:element name="Classification" ma:index="8" nillable="true" ma:displayName="Classification" ma:default="Internal" ma:format="Dropdown" ma:internalName="Classification">
      <xsd:simpleType>
        <xsd:restriction base="dms:Choice">
          <xsd:enumeration value="Confidential"/>
          <xsd:enumeration value="Internal"/>
          <xsd:enumeration value="Open"/>
        </xsd:restriction>
      </xsd:simpleType>
    </xsd:element>
    <xsd:element name="Document_x0020_type" ma:index="9" nillable="true" ma:displayName="Document type" ma:default="Memo" ma:format="Dropdown" ma:internalName="Document_x0020_type">
      <xsd:simpleType>
        <xsd:restriction base="dms:Choice">
          <xsd:enumeration value="Agreement"/>
          <xsd:enumeration value="Budget"/>
          <xsd:enumeration value="Call for meeting"/>
          <xsd:enumeration value="External correspondence"/>
          <xsd:enumeration value="Guideline"/>
          <xsd:enumeration value="Image"/>
          <xsd:enumeration value="Internal correspondence"/>
          <xsd:enumeration value="Map"/>
          <xsd:enumeration value="Memo"/>
          <xsd:enumeration value="Minutes of meeting"/>
          <xsd:enumeration value="Plan"/>
          <xsd:enumeration value="Presentation"/>
          <xsd:enumeration value="Report"/>
          <xsd:enumeration value="Specification"/>
          <xsd:enumeration value="Technical Document"/>
          <xsd:enumeration value="Video"/>
        </xsd:restriction>
      </xsd:simpleType>
    </xsd:element>
    <xsd:element name="Language" ma:index="10" nillable="true" ma:displayName="Language" ma:default="English" ma:format="Dropdown" ma:internalName="Language">
      <xsd:simpleType>
        <xsd:restriction base="dms:Choice">
          <xsd:enumeration value="Albanian"/>
          <xsd:enumeration value="Dutch"/>
          <xsd:enumeration value="English"/>
          <xsd:enumeration value="French"/>
          <xsd:enumeration value="German"/>
          <xsd:enumeration value="Hindi"/>
          <xsd:enumeration value="Nepalese"/>
          <xsd:enumeration value="Norwegian"/>
          <xsd:enumeration value="Portuguese"/>
          <xsd:enumeration value="Spanish"/>
          <xsd:enumeration value="Swedish"/>
          <xsd:enumeration value="Turkish"/>
        </xsd:restriction>
      </xsd:simpleType>
    </xsd:element>
    <xsd:element name="Status" ma:index="11" nillable="true" ma:displayName="Status" ma:default="In Progress" ma:format="Dropdown" ma:internalName="Status">
      <xsd:simpleType>
        <xsd:restriction base="dms:Choice">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9678ef29-fe63-4f8f-bec6-44ac172c6a74"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d21d6712-d20a-4d05-afac-8e514c82895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baba531-3330-4eb1-bf3e-3a119b50fbc0"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8fa3106d-178e-4653-b266-8b098ea8eb29}" ma:internalName="TaxCatchAll" ma:showField="CatchAllData" ma:web="6baba531-3330-4eb1-bf3e-3a119b50fb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anguage xmlns="{listid:Accounting}">English</Language>
    <Document_x0020_type xmlns="{listid:Accounting}">Memo</Document_x0020_type>
    <Status xmlns="{listid:Accounting}">In Progress</Status>
    <Classification xmlns="{listid:Accounting}">Internal</Classification>
    <SharedWithUsers xmlns="6baba531-3330-4eb1-bf3e-3a119b50fbc0">
      <UserInfo>
        <DisplayName>Viaworks Indexing SharePoint Online P</DisplayName>
        <AccountId>16</AccountId>
        <AccountType/>
      </UserInfo>
      <UserInfo>
        <DisplayName>Goodarzi Roman</DisplayName>
        <AccountId>99</AccountId>
        <AccountType/>
      </UserInfo>
      <UserInfo>
        <DisplayName>Hohlbaum Maike</DisplayName>
        <AccountId>47</AccountId>
        <AccountType/>
      </UserInfo>
      <UserInfo>
        <DisplayName>Tientcheu Mirella</DisplayName>
        <AccountId>178</AccountId>
        <AccountType/>
      </UserInfo>
    </SharedWithUsers>
    <TaxCatchAll xmlns="6baba531-3330-4eb1-bf3e-3a119b50fbc0" xsi:nil="true"/>
    <lcf76f155ced4ddcb4097134ff3c332f xmlns="9678ef29-fe63-4f8f-bec6-44ac172c6a7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EC5198-09AD-4513-B144-77AA90FE0F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listid:Accounting}"/>
    <ds:schemaRef ds:uri="9678ef29-fe63-4f8f-bec6-44ac172c6a74"/>
    <ds:schemaRef ds:uri="6baba531-3330-4eb1-bf3e-3a119b50fb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FC946B-C57F-488F-9787-00DD11AA6393}">
  <ds:schemaRefs>
    <ds:schemaRef ds:uri="http://purl.org/dc/elements/1.1/"/>
    <ds:schemaRef ds:uri="http://purl.org/dc/dcmitype/"/>
    <ds:schemaRef ds:uri="http://schemas.microsoft.com/office/infopath/2007/PartnerControls"/>
    <ds:schemaRef ds:uri="9678ef29-fe63-4f8f-bec6-44ac172c6a74"/>
    <ds:schemaRef ds:uri="http://www.w3.org/XML/1998/namespace"/>
    <ds:schemaRef ds:uri="http://schemas.microsoft.com/office/2006/metadata/properties"/>
    <ds:schemaRef ds:uri="http://schemas.openxmlformats.org/package/2006/metadata/core-properties"/>
    <ds:schemaRef ds:uri="{listid:Accounting}"/>
    <ds:schemaRef ds:uri="http://purl.org/dc/terms/"/>
    <ds:schemaRef ds:uri="http://schemas.microsoft.com/office/2006/documentManagement/types"/>
    <ds:schemaRef ds:uri="6baba531-3330-4eb1-bf3e-3a119b50fbc0"/>
  </ds:schemaRefs>
</ds:datastoreItem>
</file>

<file path=customXml/itemProps3.xml><?xml version="1.0" encoding="utf-8"?>
<ds:datastoreItem xmlns:ds="http://schemas.openxmlformats.org/officeDocument/2006/customXml" ds:itemID="{2B379D89-941D-47BA-A5BC-AEE46052BE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073</Words>
  <Application>Microsoft Office PowerPoint</Application>
  <PresentationFormat>Widescreen</PresentationFormat>
  <Paragraphs>282</Paragraphs>
  <Slides>26</Slides>
  <Notes>18</Notes>
  <HiddenSlides>0</HiddenSlides>
  <MMClips>0</MMClips>
  <ScaleCrop>false</ScaleCrop>
  <HeadingPairs>
    <vt:vector size="4" baseType="variant">
      <vt:variant>
        <vt:lpstr>Theme</vt:lpstr>
      </vt:variant>
      <vt:variant>
        <vt:i4>2</vt:i4>
      </vt:variant>
      <vt:variant>
        <vt:lpstr>Slide Titles</vt:lpstr>
      </vt:variant>
      <vt:variant>
        <vt:i4>26</vt:i4>
      </vt:variant>
    </vt:vector>
  </HeadingPairs>
  <TitlesOfParts>
    <vt:vector size="28" baseType="lpstr">
      <vt:lpstr>Statkraft presentation template UK</vt:lpstr>
      <vt:lpstr>5_Statkraft presentation template UK</vt:lpstr>
      <vt:lpstr>Bürgerdialog Windpark Eilte-Ahlden  Herzlich  willkommen! </vt:lpstr>
      <vt:lpstr>PowerPoint Presentation</vt:lpstr>
      <vt:lpstr>Agenda  </vt:lpstr>
      <vt:lpstr>PowerPoint Presentation</vt:lpstr>
      <vt:lpstr>Statkraft weltweit</vt:lpstr>
      <vt:lpstr>Statkraft entwickelt seit über 20 Jahren Windparks</vt:lpstr>
      <vt:lpstr>Statkraft in Deutschland   </vt:lpstr>
      <vt:lpstr>Statkraft in der Region</vt:lpstr>
      <vt:lpstr>PowerPoint Presentation</vt:lpstr>
      <vt:lpstr>Erneuerbare brauchen Flächen </vt:lpstr>
      <vt:lpstr>PowerPoint Presentation</vt:lpstr>
      <vt:lpstr>Ausgangsbasis für die Planung</vt:lpstr>
      <vt:lpstr>Windpark Eilte-Ahlden </vt:lpstr>
      <vt:lpstr>PowerPoint Presentation</vt:lpstr>
      <vt:lpstr>Genehmigungsplanung</vt:lpstr>
      <vt:lpstr>Genehmigungsprozess </vt:lpstr>
      <vt:lpstr>Bauphase und Inbetriebnahme</vt:lpstr>
      <vt:lpstr>PowerPoint Presentation</vt:lpstr>
      <vt:lpstr>Planerische Beteiligung </vt:lpstr>
      <vt:lpstr>Finanzielle Beteiligung</vt:lpstr>
      <vt:lpstr>Bürgerwindenergieanlagen</vt:lpstr>
      <vt:lpstr>Nachrangdarlehen</vt:lpstr>
      <vt:lpstr>Zahlung an die Kommunen</vt:lpstr>
      <vt:lpstr>Freiwillige Waldentwicklung</vt:lpstr>
      <vt:lpstr>Zeit für Ihre Fragen </vt:lpstr>
      <vt:lpstr>Diskuss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
  <cp:lastModifiedBy/>
  <cp:revision>26</cp:revision>
  <dcterms:created xsi:type="dcterms:W3CDTF">2019-08-29T08:34:11Z</dcterms:created>
  <dcterms:modified xsi:type="dcterms:W3CDTF">2023-05-02T13: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A784A79DD0CF49B13AD5186D28324B</vt:lpwstr>
  </property>
  <property fmtid="{D5CDD505-2E9C-101B-9397-08002B2CF9AE}" pid="3" name="MSIP_Label_6fa05759-79e6-4341-bfc2-9c3b1d3b2b98_Enabled">
    <vt:lpwstr>true</vt:lpwstr>
  </property>
  <property fmtid="{D5CDD505-2E9C-101B-9397-08002B2CF9AE}" pid="4" name="MSIP_Label_6fa05759-79e6-4341-bfc2-9c3b1d3b2b98_SetDate">
    <vt:lpwstr>2022-03-28T07:16:20Z</vt:lpwstr>
  </property>
  <property fmtid="{D5CDD505-2E9C-101B-9397-08002B2CF9AE}" pid="5" name="MSIP_Label_6fa05759-79e6-4341-bfc2-9c3b1d3b2b98_Method">
    <vt:lpwstr>Privileged</vt:lpwstr>
  </property>
  <property fmtid="{D5CDD505-2E9C-101B-9397-08002B2CF9AE}" pid="6" name="MSIP_Label_6fa05759-79e6-4341-bfc2-9c3b1d3b2b98_Name">
    <vt:lpwstr>Statkraft Open - No Label</vt:lpwstr>
  </property>
  <property fmtid="{D5CDD505-2E9C-101B-9397-08002B2CF9AE}" pid="7" name="MSIP_Label_6fa05759-79e6-4341-bfc2-9c3b1d3b2b98_SiteId">
    <vt:lpwstr>a40c0d68-338e-44ef-ab17-812ee42d12c7</vt:lpwstr>
  </property>
  <property fmtid="{D5CDD505-2E9C-101B-9397-08002B2CF9AE}" pid="8" name="MSIP_Label_6fa05759-79e6-4341-bfc2-9c3b1d3b2b98_ActionId">
    <vt:lpwstr>eea890bc-d663-4fe4-a730-15a67e8918a3</vt:lpwstr>
  </property>
  <property fmtid="{D5CDD505-2E9C-101B-9397-08002B2CF9AE}" pid="9" name="MSIP_Label_6fa05759-79e6-4341-bfc2-9c3b1d3b2b98_ContentBits">
    <vt:lpwstr>0</vt:lpwstr>
  </property>
  <property fmtid="{D5CDD505-2E9C-101B-9397-08002B2CF9AE}" pid="10" name="MediaServiceImageTags">
    <vt:lpwstr/>
  </property>
</Properties>
</file>